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sdx" ContentType="application/vnd.ms-visio.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ink/ink1.xml" ContentType="application/inkml+xml"/>
  <Override PartName="/ppt/ink/ink2.xml" ContentType="application/inkml+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2.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3.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4.xml" ContentType="application/vnd.openxmlformats-officedocument.theme+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5.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theme/theme6.xml" ContentType="application/vnd.openxmlformats-officedocument.theme+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theme/theme7.xml" ContentType="application/vnd.openxmlformats-officedocument.theme+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theme/theme8.xml" ContentType="application/vnd.openxmlformats-officedocument.theme+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theme/theme9.xml" ContentType="application/vnd.openxmlformats-officedocument.theme+xml"/>
  <Override PartName="/ppt/ink/ink3.xml" ContentType="application/inkml+xml"/>
  <Override PartName="/ppt/ink/ink4.xml" ContentType="application/inkml+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theme/theme10.xml" ContentType="application/vnd.openxmlformats-officedocument.theme+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theme/theme11.xml" ContentType="application/vnd.openxmlformats-officedocument.theme+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theme/theme12.xml" ContentType="application/vnd.openxmlformats-officedocument.theme+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theme/theme13.xml" ContentType="application/vnd.openxmlformats-officedocument.theme+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5956" r:id="rId5"/>
    <p:sldMasterId id="2147486550" r:id="rId6"/>
    <p:sldMasterId id="2147486753" r:id="rId7"/>
    <p:sldMasterId id="2147487020" r:id="rId8"/>
    <p:sldMasterId id="2147487178" r:id="rId9"/>
    <p:sldMasterId id="2147487474" r:id="rId10"/>
    <p:sldMasterId id="2147487557" r:id="rId11"/>
    <p:sldMasterId id="2147487640" r:id="rId12"/>
    <p:sldMasterId id="2147487685" r:id="rId13"/>
    <p:sldMasterId id="2147487775" r:id="rId14"/>
    <p:sldMasterId id="2147487858" r:id="rId15"/>
    <p:sldMasterId id="2147488112" r:id="rId16"/>
    <p:sldMasterId id="2147488335" r:id="rId17"/>
  </p:sldMasterIdLst>
  <p:notesMasterIdLst>
    <p:notesMasterId r:id="rId49"/>
  </p:notesMasterIdLst>
  <p:handoutMasterIdLst>
    <p:handoutMasterId r:id="rId50"/>
  </p:handoutMasterIdLst>
  <p:sldIdLst>
    <p:sldId id="141169746" r:id="rId18"/>
    <p:sldId id="2147377606" r:id="rId19"/>
    <p:sldId id="2147472065" r:id="rId20"/>
    <p:sldId id="2147472066" r:id="rId21"/>
    <p:sldId id="2147472067" r:id="rId22"/>
    <p:sldId id="2147472068" r:id="rId23"/>
    <p:sldId id="2147472069" r:id="rId24"/>
    <p:sldId id="2147472070" r:id="rId25"/>
    <p:sldId id="2147472071" r:id="rId26"/>
    <p:sldId id="2147472072" r:id="rId27"/>
    <p:sldId id="2147472073" r:id="rId28"/>
    <p:sldId id="2147472074" r:id="rId29"/>
    <p:sldId id="2147472075" r:id="rId30"/>
    <p:sldId id="2147472076" r:id="rId31"/>
    <p:sldId id="2147472077" r:id="rId32"/>
    <p:sldId id="2147472078" r:id="rId33"/>
    <p:sldId id="2147472079" r:id="rId34"/>
    <p:sldId id="2147472080" r:id="rId35"/>
    <p:sldId id="2147472081" r:id="rId36"/>
    <p:sldId id="2147472082" r:id="rId37"/>
    <p:sldId id="2147472083" r:id="rId38"/>
    <p:sldId id="2147472084" r:id="rId39"/>
    <p:sldId id="2147472085" r:id="rId40"/>
    <p:sldId id="2147472086" r:id="rId41"/>
    <p:sldId id="2147472087" r:id="rId42"/>
    <p:sldId id="2147472088" r:id="rId43"/>
    <p:sldId id="2147472089" r:id="rId44"/>
    <p:sldId id="2147472090" r:id="rId45"/>
    <p:sldId id="2147472091" r:id="rId46"/>
    <p:sldId id="2147377574" r:id="rId47"/>
    <p:sldId id="141169818" r:id="rId48"/>
  </p:sldIdLst>
  <p:sldSz cx="12192000" cy="6858000"/>
  <p:notesSz cx="6858000" cy="9144000"/>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FFFFFF"/>
    <a:srgbClr val="190000"/>
    <a:srgbClr val="F816D8"/>
    <a:srgbClr val="DDDFE5"/>
    <a:srgbClr val="F2F2F2"/>
    <a:srgbClr val="6AB19B"/>
    <a:srgbClr val="E04F4F"/>
    <a:srgbClr val="294D4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3F4DB43-904A-488F-90B2-583BFC90E770}" v="463" dt="2023-06-13T13:11:13.1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756" y="108"/>
      </p:cViewPr>
      <p:guideLst>
        <p:guide orient="horz" pos="2968"/>
        <p:guide pos="763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slide" Target="slides/slide24.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notesMaster" Target="notesMasters/notesMaster1.xml"/><Relationship Id="rId57"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tags" Target="tags/tag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mas Stockhammer" userId="2aa20ba2-ba43-46c1-9e8b-e40494025eed" providerId="ADAL" clId="{93F4DB43-904A-488F-90B2-583BFC90E770}"/>
    <pc:docChg chg="undo custSel addSld delSld modSld sldOrd delMainMaster delSection modSection">
      <pc:chgData name="Thomas Stockhammer" userId="2aa20ba2-ba43-46c1-9e8b-e40494025eed" providerId="ADAL" clId="{93F4DB43-904A-488F-90B2-583BFC90E770}" dt="2023-06-13T13:11:25.798" v="2319" actId="17853"/>
      <pc:docMkLst>
        <pc:docMk/>
      </pc:docMkLst>
      <pc:sldChg chg="add del">
        <pc:chgData name="Thomas Stockhammer" userId="2aa20ba2-ba43-46c1-9e8b-e40494025eed" providerId="ADAL" clId="{93F4DB43-904A-488F-90B2-583BFC90E770}" dt="2023-06-13T13:10:54.255" v="2314" actId="47"/>
        <pc:sldMkLst>
          <pc:docMk/>
          <pc:sldMk cId="0" sldId="1135"/>
        </pc:sldMkLst>
      </pc:sldChg>
      <pc:sldChg chg="addSp modSp add del mod">
        <pc:chgData name="Thomas Stockhammer" userId="2aa20ba2-ba43-46c1-9e8b-e40494025eed" providerId="ADAL" clId="{93F4DB43-904A-488F-90B2-583BFC90E770}" dt="2023-06-13T13:11:17.130" v="2318" actId="47"/>
        <pc:sldMkLst>
          <pc:docMk/>
          <pc:sldMk cId="2868207548" sldId="1138"/>
        </pc:sldMkLst>
        <pc:spChg chg="mod">
          <ac:chgData name="Thomas Stockhammer" userId="2aa20ba2-ba43-46c1-9e8b-e40494025eed" providerId="ADAL" clId="{93F4DB43-904A-488F-90B2-583BFC90E770}" dt="2023-06-13T11:18:21.878" v="526" actId="255"/>
          <ac:spMkLst>
            <pc:docMk/>
            <pc:sldMk cId="2868207548" sldId="1138"/>
            <ac:spMk id="6147" creationId="{00000000-0000-0000-0000-000000000000}"/>
          </ac:spMkLst>
        </pc:spChg>
        <pc:graphicFrameChg chg="add mod modGraphic">
          <ac:chgData name="Thomas Stockhammer" userId="2aa20ba2-ba43-46c1-9e8b-e40494025eed" providerId="ADAL" clId="{93F4DB43-904A-488F-90B2-583BFC90E770}" dt="2023-06-13T11:18:10.983" v="525" actId="1076"/>
          <ac:graphicFrameMkLst>
            <pc:docMk/>
            <pc:sldMk cId="2868207548" sldId="1138"/>
            <ac:graphicFrameMk id="2" creationId="{0BF0DA8E-A145-27EB-6B9D-E1603E50D299}"/>
          </ac:graphicFrameMkLst>
        </pc:graphicFrameChg>
      </pc:sldChg>
      <pc:sldChg chg="modSp add del mod modNotes">
        <pc:chgData name="Thomas Stockhammer" userId="2aa20ba2-ba43-46c1-9e8b-e40494025eed" providerId="ADAL" clId="{93F4DB43-904A-488F-90B2-583BFC90E770}" dt="2023-06-13T13:08:49.879" v="2278" actId="47"/>
        <pc:sldMkLst>
          <pc:docMk/>
          <pc:sldMk cId="3072851737" sldId="2023"/>
        </pc:sldMkLst>
        <pc:spChg chg="mod">
          <ac:chgData name="Thomas Stockhammer" userId="2aa20ba2-ba43-46c1-9e8b-e40494025eed" providerId="ADAL" clId="{93F4DB43-904A-488F-90B2-583BFC90E770}" dt="2023-06-13T11:06:37.890" v="407" actId="20577"/>
          <ac:spMkLst>
            <pc:docMk/>
            <pc:sldMk cId="3072851737" sldId="2023"/>
            <ac:spMk id="2" creationId="{3945D8C1-313E-4EF6-9880-7E5585A8AD1C}"/>
          </ac:spMkLst>
        </pc:spChg>
      </pc:sldChg>
      <pc:sldChg chg="modSp mod">
        <pc:chgData name="Thomas Stockhammer" userId="2aa20ba2-ba43-46c1-9e8b-e40494025eed" providerId="ADAL" clId="{93F4DB43-904A-488F-90B2-583BFC90E770}" dt="2023-06-13T04:10:56.537" v="40" actId="20577"/>
        <pc:sldMkLst>
          <pc:docMk/>
          <pc:sldMk cId="3478403579" sldId="141169746"/>
        </pc:sldMkLst>
        <pc:spChg chg="mod">
          <ac:chgData name="Thomas Stockhammer" userId="2aa20ba2-ba43-46c1-9e8b-e40494025eed" providerId="ADAL" clId="{93F4DB43-904A-488F-90B2-583BFC90E770}" dt="2023-06-13T04:10:56.537" v="40" actId="20577"/>
          <ac:spMkLst>
            <pc:docMk/>
            <pc:sldMk cId="3478403579" sldId="141169746"/>
            <ac:spMk id="3" creationId="{2584845F-75C2-415A-8317-9BE337A0A649}"/>
          </ac:spMkLst>
        </pc:spChg>
        <pc:spChg chg="mod">
          <ac:chgData name="Thomas Stockhammer" userId="2aa20ba2-ba43-46c1-9e8b-e40494025eed" providerId="ADAL" clId="{93F4DB43-904A-488F-90B2-583BFC90E770}" dt="2023-06-13T04:10:02.739" v="9" actId="20577"/>
          <ac:spMkLst>
            <pc:docMk/>
            <pc:sldMk cId="3478403579" sldId="141169746"/>
            <ac:spMk id="11" creationId="{779D1A01-EBAB-4C36-8881-4DFDF7CC3D24}"/>
          </ac:spMkLst>
        </pc:spChg>
        <pc:spChg chg="mod">
          <ac:chgData name="Thomas Stockhammer" userId="2aa20ba2-ba43-46c1-9e8b-e40494025eed" providerId="ADAL" clId="{93F4DB43-904A-488F-90B2-583BFC90E770}" dt="2023-06-13T04:10:19.366" v="33" actId="20577"/>
          <ac:spMkLst>
            <pc:docMk/>
            <pc:sldMk cId="3478403579" sldId="141169746"/>
            <ac:spMk id="12" creationId="{07F1BC89-21D6-4CEE-AEB7-D5406EF3BE2B}"/>
          </ac:spMkLst>
        </pc:spChg>
      </pc:sldChg>
      <pc:sldChg chg="modSp add del mod">
        <pc:chgData name="Thomas Stockhammer" userId="2aa20ba2-ba43-46c1-9e8b-e40494025eed" providerId="ADAL" clId="{93F4DB43-904A-488F-90B2-583BFC90E770}" dt="2023-06-13T13:09:12.389" v="2285" actId="47"/>
        <pc:sldMkLst>
          <pc:docMk/>
          <pc:sldMk cId="1432046022" sldId="141169751"/>
        </pc:sldMkLst>
        <pc:spChg chg="mod">
          <ac:chgData name="Thomas Stockhammer" userId="2aa20ba2-ba43-46c1-9e8b-e40494025eed" providerId="ADAL" clId="{93F4DB43-904A-488F-90B2-583BFC90E770}" dt="2023-06-13T11:11:35.002" v="437" actId="20577"/>
          <ac:spMkLst>
            <pc:docMk/>
            <pc:sldMk cId="1432046022" sldId="141169751"/>
            <ac:spMk id="3" creationId="{00A61271-5F34-46A3-AA0C-F8413FC95306}"/>
          </ac:spMkLst>
        </pc:spChg>
        <pc:spChg chg="mod">
          <ac:chgData name="Thomas Stockhammer" userId="2aa20ba2-ba43-46c1-9e8b-e40494025eed" providerId="ADAL" clId="{93F4DB43-904A-488F-90B2-583BFC90E770}" dt="2023-06-13T11:11:54.593" v="479" actId="20577"/>
          <ac:spMkLst>
            <pc:docMk/>
            <pc:sldMk cId="1432046022" sldId="141169751"/>
            <ac:spMk id="4" creationId="{B855F26B-F2AA-4F05-B82C-193B9C91CBA1}"/>
          </ac:spMkLst>
        </pc:spChg>
      </pc:sldChg>
      <pc:sldChg chg="modSp add del mod">
        <pc:chgData name="Thomas Stockhammer" userId="2aa20ba2-ba43-46c1-9e8b-e40494025eed" providerId="ADAL" clId="{93F4DB43-904A-488F-90B2-583BFC90E770}" dt="2023-06-13T13:09:30.254" v="2289" actId="47"/>
        <pc:sldMkLst>
          <pc:docMk/>
          <pc:sldMk cId="425885304" sldId="2142532784"/>
        </pc:sldMkLst>
        <pc:spChg chg="mod">
          <ac:chgData name="Thomas Stockhammer" userId="2aa20ba2-ba43-46c1-9e8b-e40494025eed" providerId="ADAL" clId="{93F4DB43-904A-488F-90B2-583BFC90E770}" dt="2023-06-13T11:04:09.815" v="385" actId="1076"/>
          <ac:spMkLst>
            <pc:docMk/>
            <pc:sldMk cId="425885304" sldId="2142532784"/>
            <ac:spMk id="3" creationId="{CBB32042-9DA8-4772-82E8-11764D8FC6B3}"/>
          </ac:spMkLst>
        </pc:spChg>
        <pc:spChg chg="mod">
          <ac:chgData name="Thomas Stockhammer" userId="2aa20ba2-ba43-46c1-9e8b-e40494025eed" providerId="ADAL" clId="{93F4DB43-904A-488F-90B2-583BFC90E770}" dt="2023-06-13T11:04:09.815" v="385" actId="1076"/>
          <ac:spMkLst>
            <pc:docMk/>
            <pc:sldMk cId="425885304" sldId="2142532784"/>
            <ac:spMk id="5" creationId="{68DEAAEF-3C90-4CA4-9087-A6B599315DD2}"/>
          </ac:spMkLst>
        </pc:spChg>
        <pc:spChg chg="mod">
          <ac:chgData name="Thomas Stockhammer" userId="2aa20ba2-ba43-46c1-9e8b-e40494025eed" providerId="ADAL" clId="{93F4DB43-904A-488F-90B2-583BFC90E770}" dt="2023-06-13T11:04:25.189" v="397" actId="14100"/>
          <ac:spMkLst>
            <pc:docMk/>
            <pc:sldMk cId="425885304" sldId="2142532784"/>
            <ac:spMk id="18" creationId="{876A96A2-D56E-4162-8EBC-DFE744406C04}"/>
          </ac:spMkLst>
        </pc:spChg>
      </pc:sldChg>
      <pc:sldChg chg="del">
        <pc:chgData name="Thomas Stockhammer" userId="2aa20ba2-ba43-46c1-9e8b-e40494025eed" providerId="ADAL" clId="{93F4DB43-904A-488F-90B2-583BFC90E770}" dt="2023-06-13T11:18:40.172" v="529" actId="47"/>
        <pc:sldMkLst>
          <pc:docMk/>
          <pc:sldMk cId="2046418630" sldId="2142532830"/>
        </pc:sldMkLst>
      </pc:sldChg>
      <pc:sldChg chg="del">
        <pc:chgData name="Thomas Stockhammer" userId="2aa20ba2-ba43-46c1-9e8b-e40494025eed" providerId="ADAL" clId="{93F4DB43-904A-488F-90B2-583BFC90E770}" dt="2023-06-13T11:18:40.172" v="529" actId="47"/>
        <pc:sldMkLst>
          <pc:docMk/>
          <pc:sldMk cId="1998328548" sldId="2142532831"/>
        </pc:sldMkLst>
      </pc:sldChg>
      <pc:sldChg chg="del">
        <pc:chgData name="Thomas Stockhammer" userId="2aa20ba2-ba43-46c1-9e8b-e40494025eed" providerId="ADAL" clId="{93F4DB43-904A-488F-90B2-583BFC90E770}" dt="2023-06-13T11:18:40.172" v="529" actId="47"/>
        <pc:sldMkLst>
          <pc:docMk/>
          <pc:sldMk cId="2104010478" sldId="2142532862"/>
        </pc:sldMkLst>
      </pc:sldChg>
      <pc:sldChg chg="delSp add del mod delAnim">
        <pc:chgData name="Thomas Stockhammer" userId="2aa20ba2-ba43-46c1-9e8b-e40494025eed" providerId="ADAL" clId="{93F4DB43-904A-488F-90B2-583BFC90E770}" dt="2023-06-13T13:07:20.178" v="2263" actId="47"/>
        <pc:sldMkLst>
          <pc:docMk/>
          <pc:sldMk cId="1226862864" sldId="2142533618"/>
        </pc:sldMkLst>
        <pc:picChg chg="del">
          <ac:chgData name="Thomas Stockhammer" userId="2aa20ba2-ba43-46c1-9e8b-e40494025eed" providerId="ADAL" clId="{93F4DB43-904A-488F-90B2-583BFC90E770}" dt="2023-06-13T11:03:15.289" v="383" actId="478"/>
          <ac:picMkLst>
            <pc:docMk/>
            <pc:sldMk cId="1226862864" sldId="2142533618"/>
            <ac:picMk id="8" creationId="{2B3E85FA-A82E-01FA-55B1-7552E6DFF7BB}"/>
          </ac:picMkLst>
        </pc:picChg>
      </pc:sldChg>
      <pc:sldChg chg="add del">
        <pc:chgData name="Thomas Stockhammer" userId="2aa20ba2-ba43-46c1-9e8b-e40494025eed" providerId="ADAL" clId="{93F4DB43-904A-488F-90B2-583BFC90E770}" dt="2023-06-13T13:10:37.622" v="2310" actId="47"/>
        <pc:sldMkLst>
          <pc:docMk/>
          <pc:sldMk cId="482047563" sldId="2142533628"/>
        </pc:sldMkLst>
      </pc:sldChg>
      <pc:sldChg chg="add del">
        <pc:chgData name="Thomas Stockhammer" userId="2aa20ba2-ba43-46c1-9e8b-e40494025eed" providerId="ADAL" clId="{93F4DB43-904A-488F-90B2-583BFC90E770}" dt="2023-06-13T13:07:32.985" v="2265" actId="47"/>
        <pc:sldMkLst>
          <pc:docMk/>
          <pc:sldMk cId="465004857" sldId="2142533631"/>
        </pc:sldMkLst>
      </pc:sldChg>
      <pc:sldChg chg="addSp delSp modSp add del modNotes">
        <pc:chgData name="Thomas Stockhammer" userId="2aa20ba2-ba43-46c1-9e8b-e40494025eed" providerId="ADAL" clId="{93F4DB43-904A-488F-90B2-583BFC90E770}" dt="2023-06-13T13:07:33.922" v="2266" actId="47"/>
        <pc:sldMkLst>
          <pc:docMk/>
          <pc:sldMk cId="3315119968" sldId="2142533632"/>
        </pc:sldMkLst>
        <pc:picChg chg="add del mod">
          <ac:chgData name="Thomas Stockhammer" userId="2aa20ba2-ba43-46c1-9e8b-e40494025eed" providerId="ADAL" clId="{93F4DB43-904A-488F-90B2-583BFC90E770}" dt="2023-06-13T11:27:38.031" v="576"/>
          <ac:picMkLst>
            <pc:docMk/>
            <pc:sldMk cId="3315119968" sldId="2142533632"/>
            <ac:picMk id="3" creationId="{3C44D80C-506D-2964-F221-4B9B13FB84EE}"/>
          </ac:picMkLst>
        </pc:picChg>
      </pc:sldChg>
      <pc:sldChg chg="del">
        <pc:chgData name="Thomas Stockhammer" userId="2aa20ba2-ba43-46c1-9e8b-e40494025eed" providerId="ADAL" clId="{93F4DB43-904A-488F-90B2-583BFC90E770}" dt="2023-06-13T11:18:40.172" v="529" actId="47"/>
        <pc:sldMkLst>
          <pc:docMk/>
          <pc:sldMk cId="630763286" sldId="2142533641"/>
        </pc:sldMkLst>
      </pc:sldChg>
      <pc:sldChg chg="add del">
        <pc:chgData name="Thomas Stockhammer" userId="2aa20ba2-ba43-46c1-9e8b-e40494025eed" providerId="ADAL" clId="{93F4DB43-904A-488F-90B2-583BFC90E770}" dt="2023-06-13T13:10:23.589" v="2305" actId="47"/>
        <pc:sldMkLst>
          <pc:docMk/>
          <pc:sldMk cId="2045660850" sldId="2142533643"/>
        </pc:sldMkLst>
      </pc:sldChg>
      <pc:sldChg chg="add del ord">
        <pc:chgData name="Thomas Stockhammer" userId="2aa20ba2-ba43-46c1-9e8b-e40494025eed" providerId="ADAL" clId="{93F4DB43-904A-488F-90B2-583BFC90E770}" dt="2023-06-13T13:10:45.772" v="2312" actId="47"/>
        <pc:sldMkLst>
          <pc:docMk/>
          <pc:sldMk cId="701819599" sldId="2142533760"/>
        </pc:sldMkLst>
      </pc:sldChg>
      <pc:sldChg chg="add del">
        <pc:chgData name="Thomas Stockhammer" userId="2aa20ba2-ba43-46c1-9e8b-e40494025eed" providerId="ADAL" clId="{93F4DB43-904A-488F-90B2-583BFC90E770}" dt="2023-06-13T13:09:23.429" v="2287" actId="47"/>
        <pc:sldMkLst>
          <pc:docMk/>
          <pc:sldMk cId="531311078" sldId="2147376254"/>
        </pc:sldMkLst>
      </pc:sldChg>
      <pc:sldChg chg="del">
        <pc:chgData name="Thomas Stockhammer" userId="2aa20ba2-ba43-46c1-9e8b-e40494025eed" providerId="ADAL" clId="{93F4DB43-904A-488F-90B2-583BFC90E770}" dt="2023-06-13T11:18:40.172" v="529" actId="47"/>
        <pc:sldMkLst>
          <pc:docMk/>
          <pc:sldMk cId="3520448237" sldId="2147377566"/>
        </pc:sldMkLst>
      </pc:sldChg>
      <pc:sldChg chg="del">
        <pc:chgData name="Thomas Stockhammer" userId="2aa20ba2-ba43-46c1-9e8b-e40494025eed" providerId="ADAL" clId="{93F4DB43-904A-488F-90B2-583BFC90E770}" dt="2023-06-13T11:18:40.172" v="529" actId="47"/>
        <pc:sldMkLst>
          <pc:docMk/>
          <pc:sldMk cId="1714626205" sldId="2147377569"/>
        </pc:sldMkLst>
      </pc:sldChg>
      <pc:sldChg chg="modSp">
        <pc:chgData name="Thomas Stockhammer" userId="2aa20ba2-ba43-46c1-9e8b-e40494025eed" providerId="ADAL" clId="{93F4DB43-904A-488F-90B2-583BFC90E770}" dt="2023-06-13T12:09:14.909" v="2255" actId="20577"/>
        <pc:sldMkLst>
          <pc:docMk/>
          <pc:sldMk cId="1293462516" sldId="2147377574"/>
        </pc:sldMkLst>
        <pc:graphicFrameChg chg="mod">
          <ac:chgData name="Thomas Stockhammer" userId="2aa20ba2-ba43-46c1-9e8b-e40494025eed" providerId="ADAL" clId="{93F4DB43-904A-488F-90B2-583BFC90E770}" dt="2023-06-13T12:09:14.909" v="2255" actId="20577"/>
          <ac:graphicFrameMkLst>
            <pc:docMk/>
            <pc:sldMk cId="1293462516" sldId="2147377574"/>
            <ac:graphicFrameMk id="13" creationId="{EC14AF31-EE74-8B07-7EBF-7FC86D0D142D}"/>
          </ac:graphicFrameMkLst>
        </pc:graphicFrameChg>
      </pc:sldChg>
      <pc:sldChg chg="del">
        <pc:chgData name="Thomas Stockhammer" userId="2aa20ba2-ba43-46c1-9e8b-e40494025eed" providerId="ADAL" clId="{93F4DB43-904A-488F-90B2-583BFC90E770}" dt="2023-06-13T11:18:40.172" v="529" actId="47"/>
        <pc:sldMkLst>
          <pc:docMk/>
          <pc:sldMk cId="1465933557" sldId="2147377604"/>
        </pc:sldMkLst>
      </pc:sldChg>
      <pc:sldChg chg="modSp mod">
        <pc:chgData name="Thomas Stockhammer" userId="2aa20ba2-ba43-46c1-9e8b-e40494025eed" providerId="ADAL" clId="{93F4DB43-904A-488F-90B2-583BFC90E770}" dt="2023-06-13T11:37:59.379" v="1050" actId="20577"/>
        <pc:sldMkLst>
          <pc:docMk/>
          <pc:sldMk cId="2867933809" sldId="2147377606"/>
        </pc:sldMkLst>
        <pc:spChg chg="mod">
          <ac:chgData name="Thomas Stockhammer" userId="2aa20ba2-ba43-46c1-9e8b-e40494025eed" providerId="ADAL" clId="{93F4DB43-904A-488F-90B2-583BFC90E770}" dt="2023-06-13T11:37:59.379" v="1050" actId="20577"/>
          <ac:spMkLst>
            <pc:docMk/>
            <pc:sldMk cId="2867933809" sldId="2147377606"/>
            <ac:spMk id="40" creationId="{6CF0EC1A-D9C5-824C-AA3E-D7CF3BD48243}"/>
          </ac:spMkLst>
        </pc:spChg>
      </pc:sldChg>
      <pc:sldChg chg="del">
        <pc:chgData name="Thomas Stockhammer" userId="2aa20ba2-ba43-46c1-9e8b-e40494025eed" providerId="ADAL" clId="{93F4DB43-904A-488F-90B2-583BFC90E770}" dt="2023-06-13T11:18:40.172" v="529" actId="47"/>
        <pc:sldMkLst>
          <pc:docMk/>
          <pc:sldMk cId="1128366199" sldId="2147377607"/>
        </pc:sldMkLst>
      </pc:sldChg>
      <pc:sldChg chg="del">
        <pc:chgData name="Thomas Stockhammer" userId="2aa20ba2-ba43-46c1-9e8b-e40494025eed" providerId="ADAL" clId="{93F4DB43-904A-488F-90B2-583BFC90E770}" dt="2023-06-13T11:18:40.172" v="529" actId="47"/>
        <pc:sldMkLst>
          <pc:docMk/>
          <pc:sldMk cId="1226093567" sldId="2147377608"/>
        </pc:sldMkLst>
      </pc:sldChg>
      <pc:sldChg chg="modSp add del mod">
        <pc:chgData name="Thomas Stockhammer" userId="2aa20ba2-ba43-46c1-9e8b-e40494025eed" providerId="ADAL" clId="{93F4DB43-904A-488F-90B2-583BFC90E770}" dt="2023-06-13T13:07:03.219" v="2259" actId="47"/>
        <pc:sldMkLst>
          <pc:docMk/>
          <pc:sldMk cId="3448943003" sldId="2147472049"/>
        </pc:sldMkLst>
        <pc:spChg chg="mod">
          <ac:chgData name="Thomas Stockhammer" userId="2aa20ba2-ba43-46c1-9e8b-e40494025eed" providerId="ADAL" clId="{93F4DB43-904A-488F-90B2-583BFC90E770}" dt="2023-06-13T04:14:14.290" v="48" actId="20577"/>
          <ac:spMkLst>
            <pc:docMk/>
            <pc:sldMk cId="3448943003" sldId="2147472049"/>
            <ac:spMk id="5" creationId="{DC97C319-0A29-5B2D-9EE0-83410A2878C6}"/>
          </ac:spMkLst>
        </pc:spChg>
      </pc:sldChg>
      <pc:sldChg chg="addSp modSp new del mod modClrScheme modAnim chgLayout">
        <pc:chgData name="Thomas Stockhammer" userId="2aa20ba2-ba43-46c1-9e8b-e40494025eed" providerId="ADAL" clId="{93F4DB43-904A-488F-90B2-583BFC90E770}" dt="2023-06-13T13:09:46.844" v="2293" actId="47"/>
        <pc:sldMkLst>
          <pc:docMk/>
          <pc:sldMk cId="2597095103" sldId="2147472050"/>
        </pc:sldMkLst>
        <pc:spChg chg="mod ord">
          <ac:chgData name="Thomas Stockhammer" userId="2aa20ba2-ba43-46c1-9e8b-e40494025eed" providerId="ADAL" clId="{93F4DB43-904A-488F-90B2-583BFC90E770}" dt="2023-06-13T10:56:36.218" v="51" actId="700"/>
          <ac:spMkLst>
            <pc:docMk/>
            <pc:sldMk cId="2597095103" sldId="2147472050"/>
            <ac:spMk id="2" creationId="{CDDBA4DF-078C-53D4-774A-C35ADE2C3DEA}"/>
          </ac:spMkLst>
        </pc:spChg>
        <pc:spChg chg="add mod ord">
          <ac:chgData name="Thomas Stockhammer" userId="2aa20ba2-ba43-46c1-9e8b-e40494025eed" providerId="ADAL" clId="{93F4DB43-904A-488F-90B2-583BFC90E770}" dt="2023-06-13T11:02:27.843" v="340" actId="20577"/>
          <ac:spMkLst>
            <pc:docMk/>
            <pc:sldMk cId="2597095103" sldId="2147472050"/>
            <ac:spMk id="3" creationId="{4505BE28-0242-6CC1-CE21-AABE6CD2EC60}"/>
          </ac:spMkLst>
        </pc:spChg>
        <pc:spChg chg="add mod ord">
          <ac:chgData name="Thomas Stockhammer" userId="2aa20ba2-ba43-46c1-9e8b-e40494025eed" providerId="ADAL" clId="{93F4DB43-904A-488F-90B2-583BFC90E770}" dt="2023-06-13T11:03:03.767" v="382" actId="20577"/>
          <ac:spMkLst>
            <pc:docMk/>
            <pc:sldMk cId="2597095103" sldId="2147472050"/>
            <ac:spMk id="4" creationId="{13B6123A-A886-BDB1-8EAF-16051962AEE7}"/>
          </ac:spMkLst>
        </pc:spChg>
        <pc:spChg chg="add mod">
          <ac:chgData name="Thomas Stockhammer" userId="2aa20ba2-ba43-46c1-9e8b-e40494025eed" providerId="ADAL" clId="{93F4DB43-904A-488F-90B2-583BFC90E770}" dt="2023-06-13T11:52:43.287" v="1291" actId="14100"/>
          <ac:spMkLst>
            <pc:docMk/>
            <pc:sldMk cId="2597095103" sldId="2147472050"/>
            <ac:spMk id="6" creationId="{5C8A37E5-8F69-47CD-6176-03CA808A6307}"/>
          </ac:spMkLst>
        </pc:spChg>
        <pc:spChg chg="add mod">
          <ac:chgData name="Thomas Stockhammer" userId="2aa20ba2-ba43-46c1-9e8b-e40494025eed" providerId="ADAL" clId="{93F4DB43-904A-488F-90B2-583BFC90E770}" dt="2023-06-13T11:52:52.713" v="1293" actId="1076"/>
          <ac:spMkLst>
            <pc:docMk/>
            <pc:sldMk cId="2597095103" sldId="2147472050"/>
            <ac:spMk id="7" creationId="{D2BC6C8C-2B5E-A715-FBB4-7B020391B302}"/>
          </ac:spMkLst>
        </pc:spChg>
        <pc:graphicFrameChg chg="add mod modGraphic">
          <ac:chgData name="Thomas Stockhammer" userId="2aa20ba2-ba43-46c1-9e8b-e40494025eed" providerId="ADAL" clId="{93F4DB43-904A-488F-90B2-583BFC90E770}" dt="2023-06-13T11:02:18.366" v="312" actId="1076"/>
          <ac:graphicFrameMkLst>
            <pc:docMk/>
            <pc:sldMk cId="2597095103" sldId="2147472050"/>
            <ac:graphicFrameMk id="5" creationId="{B6756459-8103-5F33-C63C-28FA8F4A892E}"/>
          </ac:graphicFrameMkLst>
        </pc:graphicFrameChg>
      </pc:sldChg>
      <pc:sldChg chg="addSp modSp new del mod">
        <pc:chgData name="Thomas Stockhammer" userId="2aa20ba2-ba43-46c1-9e8b-e40494025eed" providerId="ADAL" clId="{93F4DB43-904A-488F-90B2-583BFC90E770}" dt="2023-06-13T13:09:54.164" v="2295" actId="47"/>
        <pc:sldMkLst>
          <pc:docMk/>
          <pc:sldMk cId="2949769612" sldId="2147472051"/>
        </pc:sldMkLst>
        <pc:spChg chg="mod">
          <ac:chgData name="Thomas Stockhammer" userId="2aa20ba2-ba43-46c1-9e8b-e40494025eed" providerId="ADAL" clId="{93F4DB43-904A-488F-90B2-583BFC90E770}" dt="2023-06-13T11:56:37.470" v="1320"/>
          <ac:spMkLst>
            <pc:docMk/>
            <pc:sldMk cId="2949769612" sldId="2147472051"/>
            <ac:spMk id="2" creationId="{10649E04-5D18-7972-5FD3-D89C08DDBAE0}"/>
          </ac:spMkLst>
        </pc:spChg>
        <pc:spChg chg="mod">
          <ac:chgData name="Thomas Stockhammer" userId="2aa20ba2-ba43-46c1-9e8b-e40494025eed" providerId="ADAL" clId="{93F4DB43-904A-488F-90B2-583BFC90E770}" dt="2023-06-13T11:57:04.904" v="1325" actId="20577"/>
          <ac:spMkLst>
            <pc:docMk/>
            <pc:sldMk cId="2949769612" sldId="2147472051"/>
            <ac:spMk id="3" creationId="{5D24E4A0-D9C9-5FC6-4539-20AB48E3B1BC}"/>
          </ac:spMkLst>
        </pc:spChg>
        <pc:picChg chg="add mod">
          <ac:chgData name="Thomas Stockhammer" userId="2aa20ba2-ba43-46c1-9e8b-e40494025eed" providerId="ADAL" clId="{93F4DB43-904A-488F-90B2-583BFC90E770}" dt="2023-06-13T11:55:40.824" v="1299" actId="1076"/>
          <ac:picMkLst>
            <pc:docMk/>
            <pc:sldMk cId="2949769612" sldId="2147472051"/>
            <ac:picMk id="5" creationId="{C103EB45-5E93-B443-8A69-E014A154D34F}"/>
          </ac:picMkLst>
        </pc:picChg>
      </pc:sldChg>
      <pc:sldChg chg="addSp delSp modSp new del mod modClrScheme chgLayout">
        <pc:chgData name="Thomas Stockhammer" userId="2aa20ba2-ba43-46c1-9e8b-e40494025eed" providerId="ADAL" clId="{93F4DB43-904A-488F-90B2-583BFC90E770}" dt="2023-06-13T13:08:56.881" v="2280" actId="47"/>
        <pc:sldMkLst>
          <pc:docMk/>
          <pc:sldMk cId="474917169" sldId="2147472052"/>
        </pc:sldMkLst>
        <pc:spChg chg="del mod ord">
          <ac:chgData name="Thomas Stockhammer" userId="2aa20ba2-ba43-46c1-9e8b-e40494025eed" providerId="ADAL" clId="{93F4DB43-904A-488F-90B2-583BFC90E770}" dt="2023-06-13T11:06:52.430" v="409" actId="700"/>
          <ac:spMkLst>
            <pc:docMk/>
            <pc:sldMk cId="474917169" sldId="2147472052"/>
            <ac:spMk id="2" creationId="{E10C0C8E-AB93-F86A-A6D5-0E853F00443D}"/>
          </ac:spMkLst>
        </pc:spChg>
        <pc:spChg chg="del mod ord">
          <ac:chgData name="Thomas Stockhammer" userId="2aa20ba2-ba43-46c1-9e8b-e40494025eed" providerId="ADAL" clId="{93F4DB43-904A-488F-90B2-583BFC90E770}" dt="2023-06-13T11:06:52.430" v="409" actId="700"/>
          <ac:spMkLst>
            <pc:docMk/>
            <pc:sldMk cId="474917169" sldId="2147472052"/>
            <ac:spMk id="3" creationId="{35F492A1-8C8A-2CD4-1A1E-F936C6133BB4}"/>
          </ac:spMkLst>
        </pc:spChg>
        <pc:spChg chg="del">
          <ac:chgData name="Thomas Stockhammer" userId="2aa20ba2-ba43-46c1-9e8b-e40494025eed" providerId="ADAL" clId="{93F4DB43-904A-488F-90B2-583BFC90E770}" dt="2023-06-13T11:06:52.430" v="409" actId="700"/>
          <ac:spMkLst>
            <pc:docMk/>
            <pc:sldMk cId="474917169" sldId="2147472052"/>
            <ac:spMk id="4" creationId="{F11A71CF-52AA-F79A-4FED-4CB1D09AF82B}"/>
          </ac:spMkLst>
        </pc:spChg>
        <pc:spChg chg="add mod ord">
          <ac:chgData name="Thomas Stockhammer" userId="2aa20ba2-ba43-46c1-9e8b-e40494025eed" providerId="ADAL" clId="{93F4DB43-904A-488F-90B2-583BFC90E770}" dt="2023-06-13T11:44:35.915" v="1095" actId="20577"/>
          <ac:spMkLst>
            <pc:docMk/>
            <pc:sldMk cId="474917169" sldId="2147472052"/>
            <ac:spMk id="5" creationId="{3C915A2D-610C-F469-DEBF-BDC1AB0E9D01}"/>
          </ac:spMkLst>
        </pc:spChg>
        <pc:spChg chg="add mod ord">
          <ac:chgData name="Thomas Stockhammer" userId="2aa20ba2-ba43-46c1-9e8b-e40494025eed" providerId="ADAL" clId="{93F4DB43-904A-488F-90B2-583BFC90E770}" dt="2023-06-13T11:45:02.416" v="1100" actId="20577"/>
          <ac:spMkLst>
            <pc:docMk/>
            <pc:sldMk cId="474917169" sldId="2147472052"/>
            <ac:spMk id="6" creationId="{DB49C948-9C1D-28C4-AF69-1FD0045212EA}"/>
          </ac:spMkLst>
        </pc:spChg>
        <pc:picChg chg="add mod">
          <ac:chgData name="Thomas Stockhammer" userId="2aa20ba2-ba43-46c1-9e8b-e40494025eed" providerId="ADAL" clId="{93F4DB43-904A-488F-90B2-583BFC90E770}" dt="2023-06-13T11:44:44.313" v="1098" actId="1076"/>
          <ac:picMkLst>
            <pc:docMk/>
            <pc:sldMk cId="474917169" sldId="2147472052"/>
            <ac:picMk id="2" creationId="{6AE82AAA-2C8C-AB5D-9211-D893AC9EEF45}"/>
          </ac:picMkLst>
        </pc:picChg>
      </pc:sldChg>
      <pc:sldChg chg="addSp delSp modSp new del mod">
        <pc:chgData name="Thomas Stockhammer" userId="2aa20ba2-ba43-46c1-9e8b-e40494025eed" providerId="ADAL" clId="{93F4DB43-904A-488F-90B2-583BFC90E770}" dt="2023-06-13T13:07:10.929" v="2261" actId="47"/>
        <pc:sldMkLst>
          <pc:docMk/>
          <pc:sldMk cId="611126500" sldId="2147472053"/>
        </pc:sldMkLst>
        <pc:spChg chg="mod">
          <ac:chgData name="Thomas Stockhammer" userId="2aa20ba2-ba43-46c1-9e8b-e40494025eed" providerId="ADAL" clId="{93F4DB43-904A-488F-90B2-583BFC90E770}" dt="2023-06-13T11:24:04.633" v="571" actId="20577"/>
          <ac:spMkLst>
            <pc:docMk/>
            <pc:sldMk cId="611126500" sldId="2147472053"/>
            <ac:spMk id="3" creationId="{88AB56E3-EED9-7E84-F034-D5B24943BF52}"/>
          </ac:spMkLst>
        </pc:spChg>
        <pc:spChg chg="del">
          <ac:chgData name="Thomas Stockhammer" userId="2aa20ba2-ba43-46c1-9e8b-e40494025eed" providerId="ADAL" clId="{93F4DB43-904A-488F-90B2-583BFC90E770}" dt="2023-06-13T11:24:15.100" v="572" actId="478"/>
          <ac:spMkLst>
            <pc:docMk/>
            <pc:sldMk cId="611126500" sldId="2147472053"/>
            <ac:spMk id="4" creationId="{58CC840D-0B9D-A381-44BB-412EA44BCBEC}"/>
          </ac:spMkLst>
        </pc:spChg>
        <pc:spChg chg="add mod">
          <ac:chgData name="Thomas Stockhammer" userId="2aa20ba2-ba43-46c1-9e8b-e40494025eed" providerId="ADAL" clId="{93F4DB43-904A-488F-90B2-583BFC90E770}" dt="2023-06-13T11:24:22.707" v="574" actId="1076"/>
          <ac:spMkLst>
            <pc:docMk/>
            <pc:sldMk cId="611126500" sldId="2147472053"/>
            <ac:spMk id="6" creationId="{64FDE822-26B9-A11F-01A6-866B639EA03C}"/>
          </ac:spMkLst>
        </pc:spChg>
        <pc:graphicFrameChg chg="add mod">
          <ac:chgData name="Thomas Stockhammer" userId="2aa20ba2-ba43-46c1-9e8b-e40494025eed" providerId="ADAL" clId="{93F4DB43-904A-488F-90B2-583BFC90E770}" dt="2023-06-13T11:24:16.019" v="573"/>
          <ac:graphicFrameMkLst>
            <pc:docMk/>
            <pc:sldMk cId="611126500" sldId="2147472053"/>
            <ac:graphicFrameMk id="7" creationId="{FEA0ED4C-CFB6-307D-16F5-53A82444CFF5}"/>
          </ac:graphicFrameMkLst>
        </pc:graphicFrameChg>
        <pc:graphicFrameChg chg="add mod">
          <ac:chgData name="Thomas Stockhammer" userId="2aa20ba2-ba43-46c1-9e8b-e40494025eed" providerId="ADAL" clId="{93F4DB43-904A-488F-90B2-583BFC90E770}" dt="2023-06-13T11:24:16.019" v="573"/>
          <ac:graphicFrameMkLst>
            <pc:docMk/>
            <pc:sldMk cId="611126500" sldId="2147472053"/>
            <ac:graphicFrameMk id="8" creationId="{77702358-E692-E73C-BC15-513B4BD2F864}"/>
          </ac:graphicFrameMkLst>
        </pc:graphicFrameChg>
      </pc:sldChg>
      <pc:sldChg chg="addSp delSp modSp new del mod modClrScheme chgLayout">
        <pc:chgData name="Thomas Stockhammer" userId="2aa20ba2-ba43-46c1-9e8b-e40494025eed" providerId="ADAL" clId="{93F4DB43-904A-488F-90B2-583BFC90E770}" dt="2023-06-13T13:08:26.494" v="2272" actId="47"/>
        <pc:sldMkLst>
          <pc:docMk/>
          <pc:sldMk cId="2516188874" sldId="2147472054"/>
        </pc:sldMkLst>
        <pc:spChg chg="mod ord">
          <ac:chgData name="Thomas Stockhammer" userId="2aa20ba2-ba43-46c1-9e8b-e40494025eed" providerId="ADAL" clId="{93F4DB43-904A-488F-90B2-583BFC90E770}" dt="2023-06-13T11:27:47.051" v="578" actId="700"/>
          <ac:spMkLst>
            <pc:docMk/>
            <pc:sldMk cId="2516188874" sldId="2147472054"/>
            <ac:spMk id="2" creationId="{7EAFA429-C441-3786-EB67-B467CDCB2FE0}"/>
          </ac:spMkLst>
        </pc:spChg>
        <pc:spChg chg="add mod ord">
          <ac:chgData name="Thomas Stockhammer" userId="2aa20ba2-ba43-46c1-9e8b-e40494025eed" providerId="ADAL" clId="{93F4DB43-904A-488F-90B2-583BFC90E770}" dt="2023-06-13T11:28:39.050" v="645" actId="20577"/>
          <ac:spMkLst>
            <pc:docMk/>
            <pc:sldMk cId="2516188874" sldId="2147472054"/>
            <ac:spMk id="3" creationId="{3D47F71F-C2CA-5991-5CD9-AF0C1BF482BD}"/>
          </ac:spMkLst>
        </pc:spChg>
        <pc:spChg chg="add mod ord">
          <ac:chgData name="Thomas Stockhammer" userId="2aa20ba2-ba43-46c1-9e8b-e40494025eed" providerId="ADAL" clId="{93F4DB43-904A-488F-90B2-583BFC90E770}" dt="2023-06-13T11:27:47.051" v="578" actId="700"/>
          <ac:spMkLst>
            <pc:docMk/>
            <pc:sldMk cId="2516188874" sldId="2147472054"/>
            <ac:spMk id="4" creationId="{0DD1FB1F-97BA-7008-2EB7-5E0CA2B05362}"/>
          </ac:spMkLst>
        </pc:spChg>
        <pc:spChg chg="add del mod ord">
          <ac:chgData name="Thomas Stockhammer" userId="2aa20ba2-ba43-46c1-9e8b-e40494025eed" providerId="ADAL" clId="{93F4DB43-904A-488F-90B2-583BFC90E770}" dt="2023-06-13T11:27:59.150" v="588" actId="478"/>
          <ac:spMkLst>
            <pc:docMk/>
            <pc:sldMk cId="2516188874" sldId="2147472054"/>
            <ac:spMk id="5" creationId="{3C3C860F-4FC7-35D8-B992-19D8659AFC3A}"/>
          </ac:spMkLst>
        </pc:spChg>
        <pc:spChg chg="add mod">
          <ac:chgData name="Thomas Stockhammer" userId="2aa20ba2-ba43-46c1-9e8b-e40494025eed" providerId="ADAL" clId="{93F4DB43-904A-488F-90B2-583BFC90E770}" dt="2023-06-13T11:28:47.219" v="646" actId="1076"/>
          <ac:spMkLst>
            <pc:docMk/>
            <pc:sldMk cId="2516188874" sldId="2147472054"/>
            <ac:spMk id="7" creationId="{EF329200-9643-763F-5155-6929B2424EEA}"/>
          </ac:spMkLst>
        </pc:spChg>
        <pc:picChg chg="add mod">
          <ac:chgData name="Thomas Stockhammer" userId="2aa20ba2-ba43-46c1-9e8b-e40494025eed" providerId="ADAL" clId="{93F4DB43-904A-488F-90B2-583BFC90E770}" dt="2023-06-13T11:28:47.219" v="646" actId="1076"/>
          <ac:picMkLst>
            <pc:docMk/>
            <pc:sldMk cId="2516188874" sldId="2147472054"/>
            <ac:picMk id="6" creationId="{1602DA96-384E-8307-2115-E197C2B841DF}"/>
          </ac:picMkLst>
        </pc:picChg>
      </pc:sldChg>
      <pc:sldChg chg="addSp delSp modSp new del mod modClrScheme modAnim chgLayout">
        <pc:chgData name="Thomas Stockhammer" userId="2aa20ba2-ba43-46c1-9e8b-e40494025eed" providerId="ADAL" clId="{93F4DB43-904A-488F-90B2-583BFC90E770}" dt="2023-06-13T13:08:18.947" v="2270" actId="47"/>
        <pc:sldMkLst>
          <pc:docMk/>
          <pc:sldMk cId="3378195073" sldId="2147472055"/>
        </pc:sldMkLst>
        <pc:spChg chg="mod ord">
          <ac:chgData name="Thomas Stockhammer" userId="2aa20ba2-ba43-46c1-9e8b-e40494025eed" providerId="ADAL" clId="{93F4DB43-904A-488F-90B2-583BFC90E770}" dt="2023-06-13T11:30:32.884" v="648" actId="700"/>
          <ac:spMkLst>
            <pc:docMk/>
            <pc:sldMk cId="3378195073" sldId="2147472055"/>
            <ac:spMk id="2" creationId="{3C66C22E-784F-8179-3432-E47261E2AB53}"/>
          </ac:spMkLst>
        </pc:spChg>
        <pc:spChg chg="add mod ord">
          <ac:chgData name="Thomas Stockhammer" userId="2aa20ba2-ba43-46c1-9e8b-e40494025eed" providerId="ADAL" clId="{93F4DB43-904A-488F-90B2-583BFC90E770}" dt="2023-06-13T11:30:45.565" v="696" actId="20577"/>
          <ac:spMkLst>
            <pc:docMk/>
            <pc:sldMk cId="3378195073" sldId="2147472055"/>
            <ac:spMk id="3" creationId="{7BCDAF2B-5032-2777-9C51-AFBF07D76CFD}"/>
          </ac:spMkLst>
        </pc:spChg>
        <pc:spChg chg="add mod ord">
          <ac:chgData name="Thomas Stockhammer" userId="2aa20ba2-ba43-46c1-9e8b-e40494025eed" providerId="ADAL" clId="{93F4DB43-904A-488F-90B2-583BFC90E770}" dt="2023-06-13T11:34:33.002" v="757" actId="20577"/>
          <ac:spMkLst>
            <pc:docMk/>
            <pc:sldMk cId="3378195073" sldId="2147472055"/>
            <ac:spMk id="4" creationId="{62CF07AA-70B6-AEFD-BBDB-B850B01855FB}"/>
          </ac:spMkLst>
        </pc:spChg>
        <pc:spChg chg="add del">
          <ac:chgData name="Thomas Stockhammer" userId="2aa20ba2-ba43-46c1-9e8b-e40494025eed" providerId="ADAL" clId="{93F4DB43-904A-488F-90B2-583BFC90E770}" dt="2023-06-13T11:32:21.709" v="699" actId="478"/>
          <ac:spMkLst>
            <pc:docMk/>
            <pc:sldMk cId="3378195073" sldId="2147472055"/>
            <ac:spMk id="5" creationId="{552C1721-89AF-9335-848A-2F923E1C721C}"/>
          </ac:spMkLst>
        </pc:spChg>
        <pc:spChg chg="add del mod ord">
          <ac:chgData name="Thomas Stockhammer" userId="2aa20ba2-ba43-46c1-9e8b-e40494025eed" providerId="ADAL" clId="{93F4DB43-904A-488F-90B2-583BFC90E770}" dt="2023-06-13T11:30:48.556" v="697" actId="478"/>
          <ac:spMkLst>
            <pc:docMk/>
            <pc:sldMk cId="3378195073" sldId="2147472055"/>
            <ac:spMk id="5" creationId="{72BB09C8-5D39-BE4D-ADC1-ED8434592C86}"/>
          </ac:spMkLst>
        </pc:spChg>
        <pc:spChg chg="add del">
          <ac:chgData name="Thomas Stockhammer" userId="2aa20ba2-ba43-46c1-9e8b-e40494025eed" providerId="ADAL" clId="{93F4DB43-904A-488F-90B2-583BFC90E770}" dt="2023-06-13T11:32:38.296" v="702"/>
          <ac:spMkLst>
            <pc:docMk/>
            <pc:sldMk cId="3378195073" sldId="2147472055"/>
            <ac:spMk id="7" creationId="{D3330600-51C1-6733-6E3D-3B1CF6993F6A}"/>
          </ac:spMkLst>
        </pc:spChg>
        <pc:spChg chg="add del mod">
          <ac:chgData name="Thomas Stockhammer" userId="2aa20ba2-ba43-46c1-9e8b-e40494025eed" providerId="ADAL" clId="{93F4DB43-904A-488F-90B2-583BFC90E770}" dt="2023-06-13T11:33:01.175" v="705" actId="478"/>
          <ac:spMkLst>
            <pc:docMk/>
            <pc:sldMk cId="3378195073" sldId="2147472055"/>
            <ac:spMk id="9" creationId="{1ADD8133-B2AB-AE9D-AE31-90D42181A7F5}"/>
          </ac:spMkLst>
        </pc:spChg>
        <pc:spChg chg="add del">
          <ac:chgData name="Thomas Stockhammer" userId="2aa20ba2-ba43-46c1-9e8b-e40494025eed" providerId="ADAL" clId="{93F4DB43-904A-488F-90B2-583BFC90E770}" dt="2023-06-13T11:33:26.649" v="707" actId="478"/>
          <ac:spMkLst>
            <pc:docMk/>
            <pc:sldMk cId="3378195073" sldId="2147472055"/>
            <ac:spMk id="11" creationId="{F301B201-E63C-E00A-3D35-4EBD2C19CB2F}"/>
          </ac:spMkLst>
        </pc:spChg>
        <pc:spChg chg="add del">
          <ac:chgData name="Thomas Stockhammer" userId="2aa20ba2-ba43-46c1-9e8b-e40494025eed" providerId="ADAL" clId="{93F4DB43-904A-488F-90B2-583BFC90E770}" dt="2023-06-13T11:33:49.383" v="710" actId="478"/>
          <ac:spMkLst>
            <pc:docMk/>
            <pc:sldMk cId="3378195073" sldId="2147472055"/>
            <ac:spMk id="13" creationId="{84DA53BB-18C7-BFFC-46AA-3F78F66EF1D3}"/>
          </ac:spMkLst>
        </pc:spChg>
        <pc:spChg chg="add del">
          <ac:chgData name="Thomas Stockhammer" userId="2aa20ba2-ba43-46c1-9e8b-e40494025eed" providerId="ADAL" clId="{93F4DB43-904A-488F-90B2-583BFC90E770}" dt="2023-06-13T11:34:09.799" v="713" actId="478"/>
          <ac:spMkLst>
            <pc:docMk/>
            <pc:sldMk cId="3378195073" sldId="2147472055"/>
            <ac:spMk id="15" creationId="{6F345D4B-9FCB-A372-2936-D0E8DBA8E272}"/>
          </ac:spMkLst>
        </pc:spChg>
        <pc:spChg chg="add mod">
          <ac:chgData name="Thomas Stockhammer" userId="2aa20ba2-ba43-46c1-9e8b-e40494025eed" providerId="ADAL" clId="{93F4DB43-904A-488F-90B2-583BFC90E770}" dt="2023-06-13T11:35:12.858" v="794" actId="1076"/>
          <ac:spMkLst>
            <pc:docMk/>
            <pc:sldMk cId="3378195073" sldId="2147472055"/>
            <ac:spMk id="17" creationId="{BDBF7338-C212-89F4-A813-D54C5D9428CE}"/>
          </ac:spMkLst>
        </pc:spChg>
        <pc:spChg chg="add mod">
          <ac:chgData name="Thomas Stockhammer" userId="2aa20ba2-ba43-46c1-9e8b-e40494025eed" providerId="ADAL" clId="{93F4DB43-904A-488F-90B2-583BFC90E770}" dt="2023-06-13T11:35:22.612" v="814" actId="20577"/>
          <ac:spMkLst>
            <pc:docMk/>
            <pc:sldMk cId="3378195073" sldId="2147472055"/>
            <ac:spMk id="18" creationId="{B4683E18-AFE0-32FB-E602-635D9B5E8350}"/>
          </ac:spMkLst>
        </pc:spChg>
        <pc:spChg chg="add mod">
          <ac:chgData name="Thomas Stockhammer" userId="2aa20ba2-ba43-46c1-9e8b-e40494025eed" providerId="ADAL" clId="{93F4DB43-904A-488F-90B2-583BFC90E770}" dt="2023-06-13T11:36:21.073" v="923" actId="1035"/>
          <ac:spMkLst>
            <pc:docMk/>
            <pc:sldMk cId="3378195073" sldId="2147472055"/>
            <ac:spMk id="19" creationId="{D1DEEBA1-D500-D705-5FB1-1890EE22935A}"/>
          </ac:spMkLst>
        </pc:spChg>
        <pc:spChg chg="add mod">
          <ac:chgData name="Thomas Stockhammer" userId="2aa20ba2-ba43-46c1-9e8b-e40494025eed" providerId="ADAL" clId="{93F4DB43-904A-488F-90B2-583BFC90E770}" dt="2023-06-13T11:36:29.290" v="924" actId="1076"/>
          <ac:spMkLst>
            <pc:docMk/>
            <pc:sldMk cId="3378195073" sldId="2147472055"/>
            <ac:spMk id="20" creationId="{5A408C2A-3D3E-DEA7-AAC2-322B54510150}"/>
          </ac:spMkLst>
        </pc:spChg>
        <pc:spChg chg="add mod">
          <ac:chgData name="Thomas Stockhammer" userId="2aa20ba2-ba43-46c1-9e8b-e40494025eed" providerId="ADAL" clId="{93F4DB43-904A-488F-90B2-583BFC90E770}" dt="2023-06-13T11:36:29.290" v="924" actId="1076"/>
          <ac:spMkLst>
            <pc:docMk/>
            <pc:sldMk cId="3378195073" sldId="2147472055"/>
            <ac:spMk id="21" creationId="{B884E16C-65EC-DE6F-92B4-A535070BCE8E}"/>
          </ac:spMkLst>
        </pc:spChg>
        <pc:graphicFrameChg chg="add mod">
          <ac:chgData name="Thomas Stockhammer" userId="2aa20ba2-ba43-46c1-9e8b-e40494025eed" providerId="ADAL" clId="{93F4DB43-904A-488F-90B2-583BFC90E770}" dt="2023-06-13T11:32:24.976" v="700" actId="1076"/>
          <ac:graphicFrameMkLst>
            <pc:docMk/>
            <pc:sldMk cId="3378195073" sldId="2147472055"/>
            <ac:graphicFrameMk id="6" creationId="{2C0E4957-BA99-006E-A3FD-E6DBCB639CF0}"/>
          </ac:graphicFrameMkLst>
        </pc:graphicFrameChg>
        <pc:graphicFrameChg chg="add del">
          <ac:chgData name="Thomas Stockhammer" userId="2aa20ba2-ba43-46c1-9e8b-e40494025eed" providerId="ADAL" clId="{93F4DB43-904A-488F-90B2-583BFC90E770}" dt="2023-06-13T11:32:38.296" v="702"/>
          <ac:graphicFrameMkLst>
            <pc:docMk/>
            <pc:sldMk cId="3378195073" sldId="2147472055"/>
            <ac:graphicFrameMk id="8" creationId="{EF4E433F-4448-6B71-E543-89C0DF774421}"/>
          </ac:graphicFrameMkLst>
        </pc:graphicFrameChg>
        <pc:graphicFrameChg chg="add mod">
          <ac:chgData name="Thomas Stockhammer" userId="2aa20ba2-ba43-46c1-9e8b-e40494025eed" providerId="ADAL" clId="{93F4DB43-904A-488F-90B2-583BFC90E770}" dt="2023-06-13T11:34:19.509" v="717" actId="1076"/>
          <ac:graphicFrameMkLst>
            <pc:docMk/>
            <pc:sldMk cId="3378195073" sldId="2147472055"/>
            <ac:graphicFrameMk id="10" creationId="{1A3FE254-1FC6-EA8D-49B1-559BFB5A9A93}"/>
          </ac:graphicFrameMkLst>
        </pc:graphicFrameChg>
        <pc:graphicFrameChg chg="add mod">
          <ac:chgData name="Thomas Stockhammer" userId="2aa20ba2-ba43-46c1-9e8b-e40494025eed" providerId="ADAL" clId="{93F4DB43-904A-488F-90B2-583BFC90E770}" dt="2023-06-13T11:36:21.073" v="923" actId="1035"/>
          <ac:graphicFrameMkLst>
            <pc:docMk/>
            <pc:sldMk cId="3378195073" sldId="2147472055"/>
            <ac:graphicFrameMk id="12" creationId="{E58BE7C5-1BB1-A7B2-51FB-465D88A57860}"/>
          </ac:graphicFrameMkLst>
        </pc:graphicFrameChg>
        <pc:graphicFrameChg chg="add mod">
          <ac:chgData name="Thomas Stockhammer" userId="2aa20ba2-ba43-46c1-9e8b-e40494025eed" providerId="ADAL" clId="{93F4DB43-904A-488F-90B2-583BFC90E770}" dt="2023-06-13T11:36:29.290" v="924" actId="1076"/>
          <ac:graphicFrameMkLst>
            <pc:docMk/>
            <pc:sldMk cId="3378195073" sldId="2147472055"/>
            <ac:graphicFrameMk id="14" creationId="{791765E9-0C62-7F5E-CADA-7C09966CF347}"/>
          </ac:graphicFrameMkLst>
        </pc:graphicFrameChg>
        <pc:graphicFrameChg chg="add mod">
          <ac:chgData name="Thomas Stockhammer" userId="2aa20ba2-ba43-46c1-9e8b-e40494025eed" providerId="ADAL" clId="{93F4DB43-904A-488F-90B2-583BFC90E770}" dt="2023-06-13T11:36:29.290" v="924" actId="1076"/>
          <ac:graphicFrameMkLst>
            <pc:docMk/>
            <pc:sldMk cId="3378195073" sldId="2147472055"/>
            <ac:graphicFrameMk id="16" creationId="{676AF1A3-7D66-88D3-45E4-95724D4AF73A}"/>
          </ac:graphicFrameMkLst>
        </pc:graphicFrameChg>
      </pc:sldChg>
      <pc:sldChg chg="addSp delSp modSp new del mod modClrScheme chgLayout">
        <pc:chgData name="Thomas Stockhammer" userId="2aa20ba2-ba43-46c1-9e8b-e40494025eed" providerId="ADAL" clId="{93F4DB43-904A-488F-90B2-583BFC90E770}" dt="2023-06-13T13:08:41.284" v="2276" actId="47"/>
        <pc:sldMkLst>
          <pc:docMk/>
          <pc:sldMk cId="852651409" sldId="2147472056"/>
        </pc:sldMkLst>
        <pc:spChg chg="mod ord">
          <ac:chgData name="Thomas Stockhammer" userId="2aa20ba2-ba43-46c1-9e8b-e40494025eed" providerId="ADAL" clId="{93F4DB43-904A-488F-90B2-583BFC90E770}" dt="2023-06-13T11:47:18.522" v="1134" actId="700"/>
          <ac:spMkLst>
            <pc:docMk/>
            <pc:sldMk cId="852651409" sldId="2147472056"/>
            <ac:spMk id="2" creationId="{28C720FF-636B-448E-0C1F-E0180088AB6D}"/>
          </ac:spMkLst>
        </pc:spChg>
        <pc:spChg chg="del mod ord">
          <ac:chgData name="Thomas Stockhammer" userId="2aa20ba2-ba43-46c1-9e8b-e40494025eed" providerId="ADAL" clId="{93F4DB43-904A-488F-90B2-583BFC90E770}" dt="2023-06-13T11:47:18.522" v="1134" actId="700"/>
          <ac:spMkLst>
            <pc:docMk/>
            <pc:sldMk cId="852651409" sldId="2147472056"/>
            <ac:spMk id="3" creationId="{97E36B1C-446A-6914-C8C3-91766911A8BD}"/>
          </ac:spMkLst>
        </pc:spChg>
        <pc:spChg chg="mod ord">
          <ac:chgData name="Thomas Stockhammer" userId="2aa20ba2-ba43-46c1-9e8b-e40494025eed" providerId="ADAL" clId="{93F4DB43-904A-488F-90B2-583BFC90E770}" dt="2023-06-13T11:47:18.522" v="1134" actId="700"/>
          <ac:spMkLst>
            <pc:docMk/>
            <pc:sldMk cId="852651409" sldId="2147472056"/>
            <ac:spMk id="4" creationId="{718CFC41-F5AB-C497-C180-2954A66D5E6C}"/>
          </ac:spMkLst>
        </pc:spChg>
        <pc:spChg chg="add del mod">
          <ac:chgData name="Thomas Stockhammer" userId="2aa20ba2-ba43-46c1-9e8b-e40494025eed" providerId="ADAL" clId="{93F4DB43-904A-488F-90B2-583BFC90E770}" dt="2023-06-13T11:47:25.007" v="1136" actId="478"/>
          <ac:spMkLst>
            <pc:docMk/>
            <pc:sldMk cId="852651409" sldId="2147472056"/>
            <ac:spMk id="5" creationId="{9CD6228E-59B5-A5E2-DFBD-1FB98A888767}"/>
          </ac:spMkLst>
        </pc:spChg>
        <pc:spChg chg="mod">
          <ac:chgData name="Thomas Stockhammer" userId="2aa20ba2-ba43-46c1-9e8b-e40494025eed" providerId="ADAL" clId="{93F4DB43-904A-488F-90B2-583BFC90E770}" dt="2023-06-13T11:46:45.669" v="1132"/>
          <ac:spMkLst>
            <pc:docMk/>
            <pc:sldMk cId="852651409" sldId="2147472056"/>
            <ac:spMk id="8" creationId="{0046CAFF-3039-86D2-52F4-A5983A757916}"/>
          </ac:spMkLst>
        </pc:spChg>
        <pc:spChg chg="mod">
          <ac:chgData name="Thomas Stockhammer" userId="2aa20ba2-ba43-46c1-9e8b-e40494025eed" providerId="ADAL" clId="{93F4DB43-904A-488F-90B2-583BFC90E770}" dt="2023-06-13T11:46:45.669" v="1132"/>
          <ac:spMkLst>
            <pc:docMk/>
            <pc:sldMk cId="852651409" sldId="2147472056"/>
            <ac:spMk id="9" creationId="{11C8B0FB-0E77-4012-E0D4-3041A51DBC1A}"/>
          </ac:spMkLst>
        </pc:spChg>
        <pc:spChg chg="mod">
          <ac:chgData name="Thomas Stockhammer" userId="2aa20ba2-ba43-46c1-9e8b-e40494025eed" providerId="ADAL" clId="{93F4DB43-904A-488F-90B2-583BFC90E770}" dt="2023-06-13T11:46:45.669" v="1132"/>
          <ac:spMkLst>
            <pc:docMk/>
            <pc:sldMk cId="852651409" sldId="2147472056"/>
            <ac:spMk id="10" creationId="{956C2AD0-CD95-6507-1F49-8E9B562D7C59}"/>
          </ac:spMkLst>
        </pc:spChg>
        <pc:spChg chg="mod">
          <ac:chgData name="Thomas Stockhammer" userId="2aa20ba2-ba43-46c1-9e8b-e40494025eed" providerId="ADAL" clId="{93F4DB43-904A-488F-90B2-583BFC90E770}" dt="2023-06-13T11:46:45.669" v="1132"/>
          <ac:spMkLst>
            <pc:docMk/>
            <pc:sldMk cId="852651409" sldId="2147472056"/>
            <ac:spMk id="11" creationId="{9C5A32D5-A7C7-16CA-5E4F-06E29E5CB115}"/>
          </ac:spMkLst>
        </pc:spChg>
        <pc:spChg chg="mod">
          <ac:chgData name="Thomas Stockhammer" userId="2aa20ba2-ba43-46c1-9e8b-e40494025eed" providerId="ADAL" clId="{93F4DB43-904A-488F-90B2-583BFC90E770}" dt="2023-06-13T11:46:45.669" v="1132"/>
          <ac:spMkLst>
            <pc:docMk/>
            <pc:sldMk cId="852651409" sldId="2147472056"/>
            <ac:spMk id="12" creationId="{8421A0FE-3785-1C1F-F2A1-AF45A252CCF9}"/>
          </ac:spMkLst>
        </pc:spChg>
        <pc:spChg chg="mod">
          <ac:chgData name="Thomas Stockhammer" userId="2aa20ba2-ba43-46c1-9e8b-e40494025eed" providerId="ADAL" clId="{93F4DB43-904A-488F-90B2-583BFC90E770}" dt="2023-06-13T11:46:45.669" v="1132"/>
          <ac:spMkLst>
            <pc:docMk/>
            <pc:sldMk cId="852651409" sldId="2147472056"/>
            <ac:spMk id="13" creationId="{AAC3B424-F296-97F2-2A79-D99ECABC56C8}"/>
          </ac:spMkLst>
        </pc:spChg>
        <pc:spChg chg="mod">
          <ac:chgData name="Thomas Stockhammer" userId="2aa20ba2-ba43-46c1-9e8b-e40494025eed" providerId="ADAL" clId="{93F4DB43-904A-488F-90B2-583BFC90E770}" dt="2023-06-13T11:46:45.669" v="1132"/>
          <ac:spMkLst>
            <pc:docMk/>
            <pc:sldMk cId="852651409" sldId="2147472056"/>
            <ac:spMk id="14" creationId="{0704B7E8-512E-A273-0D6F-386BBD862169}"/>
          </ac:spMkLst>
        </pc:spChg>
        <pc:spChg chg="mod">
          <ac:chgData name="Thomas Stockhammer" userId="2aa20ba2-ba43-46c1-9e8b-e40494025eed" providerId="ADAL" clId="{93F4DB43-904A-488F-90B2-583BFC90E770}" dt="2023-06-13T11:47:46.724" v="1142" actId="20577"/>
          <ac:spMkLst>
            <pc:docMk/>
            <pc:sldMk cId="852651409" sldId="2147472056"/>
            <ac:spMk id="15" creationId="{DE6A32F5-6653-8E90-9246-BDBC28CADBC2}"/>
          </ac:spMkLst>
        </pc:spChg>
        <pc:spChg chg="add mod ord">
          <ac:chgData name="Thomas Stockhammer" userId="2aa20ba2-ba43-46c1-9e8b-e40494025eed" providerId="ADAL" clId="{93F4DB43-904A-488F-90B2-583BFC90E770}" dt="2023-06-13T11:48:11.804" v="1145" actId="20577"/>
          <ac:spMkLst>
            <pc:docMk/>
            <pc:sldMk cId="852651409" sldId="2147472056"/>
            <ac:spMk id="16" creationId="{A3F6E1BD-3E4D-6744-82BD-1B6DE5621084}"/>
          </ac:spMkLst>
        </pc:spChg>
        <pc:spChg chg="add mod ord">
          <ac:chgData name="Thomas Stockhammer" userId="2aa20ba2-ba43-46c1-9e8b-e40494025eed" providerId="ADAL" clId="{93F4DB43-904A-488F-90B2-583BFC90E770}" dt="2023-06-13T11:48:45.495" v="1201" actId="20577"/>
          <ac:spMkLst>
            <pc:docMk/>
            <pc:sldMk cId="852651409" sldId="2147472056"/>
            <ac:spMk id="17" creationId="{5CDA4D86-0678-10B8-D2E6-DC727AE740A6}"/>
          </ac:spMkLst>
        </pc:spChg>
        <pc:grpChg chg="add mod">
          <ac:chgData name="Thomas Stockhammer" userId="2aa20ba2-ba43-46c1-9e8b-e40494025eed" providerId="ADAL" clId="{93F4DB43-904A-488F-90B2-583BFC90E770}" dt="2023-06-13T11:47:41.761" v="1141" actId="1076"/>
          <ac:grpSpMkLst>
            <pc:docMk/>
            <pc:sldMk cId="852651409" sldId="2147472056"/>
            <ac:grpSpMk id="7" creationId="{DA5EBCEC-D56A-1991-97DE-B51195D2644A}"/>
          </ac:grpSpMkLst>
        </pc:grpChg>
        <pc:picChg chg="add mod">
          <ac:chgData name="Thomas Stockhammer" userId="2aa20ba2-ba43-46c1-9e8b-e40494025eed" providerId="ADAL" clId="{93F4DB43-904A-488F-90B2-583BFC90E770}" dt="2023-06-13T11:47:35.598" v="1140" actId="14100"/>
          <ac:picMkLst>
            <pc:docMk/>
            <pc:sldMk cId="852651409" sldId="2147472056"/>
            <ac:picMk id="6" creationId="{4093F05E-F373-87BB-D88E-770687371728}"/>
          </ac:picMkLst>
        </pc:picChg>
      </pc:sldChg>
      <pc:sldChg chg="addSp delSp modSp new del mod ord">
        <pc:chgData name="Thomas Stockhammer" userId="2aa20ba2-ba43-46c1-9e8b-e40494025eed" providerId="ADAL" clId="{93F4DB43-904A-488F-90B2-583BFC90E770}" dt="2023-06-13T13:08:34.108" v="2274" actId="47"/>
        <pc:sldMkLst>
          <pc:docMk/>
          <pc:sldMk cId="3548879133" sldId="2147472057"/>
        </pc:sldMkLst>
        <pc:spChg chg="mod">
          <ac:chgData name="Thomas Stockhammer" userId="2aa20ba2-ba43-46c1-9e8b-e40494025eed" providerId="ADAL" clId="{93F4DB43-904A-488F-90B2-583BFC90E770}" dt="2023-06-13T11:49:25.621" v="1249" actId="20577"/>
          <ac:spMkLst>
            <pc:docMk/>
            <pc:sldMk cId="3548879133" sldId="2147472057"/>
            <ac:spMk id="3" creationId="{CC763D3D-F8E2-D539-EC3D-04138570715C}"/>
          </ac:spMkLst>
        </pc:spChg>
        <pc:spChg chg="del mod">
          <ac:chgData name="Thomas Stockhammer" userId="2aa20ba2-ba43-46c1-9e8b-e40494025eed" providerId="ADAL" clId="{93F4DB43-904A-488F-90B2-583BFC90E770}" dt="2023-06-13T11:49:27.524" v="1250"/>
          <ac:spMkLst>
            <pc:docMk/>
            <pc:sldMk cId="3548879133" sldId="2147472057"/>
            <ac:spMk id="4" creationId="{2C538AA0-A697-0D2F-FA9C-29622743C5BE}"/>
          </ac:spMkLst>
        </pc:spChg>
        <pc:spChg chg="del">
          <ac:chgData name="Thomas Stockhammer" userId="2aa20ba2-ba43-46c1-9e8b-e40494025eed" providerId="ADAL" clId="{93F4DB43-904A-488F-90B2-583BFC90E770}" dt="2023-06-13T11:49:10.217" v="1203" actId="478"/>
          <ac:spMkLst>
            <pc:docMk/>
            <pc:sldMk cId="3548879133" sldId="2147472057"/>
            <ac:spMk id="5" creationId="{5E741476-CD8C-2847-EA42-B92C7E2A6DD1}"/>
          </ac:spMkLst>
        </pc:spChg>
        <pc:spChg chg="add mod">
          <ac:chgData name="Thomas Stockhammer" userId="2aa20ba2-ba43-46c1-9e8b-e40494025eed" providerId="ADAL" clId="{93F4DB43-904A-488F-90B2-583BFC90E770}" dt="2023-06-13T11:49:27.725" v="1251" actId="27636"/>
          <ac:spMkLst>
            <pc:docMk/>
            <pc:sldMk cId="3548879133" sldId="2147472057"/>
            <ac:spMk id="6" creationId="{8CEF34B2-FEF0-79B9-00DB-E81680169D4A}"/>
          </ac:spMkLst>
        </pc:spChg>
      </pc:sldChg>
      <pc:sldChg chg="modSp add del mod">
        <pc:chgData name="Thomas Stockhammer" userId="2aa20ba2-ba43-46c1-9e8b-e40494025eed" providerId="ADAL" clId="{93F4DB43-904A-488F-90B2-583BFC90E770}" dt="2023-06-13T13:09:03.790" v="2282" actId="47"/>
        <pc:sldMkLst>
          <pc:docMk/>
          <pc:sldMk cId="2575472830" sldId="2147472058"/>
        </pc:sldMkLst>
        <pc:spChg chg="mod">
          <ac:chgData name="Thomas Stockhammer" userId="2aa20ba2-ba43-46c1-9e8b-e40494025eed" providerId="ADAL" clId="{93F4DB43-904A-488F-90B2-583BFC90E770}" dt="2023-06-13T11:50:10.785" v="1281" actId="20577"/>
          <ac:spMkLst>
            <pc:docMk/>
            <pc:sldMk cId="2575472830" sldId="2147472058"/>
            <ac:spMk id="3" creationId="{CC763D3D-F8E2-D539-EC3D-04138570715C}"/>
          </ac:spMkLst>
        </pc:spChg>
        <pc:spChg chg="mod">
          <ac:chgData name="Thomas Stockhammer" userId="2aa20ba2-ba43-46c1-9e8b-e40494025eed" providerId="ADAL" clId="{93F4DB43-904A-488F-90B2-583BFC90E770}" dt="2023-06-13T11:50:41.843" v="1282"/>
          <ac:spMkLst>
            <pc:docMk/>
            <pc:sldMk cId="2575472830" sldId="2147472058"/>
            <ac:spMk id="6" creationId="{8CEF34B2-FEF0-79B9-00DB-E81680169D4A}"/>
          </ac:spMkLst>
        </pc:spChg>
      </pc:sldChg>
      <pc:sldChg chg="modSp add del mod">
        <pc:chgData name="Thomas Stockhammer" userId="2aa20ba2-ba43-46c1-9e8b-e40494025eed" providerId="ADAL" clId="{93F4DB43-904A-488F-90B2-583BFC90E770}" dt="2023-06-13T13:09:38.193" v="2291" actId="47"/>
        <pc:sldMkLst>
          <pc:docMk/>
          <pc:sldMk cId="1273057481" sldId="2147472059"/>
        </pc:sldMkLst>
        <pc:spChg chg="mod">
          <ac:chgData name="Thomas Stockhammer" userId="2aa20ba2-ba43-46c1-9e8b-e40494025eed" providerId="ADAL" clId="{93F4DB43-904A-488F-90B2-583BFC90E770}" dt="2023-06-13T11:51:35.624" v="1284" actId="14100"/>
          <ac:spMkLst>
            <pc:docMk/>
            <pc:sldMk cId="1273057481" sldId="2147472059"/>
            <ac:spMk id="7" creationId="{EF329200-9643-763F-5155-6929B2424EEA}"/>
          </ac:spMkLst>
        </pc:spChg>
      </pc:sldChg>
      <pc:sldChg chg="add del">
        <pc:chgData name="Thomas Stockhammer" userId="2aa20ba2-ba43-46c1-9e8b-e40494025eed" providerId="ADAL" clId="{93F4DB43-904A-488F-90B2-583BFC90E770}" dt="2023-06-13T13:10:04.770" v="2299"/>
        <pc:sldMkLst>
          <pc:docMk/>
          <pc:sldMk cId="1207440971" sldId="2147472060"/>
        </pc:sldMkLst>
      </pc:sldChg>
      <pc:sldChg chg="addSp delSp modSp add del mod">
        <pc:chgData name="Thomas Stockhammer" userId="2aa20ba2-ba43-46c1-9e8b-e40494025eed" providerId="ADAL" clId="{93F4DB43-904A-488F-90B2-583BFC90E770}" dt="2023-06-13T13:10:00.065" v="2297" actId="47"/>
        <pc:sldMkLst>
          <pc:docMk/>
          <pc:sldMk cId="4132595547" sldId="2147472060"/>
        </pc:sldMkLst>
        <pc:spChg chg="mod">
          <ac:chgData name="Thomas Stockhammer" userId="2aa20ba2-ba43-46c1-9e8b-e40494025eed" providerId="ADAL" clId="{93F4DB43-904A-488F-90B2-583BFC90E770}" dt="2023-06-13T11:56:42.587" v="1321"/>
          <ac:spMkLst>
            <pc:docMk/>
            <pc:sldMk cId="4132595547" sldId="2147472060"/>
            <ac:spMk id="2" creationId="{10649E04-5D18-7972-5FD3-D89C08DDBAE0}"/>
          </ac:spMkLst>
        </pc:spChg>
        <pc:spChg chg="mod">
          <ac:chgData name="Thomas Stockhammer" userId="2aa20ba2-ba43-46c1-9e8b-e40494025eed" providerId="ADAL" clId="{93F4DB43-904A-488F-90B2-583BFC90E770}" dt="2023-06-13T11:57:09.301" v="1327" actId="20577"/>
          <ac:spMkLst>
            <pc:docMk/>
            <pc:sldMk cId="4132595547" sldId="2147472060"/>
            <ac:spMk id="3" creationId="{5D24E4A0-D9C9-5FC6-4539-20AB48E3B1BC}"/>
          </ac:spMkLst>
        </pc:spChg>
        <pc:picChg chg="del">
          <ac:chgData name="Thomas Stockhammer" userId="2aa20ba2-ba43-46c1-9e8b-e40494025eed" providerId="ADAL" clId="{93F4DB43-904A-488F-90B2-583BFC90E770}" dt="2023-06-13T11:56:04.611" v="1301" actId="478"/>
          <ac:picMkLst>
            <pc:docMk/>
            <pc:sldMk cId="4132595547" sldId="2147472060"/>
            <ac:picMk id="5" creationId="{C103EB45-5E93-B443-8A69-E014A154D34F}"/>
          </ac:picMkLst>
        </pc:picChg>
        <pc:picChg chg="add mod">
          <ac:chgData name="Thomas Stockhammer" userId="2aa20ba2-ba43-46c1-9e8b-e40494025eed" providerId="ADAL" clId="{93F4DB43-904A-488F-90B2-583BFC90E770}" dt="2023-06-13T11:56:12.002" v="1305" actId="1076"/>
          <ac:picMkLst>
            <pc:docMk/>
            <pc:sldMk cId="4132595547" sldId="2147472060"/>
            <ac:picMk id="6" creationId="{D54E6EDB-16AE-D400-821A-648E50A7F8E2}"/>
          </ac:picMkLst>
        </pc:picChg>
      </pc:sldChg>
      <pc:sldChg chg="addSp delSp modSp new del mod modClrScheme chgLayout">
        <pc:chgData name="Thomas Stockhammer" userId="2aa20ba2-ba43-46c1-9e8b-e40494025eed" providerId="ADAL" clId="{93F4DB43-904A-488F-90B2-583BFC90E770}" dt="2023-06-13T13:10:10.388" v="2301" actId="47"/>
        <pc:sldMkLst>
          <pc:docMk/>
          <pc:sldMk cId="3282819600" sldId="2147472061"/>
        </pc:sldMkLst>
        <pc:spChg chg="mod ord">
          <ac:chgData name="Thomas Stockhammer" userId="2aa20ba2-ba43-46c1-9e8b-e40494025eed" providerId="ADAL" clId="{93F4DB43-904A-488F-90B2-583BFC90E770}" dt="2023-06-13T11:59:26.875" v="1407" actId="700"/>
          <ac:spMkLst>
            <pc:docMk/>
            <pc:sldMk cId="3282819600" sldId="2147472061"/>
            <ac:spMk id="2" creationId="{7ACE923F-C345-36FA-BC7A-BF2A3156C5A7}"/>
          </ac:spMkLst>
        </pc:spChg>
        <pc:spChg chg="mod ord">
          <ac:chgData name="Thomas Stockhammer" userId="2aa20ba2-ba43-46c1-9e8b-e40494025eed" providerId="ADAL" clId="{93F4DB43-904A-488F-90B2-583BFC90E770}" dt="2023-06-13T11:59:26.875" v="1407" actId="700"/>
          <ac:spMkLst>
            <pc:docMk/>
            <pc:sldMk cId="3282819600" sldId="2147472061"/>
            <ac:spMk id="3" creationId="{1B8B76C1-9D35-3C56-9B28-BB29CE8688E5}"/>
          </ac:spMkLst>
        </pc:spChg>
        <pc:spChg chg="mod ord">
          <ac:chgData name="Thomas Stockhammer" userId="2aa20ba2-ba43-46c1-9e8b-e40494025eed" providerId="ADAL" clId="{93F4DB43-904A-488F-90B2-583BFC90E770}" dt="2023-06-13T11:59:26.875" v="1407" actId="700"/>
          <ac:spMkLst>
            <pc:docMk/>
            <pc:sldMk cId="3282819600" sldId="2147472061"/>
            <ac:spMk id="4" creationId="{930AB91F-6980-00B1-E969-4B32D533825D}"/>
          </ac:spMkLst>
        </pc:spChg>
        <pc:spChg chg="add del">
          <ac:chgData name="Thomas Stockhammer" userId="2aa20ba2-ba43-46c1-9e8b-e40494025eed" providerId="ADAL" clId="{93F4DB43-904A-488F-90B2-583BFC90E770}" dt="2023-06-13T11:58:59.191" v="1387" actId="478"/>
          <ac:spMkLst>
            <pc:docMk/>
            <pc:sldMk cId="3282819600" sldId="2147472061"/>
            <ac:spMk id="5" creationId="{89359B7D-0522-B7C0-8E39-DEEA53AA468F}"/>
          </ac:spMkLst>
        </pc:spChg>
        <pc:spChg chg="add mod ord">
          <ac:chgData name="Thomas Stockhammer" userId="2aa20ba2-ba43-46c1-9e8b-e40494025eed" providerId="ADAL" clId="{93F4DB43-904A-488F-90B2-583BFC90E770}" dt="2023-06-13T12:01:50.334" v="1771" actId="20577"/>
          <ac:spMkLst>
            <pc:docMk/>
            <pc:sldMk cId="3282819600" sldId="2147472061"/>
            <ac:spMk id="7" creationId="{36E8C4BC-48E9-275B-43F6-0943639E467D}"/>
          </ac:spMkLst>
        </pc:spChg>
        <pc:graphicFrameChg chg="add mod">
          <ac:chgData name="Thomas Stockhammer" userId="2aa20ba2-ba43-46c1-9e8b-e40494025eed" providerId="ADAL" clId="{93F4DB43-904A-488F-90B2-583BFC90E770}" dt="2023-06-13T11:59:02.008" v="1388" actId="1076"/>
          <ac:graphicFrameMkLst>
            <pc:docMk/>
            <pc:sldMk cId="3282819600" sldId="2147472061"/>
            <ac:graphicFrameMk id="6" creationId="{6E7F7D5D-C2C5-6B76-2799-B700F4C707BD}"/>
          </ac:graphicFrameMkLst>
        </pc:graphicFrameChg>
      </pc:sldChg>
      <pc:sldChg chg="addSp delSp modSp new del mod">
        <pc:chgData name="Thomas Stockhammer" userId="2aa20ba2-ba43-46c1-9e8b-e40494025eed" providerId="ADAL" clId="{93F4DB43-904A-488F-90B2-583BFC90E770}" dt="2023-06-13T13:10:17.354" v="2303" actId="47"/>
        <pc:sldMkLst>
          <pc:docMk/>
          <pc:sldMk cId="2418679932" sldId="2147472062"/>
        </pc:sldMkLst>
        <pc:spChg chg="mod">
          <ac:chgData name="Thomas Stockhammer" userId="2aa20ba2-ba43-46c1-9e8b-e40494025eed" providerId="ADAL" clId="{93F4DB43-904A-488F-90B2-583BFC90E770}" dt="2023-06-13T12:02:44.543" v="1790" actId="20577"/>
          <ac:spMkLst>
            <pc:docMk/>
            <pc:sldMk cId="2418679932" sldId="2147472062"/>
            <ac:spMk id="3" creationId="{EA6122FA-3F0A-14DA-24D4-12C3E6662A9B}"/>
          </ac:spMkLst>
        </pc:spChg>
        <pc:spChg chg="mod">
          <ac:chgData name="Thomas Stockhammer" userId="2aa20ba2-ba43-46c1-9e8b-e40494025eed" providerId="ADAL" clId="{93F4DB43-904A-488F-90B2-583BFC90E770}" dt="2023-06-13T12:04:10.076" v="2101" actId="20577"/>
          <ac:spMkLst>
            <pc:docMk/>
            <pc:sldMk cId="2418679932" sldId="2147472062"/>
            <ac:spMk id="4" creationId="{E7EE2A02-4934-6A56-A9A5-035C7B1CCB63}"/>
          </ac:spMkLst>
        </pc:spChg>
        <pc:spChg chg="mod">
          <ac:chgData name="Thomas Stockhammer" userId="2aa20ba2-ba43-46c1-9e8b-e40494025eed" providerId="ADAL" clId="{93F4DB43-904A-488F-90B2-583BFC90E770}" dt="2023-06-13T12:03:06.922" v="1829" actId="20577"/>
          <ac:spMkLst>
            <pc:docMk/>
            <pc:sldMk cId="2418679932" sldId="2147472062"/>
            <ac:spMk id="5" creationId="{F0B9F6BF-0E3C-D761-DC52-B8EE553CAAB4}"/>
          </ac:spMkLst>
        </pc:spChg>
        <pc:spChg chg="add del">
          <ac:chgData name="Thomas Stockhammer" userId="2aa20ba2-ba43-46c1-9e8b-e40494025eed" providerId="ADAL" clId="{93F4DB43-904A-488F-90B2-583BFC90E770}" dt="2023-06-13T12:02:33.239" v="1775" actId="478"/>
          <ac:spMkLst>
            <pc:docMk/>
            <pc:sldMk cId="2418679932" sldId="2147472062"/>
            <ac:spMk id="6" creationId="{0E7EE1A0-A071-DBAB-8363-C305C9DF4AC9}"/>
          </ac:spMkLst>
        </pc:spChg>
        <pc:graphicFrameChg chg="add mod">
          <ac:chgData name="Thomas Stockhammer" userId="2aa20ba2-ba43-46c1-9e8b-e40494025eed" providerId="ADAL" clId="{93F4DB43-904A-488F-90B2-583BFC90E770}" dt="2023-06-13T12:03:09.654" v="1830" actId="1076"/>
          <ac:graphicFrameMkLst>
            <pc:docMk/>
            <pc:sldMk cId="2418679932" sldId="2147472062"/>
            <ac:graphicFrameMk id="7" creationId="{305F0CA9-E3A7-3D24-09C7-D15EA2F45A11}"/>
          </ac:graphicFrameMkLst>
        </pc:graphicFrameChg>
      </pc:sldChg>
      <pc:sldChg chg="modSp new del mod">
        <pc:chgData name="Thomas Stockhammer" userId="2aa20ba2-ba43-46c1-9e8b-e40494025eed" providerId="ADAL" clId="{93F4DB43-904A-488F-90B2-583BFC90E770}" dt="2023-06-13T13:10:29.994" v="2308" actId="47"/>
        <pc:sldMkLst>
          <pc:docMk/>
          <pc:sldMk cId="1137832495" sldId="2147472063"/>
        </pc:sldMkLst>
        <pc:spChg chg="mod">
          <ac:chgData name="Thomas Stockhammer" userId="2aa20ba2-ba43-46c1-9e8b-e40494025eed" providerId="ADAL" clId="{93F4DB43-904A-488F-90B2-583BFC90E770}" dt="2023-06-13T12:07:31.532" v="2136" actId="20577"/>
          <ac:spMkLst>
            <pc:docMk/>
            <pc:sldMk cId="1137832495" sldId="2147472063"/>
            <ac:spMk id="3" creationId="{35245361-41FE-AC98-BA9B-E50A95BDB713}"/>
          </ac:spMkLst>
        </pc:spChg>
        <pc:spChg chg="mod">
          <ac:chgData name="Thomas Stockhammer" userId="2aa20ba2-ba43-46c1-9e8b-e40494025eed" providerId="ADAL" clId="{93F4DB43-904A-488F-90B2-583BFC90E770}" dt="2023-06-13T12:08:06.515" v="2153" actId="20577"/>
          <ac:spMkLst>
            <pc:docMk/>
            <pc:sldMk cId="1137832495" sldId="2147472063"/>
            <ac:spMk id="4" creationId="{50898C05-46B6-3411-412D-C17538C2948C}"/>
          </ac:spMkLst>
        </pc:spChg>
      </pc:sldChg>
      <pc:sldChg chg="new del">
        <pc:chgData name="Thomas Stockhammer" userId="2aa20ba2-ba43-46c1-9e8b-e40494025eed" providerId="ADAL" clId="{93F4DB43-904A-488F-90B2-583BFC90E770}" dt="2023-06-13T13:07:01.129" v="2258" actId="47"/>
        <pc:sldMkLst>
          <pc:docMk/>
          <pc:sldMk cId="1578243970" sldId="2147472064"/>
        </pc:sldMkLst>
      </pc:sldChg>
      <pc:sldChg chg="add">
        <pc:chgData name="Thomas Stockhammer" userId="2aa20ba2-ba43-46c1-9e8b-e40494025eed" providerId="ADAL" clId="{93F4DB43-904A-488F-90B2-583BFC90E770}" dt="2023-06-13T13:06:56.501" v="2257"/>
        <pc:sldMkLst>
          <pc:docMk/>
          <pc:sldMk cId="434215493" sldId="2147472065"/>
        </pc:sldMkLst>
      </pc:sldChg>
      <pc:sldChg chg="add">
        <pc:chgData name="Thomas Stockhammer" userId="2aa20ba2-ba43-46c1-9e8b-e40494025eed" providerId="ADAL" clId="{93F4DB43-904A-488F-90B2-583BFC90E770}" dt="2023-06-13T13:07:08.586" v="2260"/>
        <pc:sldMkLst>
          <pc:docMk/>
          <pc:sldMk cId="2468286189" sldId="2147472066"/>
        </pc:sldMkLst>
      </pc:sldChg>
      <pc:sldChg chg="add">
        <pc:chgData name="Thomas Stockhammer" userId="2aa20ba2-ba43-46c1-9e8b-e40494025eed" providerId="ADAL" clId="{93F4DB43-904A-488F-90B2-583BFC90E770}" dt="2023-06-13T13:07:15.382" v="2262"/>
        <pc:sldMkLst>
          <pc:docMk/>
          <pc:sldMk cId="535335478" sldId="2147472067"/>
        </pc:sldMkLst>
      </pc:sldChg>
      <pc:sldChg chg="add">
        <pc:chgData name="Thomas Stockhammer" userId="2aa20ba2-ba43-46c1-9e8b-e40494025eed" providerId="ADAL" clId="{93F4DB43-904A-488F-90B2-583BFC90E770}" dt="2023-06-13T13:07:29.234" v="2264"/>
        <pc:sldMkLst>
          <pc:docMk/>
          <pc:sldMk cId="2605373404" sldId="2147472068"/>
        </pc:sldMkLst>
      </pc:sldChg>
      <pc:sldChg chg="add">
        <pc:chgData name="Thomas Stockhammer" userId="2aa20ba2-ba43-46c1-9e8b-e40494025eed" providerId="ADAL" clId="{93F4DB43-904A-488F-90B2-583BFC90E770}" dt="2023-06-13T13:07:29.234" v="2264"/>
        <pc:sldMkLst>
          <pc:docMk/>
          <pc:sldMk cId="495899532" sldId="2147472069"/>
        </pc:sldMkLst>
      </pc:sldChg>
      <pc:sldChg chg="add del">
        <pc:chgData name="Thomas Stockhammer" userId="2aa20ba2-ba43-46c1-9e8b-e40494025eed" providerId="ADAL" clId="{93F4DB43-904A-488F-90B2-583BFC90E770}" dt="2023-06-13T13:08:04.854" v="2268"/>
        <pc:sldMkLst>
          <pc:docMk/>
          <pc:sldMk cId="473206977" sldId="2147472070"/>
        </pc:sldMkLst>
      </pc:sldChg>
      <pc:sldChg chg="add">
        <pc:chgData name="Thomas Stockhammer" userId="2aa20ba2-ba43-46c1-9e8b-e40494025eed" providerId="ADAL" clId="{93F4DB43-904A-488F-90B2-583BFC90E770}" dt="2023-06-13T13:08:15.963" v="2269"/>
        <pc:sldMkLst>
          <pc:docMk/>
          <pc:sldMk cId="1333467815" sldId="2147472070"/>
        </pc:sldMkLst>
      </pc:sldChg>
      <pc:sldChg chg="add del">
        <pc:chgData name="Thomas Stockhammer" userId="2aa20ba2-ba43-46c1-9e8b-e40494025eed" providerId="ADAL" clId="{93F4DB43-904A-488F-90B2-583BFC90E770}" dt="2023-06-13T13:08:04.854" v="2268"/>
        <pc:sldMkLst>
          <pc:docMk/>
          <pc:sldMk cId="3760830492" sldId="2147472071"/>
        </pc:sldMkLst>
      </pc:sldChg>
      <pc:sldChg chg="add">
        <pc:chgData name="Thomas Stockhammer" userId="2aa20ba2-ba43-46c1-9e8b-e40494025eed" providerId="ADAL" clId="{93F4DB43-904A-488F-90B2-583BFC90E770}" dt="2023-06-13T13:08:24.371" v="2271"/>
        <pc:sldMkLst>
          <pc:docMk/>
          <pc:sldMk cId="3936667973" sldId="2147472071"/>
        </pc:sldMkLst>
      </pc:sldChg>
      <pc:sldChg chg="add">
        <pc:chgData name="Thomas Stockhammer" userId="2aa20ba2-ba43-46c1-9e8b-e40494025eed" providerId="ADAL" clId="{93F4DB43-904A-488F-90B2-583BFC90E770}" dt="2023-06-13T13:08:31.716" v="2273"/>
        <pc:sldMkLst>
          <pc:docMk/>
          <pc:sldMk cId="115124776" sldId="2147472072"/>
        </pc:sldMkLst>
      </pc:sldChg>
      <pc:sldChg chg="add del">
        <pc:chgData name="Thomas Stockhammer" userId="2aa20ba2-ba43-46c1-9e8b-e40494025eed" providerId="ADAL" clId="{93F4DB43-904A-488F-90B2-583BFC90E770}" dt="2023-06-13T13:08:04.854" v="2268"/>
        <pc:sldMkLst>
          <pc:docMk/>
          <pc:sldMk cId="724287496" sldId="2147472072"/>
        </pc:sldMkLst>
      </pc:sldChg>
      <pc:sldChg chg="add del">
        <pc:chgData name="Thomas Stockhammer" userId="2aa20ba2-ba43-46c1-9e8b-e40494025eed" providerId="ADAL" clId="{93F4DB43-904A-488F-90B2-583BFC90E770}" dt="2023-06-13T13:08:04.854" v="2268"/>
        <pc:sldMkLst>
          <pc:docMk/>
          <pc:sldMk cId="1581139305" sldId="2147472073"/>
        </pc:sldMkLst>
      </pc:sldChg>
      <pc:sldChg chg="add">
        <pc:chgData name="Thomas Stockhammer" userId="2aa20ba2-ba43-46c1-9e8b-e40494025eed" providerId="ADAL" clId="{93F4DB43-904A-488F-90B2-583BFC90E770}" dt="2023-06-13T13:08:39.155" v="2275"/>
        <pc:sldMkLst>
          <pc:docMk/>
          <pc:sldMk cId="1842492048" sldId="2147472073"/>
        </pc:sldMkLst>
      </pc:sldChg>
      <pc:sldChg chg="add">
        <pc:chgData name="Thomas Stockhammer" userId="2aa20ba2-ba43-46c1-9e8b-e40494025eed" providerId="ADAL" clId="{93F4DB43-904A-488F-90B2-583BFC90E770}" dt="2023-06-13T13:08:47.489" v="2277"/>
        <pc:sldMkLst>
          <pc:docMk/>
          <pc:sldMk cId="2395622379" sldId="2147472074"/>
        </pc:sldMkLst>
      </pc:sldChg>
      <pc:sldChg chg="add del">
        <pc:chgData name="Thomas Stockhammer" userId="2aa20ba2-ba43-46c1-9e8b-e40494025eed" providerId="ADAL" clId="{93F4DB43-904A-488F-90B2-583BFC90E770}" dt="2023-06-13T13:08:04.854" v="2268"/>
        <pc:sldMkLst>
          <pc:docMk/>
          <pc:sldMk cId="3989157120" sldId="2147472074"/>
        </pc:sldMkLst>
      </pc:sldChg>
      <pc:sldChg chg="add del">
        <pc:chgData name="Thomas Stockhammer" userId="2aa20ba2-ba43-46c1-9e8b-e40494025eed" providerId="ADAL" clId="{93F4DB43-904A-488F-90B2-583BFC90E770}" dt="2023-06-13T13:08:04.854" v="2268"/>
        <pc:sldMkLst>
          <pc:docMk/>
          <pc:sldMk cId="339183684" sldId="2147472075"/>
        </pc:sldMkLst>
      </pc:sldChg>
      <pc:sldChg chg="add">
        <pc:chgData name="Thomas Stockhammer" userId="2aa20ba2-ba43-46c1-9e8b-e40494025eed" providerId="ADAL" clId="{93F4DB43-904A-488F-90B2-583BFC90E770}" dt="2023-06-13T13:08:54.959" v="2279"/>
        <pc:sldMkLst>
          <pc:docMk/>
          <pc:sldMk cId="3400359152" sldId="2147472075"/>
        </pc:sldMkLst>
      </pc:sldChg>
      <pc:sldChg chg="add">
        <pc:chgData name="Thomas Stockhammer" userId="2aa20ba2-ba43-46c1-9e8b-e40494025eed" providerId="ADAL" clId="{93F4DB43-904A-488F-90B2-583BFC90E770}" dt="2023-06-13T13:09:01.014" v="2281"/>
        <pc:sldMkLst>
          <pc:docMk/>
          <pc:sldMk cId="1282174935" sldId="2147472076"/>
        </pc:sldMkLst>
      </pc:sldChg>
      <pc:sldChg chg="add del">
        <pc:chgData name="Thomas Stockhammer" userId="2aa20ba2-ba43-46c1-9e8b-e40494025eed" providerId="ADAL" clId="{93F4DB43-904A-488F-90B2-583BFC90E770}" dt="2023-06-13T13:08:04.854" v="2268"/>
        <pc:sldMkLst>
          <pc:docMk/>
          <pc:sldMk cId="3328404875" sldId="2147472076"/>
        </pc:sldMkLst>
      </pc:sldChg>
      <pc:sldChg chg="add del">
        <pc:chgData name="Thomas Stockhammer" userId="2aa20ba2-ba43-46c1-9e8b-e40494025eed" providerId="ADAL" clId="{93F4DB43-904A-488F-90B2-583BFC90E770}" dt="2023-06-13T13:08:04.854" v="2268"/>
        <pc:sldMkLst>
          <pc:docMk/>
          <pc:sldMk cId="196422643" sldId="2147472077"/>
        </pc:sldMkLst>
      </pc:sldChg>
      <pc:sldChg chg="modSp add mod">
        <pc:chgData name="Thomas Stockhammer" userId="2aa20ba2-ba43-46c1-9e8b-e40494025eed" providerId="ADAL" clId="{93F4DB43-904A-488F-90B2-583BFC90E770}" dt="2023-06-13T13:09:10.734" v="2284" actId="27636"/>
        <pc:sldMkLst>
          <pc:docMk/>
          <pc:sldMk cId="764378816" sldId="2147472077"/>
        </pc:sldMkLst>
        <pc:spChg chg="mod">
          <ac:chgData name="Thomas Stockhammer" userId="2aa20ba2-ba43-46c1-9e8b-e40494025eed" providerId="ADAL" clId="{93F4DB43-904A-488F-90B2-583BFC90E770}" dt="2023-06-13T13:09:10.734" v="2284" actId="27636"/>
          <ac:spMkLst>
            <pc:docMk/>
            <pc:sldMk cId="764378816" sldId="2147472077"/>
            <ac:spMk id="4" creationId="{B855F26B-F2AA-4F05-B82C-193B9C91CBA1}"/>
          </ac:spMkLst>
        </pc:spChg>
      </pc:sldChg>
      <pc:sldChg chg="add">
        <pc:chgData name="Thomas Stockhammer" userId="2aa20ba2-ba43-46c1-9e8b-e40494025eed" providerId="ADAL" clId="{93F4DB43-904A-488F-90B2-583BFC90E770}" dt="2023-06-13T13:09:17.908" v="2286"/>
        <pc:sldMkLst>
          <pc:docMk/>
          <pc:sldMk cId="617240585" sldId="2147472078"/>
        </pc:sldMkLst>
      </pc:sldChg>
      <pc:sldChg chg="add del">
        <pc:chgData name="Thomas Stockhammer" userId="2aa20ba2-ba43-46c1-9e8b-e40494025eed" providerId="ADAL" clId="{93F4DB43-904A-488F-90B2-583BFC90E770}" dt="2023-06-13T13:08:04.854" v="2268"/>
        <pc:sldMkLst>
          <pc:docMk/>
          <pc:sldMk cId="1277393902" sldId="2147472078"/>
        </pc:sldMkLst>
      </pc:sldChg>
      <pc:sldChg chg="add del">
        <pc:chgData name="Thomas Stockhammer" userId="2aa20ba2-ba43-46c1-9e8b-e40494025eed" providerId="ADAL" clId="{93F4DB43-904A-488F-90B2-583BFC90E770}" dt="2023-06-13T13:08:04.854" v="2268"/>
        <pc:sldMkLst>
          <pc:docMk/>
          <pc:sldMk cId="669470957" sldId="2147472079"/>
        </pc:sldMkLst>
      </pc:sldChg>
      <pc:sldChg chg="add">
        <pc:chgData name="Thomas Stockhammer" userId="2aa20ba2-ba43-46c1-9e8b-e40494025eed" providerId="ADAL" clId="{93F4DB43-904A-488F-90B2-583BFC90E770}" dt="2023-06-13T13:09:28.254" v="2288"/>
        <pc:sldMkLst>
          <pc:docMk/>
          <pc:sldMk cId="962772989" sldId="2147472079"/>
        </pc:sldMkLst>
      </pc:sldChg>
      <pc:sldChg chg="add del">
        <pc:chgData name="Thomas Stockhammer" userId="2aa20ba2-ba43-46c1-9e8b-e40494025eed" providerId="ADAL" clId="{93F4DB43-904A-488F-90B2-583BFC90E770}" dt="2023-06-13T13:08:04.854" v="2268"/>
        <pc:sldMkLst>
          <pc:docMk/>
          <pc:sldMk cId="1858496738" sldId="2147472080"/>
        </pc:sldMkLst>
      </pc:sldChg>
      <pc:sldChg chg="add">
        <pc:chgData name="Thomas Stockhammer" userId="2aa20ba2-ba43-46c1-9e8b-e40494025eed" providerId="ADAL" clId="{93F4DB43-904A-488F-90B2-583BFC90E770}" dt="2023-06-13T13:09:36.303" v="2290"/>
        <pc:sldMkLst>
          <pc:docMk/>
          <pc:sldMk cId="3622488616" sldId="2147472080"/>
        </pc:sldMkLst>
      </pc:sldChg>
      <pc:sldChg chg="add del">
        <pc:chgData name="Thomas Stockhammer" userId="2aa20ba2-ba43-46c1-9e8b-e40494025eed" providerId="ADAL" clId="{93F4DB43-904A-488F-90B2-583BFC90E770}" dt="2023-06-13T13:08:04.854" v="2268"/>
        <pc:sldMkLst>
          <pc:docMk/>
          <pc:sldMk cId="3105945843" sldId="2147472081"/>
        </pc:sldMkLst>
      </pc:sldChg>
      <pc:sldChg chg="add">
        <pc:chgData name="Thomas Stockhammer" userId="2aa20ba2-ba43-46c1-9e8b-e40494025eed" providerId="ADAL" clId="{93F4DB43-904A-488F-90B2-583BFC90E770}" dt="2023-06-13T13:09:43.960" v="2292"/>
        <pc:sldMkLst>
          <pc:docMk/>
          <pc:sldMk cId="3588347731" sldId="2147472081"/>
        </pc:sldMkLst>
      </pc:sldChg>
      <pc:sldChg chg="add del">
        <pc:chgData name="Thomas Stockhammer" userId="2aa20ba2-ba43-46c1-9e8b-e40494025eed" providerId="ADAL" clId="{93F4DB43-904A-488F-90B2-583BFC90E770}" dt="2023-06-13T13:08:04.854" v="2268"/>
        <pc:sldMkLst>
          <pc:docMk/>
          <pc:sldMk cId="2779767818" sldId="2147472082"/>
        </pc:sldMkLst>
      </pc:sldChg>
      <pc:sldChg chg="add">
        <pc:chgData name="Thomas Stockhammer" userId="2aa20ba2-ba43-46c1-9e8b-e40494025eed" providerId="ADAL" clId="{93F4DB43-904A-488F-90B2-583BFC90E770}" dt="2023-06-13T13:09:52.419" v="2294"/>
        <pc:sldMkLst>
          <pc:docMk/>
          <pc:sldMk cId="3636863990" sldId="2147472082"/>
        </pc:sldMkLst>
      </pc:sldChg>
      <pc:sldChg chg="add">
        <pc:chgData name="Thomas Stockhammer" userId="2aa20ba2-ba43-46c1-9e8b-e40494025eed" providerId="ADAL" clId="{93F4DB43-904A-488F-90B2-583BFC90E770}" dt="2023-06-13T13:09:58.345" v="2296"/>
        <pc:sldMkLst>
          <pc:docMk/>
          <pc:sldMk cId="4043368552" sldId="2147472083"/>
        </pc:sldMkLst>
      </pc:sldChg>
      <pc:sldChg chg="add del">
        <pc:chgData name="Thomas Stockhammer" userId="2aa20ba2-ba43-46c1-9e8b-e40494025eed" providerId="ADAL" clId="{93F4DB43-904A-488F-90B2-583BFC90E770}" dt="2023-06-13T13:08:04.854" v="2268"/>
        <pc:sldMkLst>
          <pc:docMk/>
          <pc:sldMk cId="4060373898" sldId="2147472083"/>
        </pc:sldMkLst>
      </pc:sldChg>
      <pc:sldChg chg="add">
        <pc:chgData name="Thomas Stockhammer" userId="2aa20ba2-ba43-46c1-9e8b-e40494025eed" providerId="ADAL" clId="{93F4DB43-904A-488F-90B2-583BFC90E770}" dt="2023-06-13T13:10:08.742" v="2300"/>
        <pc:sldMkLst>
          <pc:docMk/>
          <pc:sldMk cId="1006645806" sldId="2147472084"/>
        </pc:sldMkLst>
      </pc:sldChg>
      <pc:sldChg chg="add del">
        <pc:chgData name="Thomas Stockhammer" userId="2aa20ba2-ba43-46c1-9e8b-e40494025eed" providerId="ADAL" clId="{93F4DB43-904A-488F-90B2-583BFC90E770}" dt="2023-06-13T13:08:04.854" v="2268"/>
        <pc:sldMkLst>
          <pc:docMk/>
          <pc:sldMk cId="2391340618" sldId="2147472084"/>
        </pc:sldMkLst>
      </pc:sldChg>
      <pc:sldChg chg="add">
        <pc:chgData name="Thomas Stockhammer" userId="2aa20ba2-ba43-46c1-9e8b-e40494025eed" providerId="ADAL" clId="{93F4DB43-904A-488F-90B2-583BFC90E770}" dt="2023-06-13T13:10:15.617" v="2302"/>
        <pc:sldMkLst>
          <pc:docMk/>
          <pc:sldMk cId="184600143" sldId="2147472085"/>
        </pc:sldMkLst>
      </pc:sldChg>
      <pc:sldChg chg="add del">
        <pc:chgData name="Thomas Stockhammer" userId="2aa20ba2-ba43-46c1-9e8b-e40494025eed" providerId="ADAL" clId="{93F4DB43-904A-488F-90B2-583BFC90E770}" dt="2023-06-13T13:08:04.854" v="2268"/>
        <pc:sldMkLst>
          <pc:docMk/>
          <pc:sldMk cId="3823601375" sldId="2147472085"/>
        </pc:sldMkLst>
      </pc:sldChg>
      <pc:sldChg chg="add">
        <pc:chgData name="Thomas Stockhammer" userId="2aa20ba2-ba43-46c1-9e8b-e40494025eed" providerId="ADAL" clId="{93F4DB43-904A-488F-90B2-583BFC90E770}" dt="2023-06-13T13:10:21.880" v="2304"/>
        <pc:sldMkLst>
          <pc:docMk/>
          <pc:sldMk cId="2035872962" sldId="2147472086"/>
        </pc:sldMkLst>
      </pc:sldChg>
      <pc:sldChg chg="add del">
        <pc:chgData name="Thomas Stockhammer" userId="2aa20ba2-ba43-46c1-9e8b-e40494025eed" providerId="ADAL" clId="{93F4DB43-904A-488F-90B2-583BFC90E770}" dt="2023-06-13T13:08:04.854" v="2268"/>
        <pc:sldMkLst>
          <pc:docMk/>
          <pc:sldMk cId="3225960906" sldId="2147472086"/>
        </pc:sldMkLst>
      </pc:sldChg>
      <pc:sldChg chg="add del">
        <pc:chgData name="Thomas Stockhammer" userId="2aa20ba2-ba43-46c1-9e8b-e40494025eed" providerId="ADAL" clId="{93F4DB43-904A-488F-90B2-583BFC90E770}" dt="2023-06-13T13:08:04.854" v="2268"/>
        <pc:sldMkLst>
          <pc:docMk/>
          <pc:sldMk cId="206550991" sldId="2147472087"/>
        </pc:sldMkLst>
      </pc:sldChg>
      <pc:sldChg chg="modSp add mod">
        <pc:chgData name="Thomas Stockhammer" userId="2aa20ba2-ba43-46c1-9e8b-e40494025eed" providerId="ADAL" clId="{93F4DB43-904A-488F-90B2-583BFC90E770}" dt="2023-06-13T13:10:27.858" v="2307" actId="27636"/>
        <pc:sldMkLst>
          <pc:docMk/>
          <pc:sldMk cId="3515244194" sldId="2147472087"/>
        </pc:sldMkLst>
        <pc:spChg chg="mod">
          <ac:chgData name="Thomas Stockhammer" userId="2aa20ba2-ba43-46c1-9e8b-e40494025eed" providerId="ADAL" clId="{93F4DB43-904A-488F-90B2-583BFC90E770}" dt="2023-06-13T13:10:27.858" v="2307" actId="27636"/>
          <ac:spMkLst>
            <pc:docMk/>
            <pc:sldMk cId="3515244194" sldId="2147472087"/>
            <ac:spMk id="4" creationId="{50898C05-46B6-3411-412D-C17538C2948C}"/>
          </ac:spMkLst>
        </pc:spChg>
      </pc:sldChg>
      <pc:sldChg chg="add">
        <pc:chgData name="Thomas Stockhammer" userId="2aa20ba2-ba43-46c1-9e8b-e40494025eed" providerId="ADAL" clId="{93F4DB43-904A-488F-90B2-583BFC90E770}" dt="2023-06-13T13:10:34.978" v="2309"/>
        <pc:sldMkLst>
          <pc:docMk/>
          <pc:sldMk cId="3285925113" sldId="2147472088"/>
        </pc:sldMkLst>
      </pc:sldChg>
      <pc:sldChg chg="add del">
        <pc:chgData name="Thomas Stockhammer" userId="2aa20ba2-ba43-46c1-9e8b-e40494025eed" providerId="ADAL" clId="{93F4DB43-904A-488F-90B2-583BFC90E770}" dt="2023-06-13T13:08:04.854" v="2268"/>
        <pc:sldMkLst>
          <pc:docMk/>
          <pc:sldMk cId="3760260564" sldId="2147472088"/>
        </pc:sldMkLst>
      </pc:sldChg>
      <pc:sldChg chg="add">
        <pc:chgData name="Thomas Stockhammer" userId="2aa20ba2-ba43-46c1-9e8b-e40494025eed" providerId="ADAL" clId="{93F4DB43-904A-488F-90B2-583BFC90E770}" dt="2023-06-13T13:10:43.597" v="2311"/>
        <pc:sldMkLst>
          <pc:docMk/>
          <pc:sldMk cId="3095410353" sldId="2147472089"/>
        </pc:sldMkLst>
      </pc:sldChg>
      <pc:sldChg chg="add del">
        <pc:chgData name="Thomas Stockhammer" userId="2aa20ba2-ba43-46c1-9e8b-e40494025eed" providerId="ADAL" clId="{93F4DB43-904A-488F-90B2-583BFC90E770}" dt="2023-06-13T13:08:04.854" v="2268"/>
        <pc:sldMkLst>
          <pc:docMk/>
          <pc:sldMk cId="3738749143" sldId="2147472089"/>
        </pc:sldMkLst>
      </pc:sldChg>
      <pc:sldChg chg="add">
        <pc:chgData name="Thomas Stockhammer" userId="2aa20ba2-ba43-46c1-9e8b-e40494025eed" providerId="ADAL" clId="{93F4DB43-904A-488F-90B2-583BFC90E770}" dt="2023-06-13T13:10:51.317" v="2313"/>
        <pc:sldMkLst>
          <pc:docMk/>
          <pc:sldMk cId="1029724123" sldId="2147472090"/>
        </pc:sldMkLst>
      </pc:sldChg>
      <pc:sldChg chg="add del">
        <pc:chgData name="Thomas Stockhammer" userId="2aa20ba2-ba43-46c1-9e8b-e40494025eed" providerId="ADAL" clId="{93F4DB43-904A-488F-90B2-583BFC90E770}" dt="2023-06-13T13:08:04.854" v="2268"/>
        <pc:sldMkLst>
          <pc:docMk/>
          <pc:sldMk cId="4163560785" sldId="2147472090"/>
        </pc:sldMkLst>
      </pc:sldChg>
      <pc:sldChg chg="add del">
        <pc:chgData name="Thomas Stockhammer" userId="2aa20ba2-ba43-46c1-9e8b-e40494025eed" providerId="ADAL" clId="{93F4DB43-904A-488F-90B2-583BFC90E770}" dt="2023-06-13T13:08:04.854" v="2268"/>
        <pc:sldMkLst>
          <pc:docMk/>
          <pc:sldMk cId="3728641767" sldId="2147472091"/>
        </pc:sldMkLst>
      </pc:sldChg>
      <pc:sldChg chg="add">
        <pc:chgData name="Thomas Stockhammer" userId="2aa20ba2-ba43-46c1-9e8b-e40494025eed" providerId="ADAL" clId="{93F4DB43-904A-488F-90B2-583BFC90E770}" dt="2023-06-13T13:11:13.092" v="2317"/>
        <pc:sldMkLst>
          <pc:docMk/>
          <pc:sldMk cId="3864935726" sldId="2147472091"/>
        </pc:sldMkLst>
      </pc:sldChg>
      <pc:sldChg chg="add del">
        <pc:chgData name="Thomas Stockhammer" userId="2aa20ba2-ba43-46c1-9e8b-e40494025eed" providerId="ADAL" clId="{93F4DB43-904A-488F-90B2-583BFC90E770}" dt="2023-06-13T13:11:13.051" v="2316"/>
        <pc:sldMkLst>
          <pc:docMk/>
          <pc:sldMk cId="4035235485" sldId="2147472091"/>
        </pc:sldMkLst>
      </pc:sldChg>
      <pc:sldChg chg="add del">
        <pc:chgData name="Thomas Stockhammer" userId="2aa20ba2-ba43-46c1-9e8b-e40494025eed" providerId="ADAL" clId="{93F4DB43-904A-488F-90B2-583BFC90E770}" dt="2023-06-13T13:08:04.854" v="2268"/>
        <pc:sldMkLst>
          <pc:docMk/>
          <pc:sldMk cId="695676451" sldId="2147472092"/>
        </pc:sldMkLst>
      </pc:sldChg>
      <pc:sldMasterChg chg="delSldLayout">
        <pc:chgData name="Thomas Stockhammer" userId="2aa20ba2-ba43-46c1-9e8b-e40494025eed" providerId="ADAL" clId="{93F4DB43-904A-488F-90B2-583BFC90E770}" dt="2023-06-13T11:18:40.172" v="529" actId="47"/>
        <pc:sldMasterMkLst>
          <pc:docMk/>
          <pc:sldMasterMk cId="3338257086" sldId="2147487775"/>
        </pc:sldMasterMkLst>
        <pc:sldLayoutChg chg="del">
          <pc:chgData name="Thomas Stockhammer" userId="2aa20ba2-ba43-46c1-9e8b-e40494025eed" providerId="ADAL" clId="{93F4DB43-904A-488F-90B2-583BFC90E770}" dt="2023-06-13T11:18:40.172" v="529" actId="47"/>
          <pc:sldLayoutMkLst>
            <pc:docMk/>
            <pc:sldMasterMk cId="3338257086" sldId="2147487775"/>
            <pc:sldLayoutMk cId="2775662443" sldId="2147488111"/>
          </pc:sldLayoutMkLst>
        </pc:sldLayoutChg>
      </pc:sldMasterChg>
      <pc:sldMasterChg chg="delSldLayout">
        <pc:chgData name="Thomas Stockhammer" userId="2aa20ba2-ba43-46c1-9e8b-e40494025eed" providerId="ADAL" clId="{93F4DB43-904A-488F-90B2-583BFC90E770}" dt="2023-06-13T13:09:30.254" v="2289" actId="47"/>
        <pc:sldMasterMkLst>
          <pc:docMk/>
          <pc:sldMasterMk cId="158636609" sldId="2147488112"/>
        </pc:sldMasterMkLst>
        <pc:sldLayoutChg chg="del">
          <pc:chgData name="Thomas Stockhammer" userId="2aa20ba2-ba43-46c1-9e8b-e40494025eed" providerId="ADAL" clId="{93F4DB43-904A-488F-90B2-583BFC90E770}" dt="2023-06-13T13:09:30.254" v="2289" actId="47"/>
          <pc:sldLayoutMkLst>
            <pc:docMk/>
            <pc:sldMasterMk cId="158636609" sldId="2147488112"/>
            <pc:sldLayoutMk cId="1534012321" sldId="2147488333"/>
          </pc:sldLayoutMkLst>
        </pc:sldLayoutChg>
        <pc:sldLayoutChg chg="del">
          <pc:chgData name="Thomas Stockhammer" userId="2aa20ba2-ba43-46c1-9e8b-e40494025eed" providerId="ADAL" clId="{93F4DB43-904A-488F-90B2-583BFC90E770}" dt="2023-06-13T13:08:49.879" v="2278" actId="47"/>
          <pc:sldLayoutMkLst>
            <pc:docMk/>
            <pc:sldMasterMk cId="158636609" sldId="2147488112"/>
            <pc:sldLayoutMk cId="685647986" sldId="2147488334"/>
          </pc:sldLayoutMkLst>
        </pc:sldLayoutChg>
      </pc:sldMasterChg>
      <pc:sldMasterChg chg="del delSldLayout">
        <pc:chgData name="Thomas Stockhammer" userId="2aa20ba2-ba43-46c1-9e8b-e40494025eed" providerId="ADAL" clId="{93F4DB43-904A-488F-90B2-583BFC90E770}" dt="2023-06-13T13:10:45.772" v="2312" actId="47"/>
        <pc:sldMasterMkLst>
          <pc:docMk/>
          <pc:sldMasterMk cId="831591308" sldId="2147488326"/>
        </pc:sldMasterMkLst>
        <pc:sldLayoutChg chg="del">
          <pc:chgData name="Thomas Stockhammer" userId="2aa20ba2-ba43-46c1-9e8b-e40494025eed" providerId="ADAL" clId="{93F4DB43-904A-488F-90B2-583BFC90E770}" dt="2023-06-13T13:10:45.772" v="2312" actId="47"/>
          <pc:sldLayoutMkLst>
            <pc:docMk/>
            <pc:sldMasterMk cId="831591308" sldId="2147488326"/>
            <pc:sldLayoutMk cId="3102996448" sldId="2147488327"/>
          </pc:sldLayoutMkLst>
        </pc:sldLayoutChg>
        <pc:sldLayoutChg chg="del">
          <pc:chgData name="Thomas Stockhammer" userId="2aa20ba2-ba43-46c1-9e8b-e40494025eed" providerId="ADAL" clId="{93F4DB43-904A-488F-90B2-583BFC90E770}" dt="2023-06-13T13:10:45.772" v="2312" actId="47"/>
          <pc:sldLayoutMkLst>
            <pc:docMk/>
            <pc:sldMasterMk cId="831591308" sldId="2147488326"/>
            <pc:sldLayoutMk cId="952707181" sldId="2147488328"/>
          </pc:sldLayoutMkLst>
        </pc:sldLayoutChg>
        <pc:sldLayoutChg chg="del">
          <pc:chgData name="Thomas Stockhammer" userId="2aa20ba2-ba43-46c1-9e8b-e40494025eed" providerId="ADAL" clId="{93F4DB43-904A-488F-90B2-583BFC90E770}" dt="2023-06-13T13:10:45.772" v="2312" actId="47"/>
          <pc:sldLayoutMkLst>
            <pc:docMk/>
            <pc:sldMasterMk cId="831591308" sldId="2147488326"/>
            <pc:sldLayoutMk cId="1681385810" sldId="2147488329"/>
          </pc:sldLayoutMkLst>
        </pc:sldLayoutChg>
        <pc:sldLayoutChg chg="del">
          <pc:chgData name="Thomas Stockhammer" userId="2aa20ba2-ba43-46c1-9e8b-e40494025eed" providerId="ADAL" clId="{93F4DB43-904A-488F-90B2-583BFC90E770}" dt="2023-06-13T13:10:45.772" v="2312" actId="47"/>
          <pc:sldLayoutMkLst>
            <pc:docMk/>
            <pc:sldMasterMk cId="831591308" sldId="2147488326"/>
            <pc:sldLayoutMk cId="3854514712" sldId="2147488330"/>
          </pc:sldLayoutMkLst>
        </pc:sldLayoutChg>
        <pc:sldLayoutChg chg="del">
          <pc:chgData name="Thomas Stockhammer" userId="2aa20ba2-ba43-46c1-9e8b-e40494025eed" providerId="ADAL" clId="{93F4DB43-904A-488F-90B2-583BFC90E770}" dt="2023-06-13T13:10:45.772" v="2312" actId="47"/>
          <pc:sldLayoutMkLst>
            <pc:docMk/>
            <pc:sldMasterMk cId="831591308" sldId="2147488326"/>
            <pc:sldLayoutMk cId="4200030485" sldId="2147488331"/>
          </pc:sldLayoutMkLst>
        </pc:sldLayoutChg>
        <pc:sldLayoutChg chg="del">
          <pc:chgData name="Thomas Stockhammer" userId="2aa20ba2-ba43-46c1-9e8b-e40494025eed" providerId="ADAL" clId="{93F4DB43-904A-488F-90B2-583BFC90E770}" dt="2023-06-13T13:10:45.772" v="2312" actId="47"/>
          <pc:sldLayoutMkLst>
            <pc:docMk/>
            <pc:sldMasterMk cId="831591308" sldId="2147488326"/>
            <pc:sldLayoutMk cId="1228160863" sldId="2147488332"/>
          </pc:sldLayoutMkLst>
        </pc:sldLayoutChg>
      </pc:sldMasterChg>
    </pc:docChg>
  </pc:docChgLst>
</pc:chgInfo>
</file>

<file path=ppt/diagrams/_rels/data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svg"/><Relationship Id="rId1" Type="http://schemas.openxmlformats.org/officeDocument/2006/relationships/image" Target="../media/image81.png"/><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4.svg"/></Relationships>
</file>

<file path=ppt/diagrams/_rels/drawing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svg"/><Relationship Id="rId1" Type="http://schemas.openxmlformats.org/officeDocument/2006/relationships/image" Target="../media/image81.png"/><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4.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1A2E40-DD4D-4D20-BF20-BE269814EFF7}"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US"/>
        </a:p>
      </dgm:t>
    </dgm:pt>
    <dgm:pt modelId="{FB677CFA-F527-469C-921D-03B3390EC83A}">
      <dgm:prSet/>
      <dgm:spPr/>
      <dgm:t>
        <a:bodyPr/>
        <a:lstStyle/>
        <a:p>
          <a:pPr>
            <a:buFont typeface="+mj-lt"/>
            <a:buAutoNum type="arabicParenR"/>
          </a:pPr>
          <a:r>
            <a:rPr lang="en-US" dirty="0"/>
            <a:t>Consistent support for uplink streaming</a:t>
          </a:r>
        </a:p>
      </dgm:t>
    </dgm:pt>
    <dgm:pt modelId="{CD911C8B-0DB4-4B7C-8E75-678E467CFDCD}" type="parTrans" cxnId="{79E25AE0-F2AB-487A-839D-B7EB1F5427C2}">
      <dgm:prSet/>
      <dgm:spPr/>
      <dgm:t>
        <a:bodyPr/>
        <a:lstStyle/>
        <a:p>
          <a:endParaRPr lang="en-US"/>
        </a:p>
      </dgm:t>
    </dgm:pt>
    <dgm:pt modelId="{F9B7E218-EF3F-48E8-BD46-097E57E294C6}" type="sibTrans" cxnId="{79E25AE0-F2AB-487A-839D-B7EB1F5427C2}">
      <dgm:prSet/>
      <dgm:spPr/>
      <dgm:t>
        <a:bodyPr/>
        <a:lstStyle/>
        <a:p>
          <a:endParaRPr lang="en-US"/>
        </a:p>
      </dgm:t>
    </dgm:pt>
    <dgm:pt modelId="{2B323E3F-9457-4929-9554-937C4633E6C5}">
      <dgm:prSet/>
      <dgm:spPr/>
      <dgm:t>
        <a:bodyPr/>
        <a:lstStyle/>
        <a:p>
          <a:pPr>
            <a:buFont typeface="+mj-lt"/>
            <a:buAutoNum type="arabicParenR"/>
          </a:pPr>
          <a:r>
            <a:rPr lang="en-US" dirty="0"/>
            <a:t>End-to-end low latency live streaming with dynamic policies</a:t>
          </a:r>
        </a:p>
      </dgm:t>
    </dgm:pt>
    <dgm:pt modelId="{8ED03566-2F0E-45E2-84D4-0BC61600C299}" type="parTrans" cxnId="{63453092-CEBC-49EE-A9F9-C67D8F99D4D9}">
      <dgm:prSet/>
      <dgm:spPr/>
      <dgm:t>
        <a:bodyPr/>
        <a:lstStyle/>
        <a:p>
          <a:endParaRPr lang="en-US"/>
        </a:p>
      </dgm:t>
    </dgm:pt>
    <dgm:pt modelId="{008E1694-D2EE-4613-8D02-1DDC3C9A14F9}" type="sibTrans" cxnId="{63453092-CEBC-49EE-A9F9-C67D8F99D4D9}">
      <dgm:prSet/>
      <dgm:spPr/>
      <dgm:t>
        <a:bodyPr/>
        <a:lstStyle/>
        <a:p>
          <a:endParaRPr lang="en-US"/>
        </a:p>
      </dgm:t>
    </dgm:pt>
    <dgm:pt modelId="{FBFA90BF-E594-4096-B2FD-D7C650E57875}">
      <dgm:prSet/>
      <dgm:spPr/>
      <dgm:t>
        <a:bodyPr/>
        <a:lstStyle/>
        <a:p>
          <a:pPr>
            <a:buFont typeface="+mj-lt"/>
            <a:buAutoNum type="arabicParenR"/>
          </a:pPr>
          <a:r>
            <a:rPr lang="en-US" dirty="0"/>
            <a:t>5GMS over MBS and 5GMS hybrid unicast/MBS services.</a:t>
          </a:r>
        </a:p>
      </dgm:t>
    </dgm:pt>
    <dgm:pt modelId="{51FBEBF3-0C9F-4562-872A-228098983C23}" type="parTrans" cxnId="{90CCD0A7-5473-4AA6-8DA5-6E11570383EF}">
      <dgm:prSet/>
      <dgm:spPr/>
      <dgm:t>
        <a:bodyPr/>
        <a:lstStyle/>
        <a:p>
          <a:endParaRPr lang="en-US"/>
        </a:p>
      </dgm:t>
    </dgm:pt>
    <dgm:pt modelId="{C3AA2287-A8B9-4031-9243-1138D777BF34}" type="sibTrans" cxnId="{90CCD0A7-5473-4AA6-8DA5-6E11570383EF}">
      <dgm:prSet/>
      <dgm:spPr/>
      <dgm:t>
        <a:bodyPr/>
        <a:lstStyle/>
        <a:p>
          <a:endParaRPr lang="en-US"/>
        </a:p>
      </dgm:t>
    </dgm:pt>
    <dgm:pt modelId="{6C5919A9-E25F-4325-906B-068B1EF0D178}">
      <dgm:prSet/>
      <dgm:spPr/>
      <dgm:t>
        <a:bodyPr/>
        <a:lstStyle/>
        <a:p>
          <a:pPr>
            <a:buFont typeface="+mj-lt"/>
            <a:buAutoNum type="arabicParenR"/>
          </a:pPr>
          <a:r>
            <a:rPr lang="en-US" dirty="0"/>
            <a:t>Based on development in CTA WAVE in context of DASH/HLS interop specification in CTA-5005, it was identified that the same media service may be available in multiple formats, and 5GMS media is expected to offer the same service with different entry points in order for the device to select the service based on its capabilities, for example using a DASH player, or and HLS player, or using a progressive download system.</a:t>
          </a:r>
        </a:p>
      </dgm:t>
    </dgm:pt>
    <dgm:pt modelId="{214DE8A0-8EE6-44D3-823F-1DF460C059DD}" type="parTrans" cxnId="{5FB95CB5-A444-4ABF-B1B3-F0A6772FE2C9}">
      <dgm:prSet/>
      <dgm:spPr/>
      <dgm:t>
        <a:bodyPr/>
        <a:lstStyle/>
        <a:p>
          <a:endParaRPr lang="en-US"/>
        </a:p>
      </dgm:t>
    </dgm:pt>
    <dgm:pt modelId="{9F0E0175-511E-433D-A79E-FF617E6CB045}" type="sibTrans" cxnId="{5FB95CB5-A444-4ABF-B1B3-F0A6772FE2C9}">
      <dgm:prSet/>
      <dgm:spPr/>
      <dgm:t>
        <a:bodyPr/>
        <a:lstStyle/>
        <a:p>
          <a:endParaRPr lang="en-US"/>
        </a:p>
      </dgm:t>
    </dgm:pt>
    <dgm:pt modelId="{E02AF54C-A812-471A-9EB6-D55C891482DD}">
      <dgm:prSet/>
      <dgm:spPr/>
      <dgm:t>
        <a:bodyPr/>
        <a:lstStyle/>
        <a:p>
          <a:pPr>
            <a:buFont typeface="+mj-lt"/>
            <a:buAutoNum type="arabicParenR"/>
          </a:pPr>
          <a:r>
            <a:rPr lang="en-US" dirty="0"/>
            <a:t>The 5G System offers different solutions for traffic identification and traffic detection. Traffic identification is essential so that the 5G System can detect application flows to which, for instance, an appropriate Policy and Charging Rule (PCC) is applied. 5GMS is extended to support the configuration of </a:t>
          </a:r>
          <a:r>
            <a:rPr lang="en-US" dirty="0" err="1"/>
            <a:t>ToS</a:t>
          </a:r>
          <a:r>
            <a:rPr lang="en-US" dirty="0"/>
            <a:t> values for the identification of traffic associated with a Dynamic Policy. and study use-cases with IPsec and the usage of the security parameter index for traffic identification.</a:t>
          </a:r>
        </a:p>
      </dgm:t>
    </dgm:pt>
    <dgm:pt modelId="{A6C1FC7D-012F-4A53-AE09-4AB5303660B0}" type="parTrans" cxnId="{A7477682-D4A9-43DC-95F2-36DFC2BBCB0C}">
      <dgm:prSet/>
      <dgm:spPr/>
      <dgm:t>
        <a:bodyPr/>
        <a:lstStyle/>
        <a:p>
          <a:endParaRPr lang="en-US"/>
        </a:p>
      </dgm:t>
    </dgm:pt>
    <dgm:pt modelId="{3CF5A343-D5EA-4700-8A30-DDF961CE61DC}" type="sibTrans" cxnId="{A7477682-D4A9-43DC-95F2-36DFC2BBCB0C}">
      <dgm:prSet/>
      <dgm:spPr/>
      <dgm:t>
        <a:bodyPr/>
        <a:lstStyle/>
        <a:p>
          <a:endParaRPr lang="en-US"/>
        </a:p>
      </dgm:t>
    </dgm:pt>
    <dgm:pt modelId="{3AE440D4-F3ED-413D-A049-1E19CB2992BA}">
      <dgm:prSet/>
      <dgm:spPr/>
      <dgm:t>
        <a:bodyPr/>
        <a:lstStyle/>
        <a:p>
          <a:pPr>
            <a:buFont typeface="+mj-lt"/>
            <a:buAutoNum type="arabicParenR"/>
          </a:pPr>
          <a:r>
            <a:rPr lang="en-US" dirty="0"/>
            <a:t>The Quick UDP Internet Connection (QUIC) [43] and HTTP/3 protocols are among the most recent developments in the IETF, with the goal of combining flexibility, extensibility, and performance to web applications. The 5GMS specifications are updated to allow the use of HTTP/3 at relevant reference points in the 5GMS architecture.</a:t>
          </a:r>
        </a:p>
      </dgm:t>
    </dgm:pt>
    <dgm:pt modelId="{F9677A98-E149-4F12-8946-6A05AC0C3DDA}" type="parTrans" cxnId="{22AEC904-3A09-4531-A6DC-656B276BB190}">
      <dgm:prSet/>
      <dgm:spPr/>
      <dgm:t>
        <a:bodyPr/>
        <a:lstStyle/>
        <a:p>
          <a:endParaRPr lang="en-US"/>
        </a:p>
      </dgm:t>
    </dgm:pt>
    <dgm:pt modelId="{4FCC5E13-E758-4942-986A-7589E273BFA1}" type="sibTrans" cxnId="{22AEC904-3A09-4531-A6DC-656B276BB190}">
      <dgm:prSet/>
      <dgm:spPr/>
      <dgm:t>
        <a:bodyPr/>
        <a:lstStyle/>
        <a:p>
          <a:endParaRPr lang="en-US"/>
        </a:p>
      </dgm:t>
    </dgm:pt>
    <dgm:pt modelId="{73AF273A-1E36-493D-98B2-B68270077A94}">
      <dgm:prSet/>
      <dgm:spPr/>
      <dgm:t>
        <a:bodyPr/>
        <a:lstStyle/>
        <a:p>
          <a:pPr>
            <a:buFont typeface="+mj-lt"/>
            <a:buAutoNum type="arabicParenR"/>
          </a:pPr>
          <a:r>
            <a:rPr lang="en-US" dirty="0"/>
            <a:t>Background data transfer (BDT)</a:t>
          </a:r>
        </a:p>
      </dgm:t>
    </dgm:pt>
    <dgm:pt modelId="{791A437D-6B87-4721-99FB-3023C52D7027}" type="parTrans" cxnId="{F2733B33-D801-4493-B4FD-FEB7D73AB043}">
      <dgm:prSet/>
      <dgm:spPr/>
      <dgm:t>
        <a:bodyPr/>
        <a:lstStyle/>
        <a:p>
          <a:endParaRPr lang="en-US"/>
        </a:p>
      </dgm:t>
    </dgm:pt>
    <dgm:pt modelId="{5AD059FE-78CE-4590-AB35-0A9D59A0F611}" type="sibTrans" cxnId="{F2733B33-D801-4493-B4FD-FEB7D73AB043}">
      <dgm:prSet/>
      <dgm:spPr/>
      <dgm:t>
        <a:bodyPr/>
        <a:lstStyle/>
        <a:p>
          <a:endParaRPr lang="en-US"/>
        </a:p>
      </dgm:t>
    </dgm:pt>
    <dgm:pt modelId="{316A3B53-88CB-47A5-B6DF-4A4E4E107D83}">
      <dgm:prSet/>
      <dgm:spPr/>
      <dgm:t>
        <a:bodyPr/>
        <a:lstStyle/>
        <a:p>
          <a:pPr>
            <a:buFont typeface="+mj-lt"/>
            <a:buAutoNum type="arabicParenR"/>
          </a:pPr>
          <a:r>
            <a:rPr lang="en-US" dirty="0"/>
            <a:t>Specification of the usage of </a:t>
          </a:r>
          <a:r>
            <a:rPr lang="en-US" dirty="0" err="1"/>
            <a:t>Oauth</a:t>
          </a:r>
          <a:r>
            <a:rPr lang="en-US" dirty="0"/>
            <a:t> 2.0 for 5GMS protocols based on the conclusions to address use-cases, when a UE hosts multiple 5GMS-Aware Applications from different 5GMS Application Providers.</a:t>
          </a:r>
        </a:p>
      </dgm:t>
    </dgm:pt>
    <dgm:pt modelId="{33D736F9-D32F-4FAD-B75A-6A5887474871}" type="parTrans" cxnId="{11D0F88D-537B-4B27-B407-78F82E75C115}">
      <dgm:prSet/>
      <dgm:spPr/>
      <dgm:t>
        <a:bodyPr/>
        <a:lstStyle/>
        <a:p>
          <a:endParaRPr lang="en-US"/>
        </a:p>
      </dgm:t>
    </dgm:pt>
    <dgm:pt modelId="{32F9B8A6-AE18-4F62-8A19-491808CA4303}" type="sibTrans" cxnId="{11D0F88D-537B-4B27-B407-78F82E75C115}">
      <dgm:prSet/>
      <dgm:spPr/>
      <dgm:t>
        <a:bodyPr/>
        <a:lstStyle/>
        <a:p>
          <a:endParaRPr lang="en-US"/>
        </a:p>
      </dgm:t>
    </dgm:pt>
    <dgm:pt modelId="{365EFD33-9CD3-4DC3-8643-1FD1BADB1827}">
      <dgm:prSet/>
      <dgm:spPr/>
      <dgm:t>
        <a:bodyPr/>
        <a:lstStyle/>
        <a:p>
          <a:pPr>
            <a:buFont typeface="+mj-lt"/>
            <a:buAutoNum type="arabicParenR"/>
          </a:pPr>
          <a:r>
            <a:rPr lang="en-US" dirty="0"/>
            <a:t>Specifications for the 3GPP Service Handler and URL including the necessary functions on UE and device to support automatic launch of 5G System services in the context of 5G Media Streaming. It was identified that it is essential to provide a URL form for media services in order to automatically launch client and network functions without disrupting existing app workflows.</a:t>
          </a:r>
        </a:p>
      </dgm:t>
    </dgm:pt>
    <dgm:pt modelId="{0DE6732C-BEDC-4304-89B9-6240F70F7382}" type="parTrans" cxnId="{AB72138C-4D13-4706-B938-198A216C2DC4}">
      <dgm:prSet/>
      <dgm:spPr/>
      <dgm:t>
        <a:bodyPr/>
        <a:lstStyle/>
        <a:p>
          <a:endParaRPr lang="en-US"/>
        </a:p>
      </dgm:t>
    </dgm:pt>
    <dgm:pt modelId="{ABBB5458-55B0-49D4-B080-8690E8A72C61}" type="sibTrans" cxnId="{AB72138C-4D13-4706-B938-198A216C2DC4}">
      <dgm:prSet/>
      <dgm:spPr/>
      <dgm:t>
        <a:bodyPr/>
        <a:lstStyle/>
        <a:p>
          <a:endParaRPr lang="en-US"/>
        </a:p>
      </dgm:t>
    </dgm:pt>
    <dgm:pt modelId="{B1C0DF5A-8649-4A25-9F32-545598D91702}">
      <dgm:prSet/>
      <dgm:spPr/>
      <dgm:t>
        <a:bodyPr/>
        <a:lstStyle/>
        <a:p>
          <a:pPr>
            <a:buFont typeface="+mj-lt"/>
            <a:buAutoNum type="arabicParenR"/>
          </a:pPr>
          <a:r>
            <a:rPr lang="en-US" dirty="0"/>
            <a:t>Specification of a RESTful API at reference point M3, for the configuration of 5GMS AS instances by 5GMS AF. M3 was undefined until now, but based on deployment experience it was identified that it is necessary to define this reference point more details.</a:t>
          </a:r>
        </a:p>
      </dgm:t>
    </dgm:pt>
    <dgm:pt modelId="{D0E5ABCA-FEF3-465B-A4FB-BFF404455FE9}" type="parTrans" cxnId="{2E4DB8F2-3A52-4CDB-9CC5-4AE81260894C}">
      <dgm:prSet/>
      <dgm:spPr/>
      <dgm:t>
        <a:bodyPr/>
        <a:lstStyle/>
        <a:p>
          <a:endParaRPr lang="en-US"/>
        </a:p>
      </dgm:t>
    </dgm:pt>
    <dgm:pt modelId="{6BB5E3FA-AA95-4033-8386-C1C662B31B75}" type="sibTrans" cxnId="{2E4DB8F2-3A52-4CDB-9CC5-4AE81260894C}">
      <dgm:prSet/>
      <dgm:spPr/>
      <dgm:t>
        <a:bodyPr/>
        <a:lstStyle/>
        <a:p>
          <a:endParaRPr lang="en-US"/>
        </a:p>
      </dgm:t>
    </dgm:pt>
    <dgm:pt modelId="{8D3DD712-D7AC-4EC8-B517-CC984B0678F7}">
      <dgm:prSet/>
      <dgm:spPr/>
      <dgm:t>
        <a:bodyPr/>
        <a:lstStyle/>
        <a:p>
          <a:pPr>
            <a:buFont typeface="+mj-lt"/>
            <a:buAutoNum type="arabicParenR"/>
          </a:pPr>
          <a:r>
            <a:rPr lang="en-US" dirty="0"/>
            <a:t>Specification of data types for data reporting of ANBR-based Network Assistance invocations and specification of data types for exposure of events relating to invocation of AF-based and ANBR-based Network Assistance. </a:t>
          </a:r>
        </a:p>
      </dgm:t>
    </dgm:pt>
    <dgm:pt modelId="{9B5C388F-76CE-4970-A877-33AEC3A5E7DD}" type="parTrans" cxnId="{695BD2BA-C30E-4B7D-89D0-E3FF7D10BB55}">
      <dgm:prSet/>
      <dgm:spPr/>
      <dgm:t>
        <a:bodyPr/>
        <a:lstStyle/>
        <a:p>
          <a:endParaRPr lang="en-US"/>
        </a:p>
      </dgm:t>
    </dgm:pt>
    <dgm:pt modelId="{FD6B209D-E586-4B43-BC3E-E5A4B88663D8}" type="sibTrans" cxnId="{695BD2BA-C30E-4B7D-89D0-E3FF7D10BB55}">
      <dgm:prSet/>
      <dgm:spPr/>
      <dgm:t>
        <a:bodyPr/>
        <a:lstStyle/>
        <a:p>
          <a:endParaRPr lang="en-US"/>
        </a:p>
      </dgm:t>
    </dgm:pt>
    <dgm:pt modelId="{54914BAA-A1AF-4ACD-9AEF-372CCDDD1A9D}">
      <dgm:prSet/>
      <dgm:spPr/>
      <dgm:t>
        <a:bodyPr/>
        <a:lstStyle/>
        <a:p>
          <a:pPr>
            <a:buFont typeface="+mj-lt"/>
            <a:buAutoNum type="arabicParenR"/>
          </a:pPr>
          <a:r>
            <a:rPr lang="en-US" dirty="0"/>
            <a:t>Enhancements based on feedback from 5G-MAG Reference tool developments. The support of 5G-MAG reference tools created essential inputs to the spec development and continuous exchange will result in additional updates.</a:t>
          </a:r>
        </a:p>
      </dgm:t>
    </dgm:pt>
    <dgm:pt modelId="{1860B68C-372D-4A8B-8428-C356F31107C8}" type="parTrans" cxnId="{6D56A98D-C9C2-466C-ACD0-FC3F9197D4DA}">
      <dgm:prSet/>
      <dgm:spPr/>
      <dgm:t>
        <a:bodyPr/>
        <a:lstStyle/>
        <a:p>
          <a:endParaRPr lang="en-US"/>
        </a:p>
      </dgm:t>
    </dgm:pt>
    <dgm:pt modelId="{B6797C34-71CB-4503-8DE5-C7F4258A1D3A}" type="sibTrans" cxnId="{6D56A98D-C9C2-466C-ACD0-FC3F9197D4DA}">
      <dgm:prSet/>
      <dgm:spPr/>
      <dgm:t>
        <a:bodyPr/>
        <a:lstStyle/>
        <a:p>
          <a:endParaRPr lang="en-US"/>
        </a:p>
      </dgm:t>
    </dgm:pt>
    <dgm:pt modelId="{496389AD-A385-491F-BFEE-945EBAFA408B}">
      <dgm:prSet/>
      <dgm:spPr/>
      <dgm:t>
        <a:bodyPr/>
        <a:lstStyle/>
        <a:p>
          <a:pPr>
            <a:buFont typeface="+mj-lt"/>
            <a:buAutoNum type="arabicParenR"/>
          </a:pPr>
          <a:r>
            <a:rPr lang="en-US" dirty="0"/>
            <a:t>this functionality is needed for media production services, but also for contributing user generated media to operator and third-party services. Different collaboration scenarios between the MNO and the service provider are addressed in an updated specification – bringing uplink streaming on par with downlink streaming. </a:t>
          </a:r>
        </a:p>
      </dgm:t>
    </dgm:pt>
    <dgm:pt modelId="{62924CF2-FF8A-4B1A-A6BE-375EFDDF94B8}" type="parTrans" cxnId="{474BEBA9-4DA1-4680-B4E7-A3D516713C70}">
      <dgm:prSet/>
      <dgm:spPr/>
      <dgm:t>
        <a:bodyPr/>
        <a:lstStyle/>
        <a:p>
          <a:endParaRPr lang="en-US"/>
        </a:p>
      </dgm:t>
    </dgm:pt>
    <dgm:pt modelId="{C9E9587F-D27C-4C6E-9C5E-42C3164C854B}" type="sibTrans" cxnId="{474BEBA9-4DA1-4680-B4E7-A3D516713C70}">
      <dgm:prSet/>
      <dgm:spPr/>
      <dgm:t>
        <a:bodyPr/>
        <a:lstStyle/>
        <a:p>
          <a:endParaRPr lang="en-US"/>
        </a:p>
      </dgm:t>
    </dgm:pt>
    <dgm:pt modelId="{CB6F604B-53C3-40E0-AA38-9D806DF31E93}">
      <dgm:prSet/>
      <dgm:spPr/>
      <dgm:t>
        <a:bodyPr/>
        <a:lstStyle/>
        <a:p>
          <a:pPr>
            <a:buFont typeface="+mj-lt"/>
            <a:buAutoNum type="arabicParenR"/>
          </a:pPr>
          <a:r>
            <a:rPr lang="en-US" dirty="0"/>
            <a:t>is of crucial support to meet the TV industry needs in order to bring 5G on par with other distribution means.  Live TV services are characterized by at least the following aspects: (1) scalability (in terms of concurrent users), (2) consistent quality, (3) high bandwidth requirements, (4) target latency constraints, and advanced TV Experiences. Primarily, updated DASH tools, </a:t>
          </a:r>
          <a:r>
            <a:rPr lang="en-US" dirty="0" err="1"/>
            <a:t>QoE</a:t>
          </a:r>
          <a:r>
            <a:rPr lang="en-US" dirty="0"/>
            <a:t> monitoring and QoS support for low-latency in 5G media streaming are specified in order to meet the requirements defined in TR 26.804.</a:t>
          </a:r>
        </a:p>
      </dgm:t>
    </dgm:pt>
    <dgm:pt modelId="{11D65AD0-61B2-41DE-BBAE-58DBB0ECF14C}" type="parTrans" cxnId="{D1833E31-C4E7-4187-A42B-1E300199EF8F}">
      <dgm:prSet/>
      <dgm:spPr/>
      <dgm:t>
        <a:bodyPr/>
        <a:lstStyle/>
        <a:p>
          <a:endParaRPr lang="en-US"/>
        </a:p>
      </dgm:t>
    </dgm:pt>
    <dgm:pt modelId="{BE8E32FF-883D-499E-A2D6-368F8EC1204C}" type="sibTrans" cxnId="{D1833E31-C4E7-4187-A42B-1E300199EF8F}">
      <dgm:prSet/>
      <dgm:spPr/>
      <dgm:t>
        <a:bodyPr/>
        <a:lstStyle/>
        <a:p>
          <a:endParaRPr lang="en-US"/>
        </a:p>
      </dgm:t>
    </dgm:pt>
    <dgm:pt modelId="{63C36706-480A-4CEB-8A80-0820AFF12DD2}">
      <dgm:prSet/>
      <dgm:spPr/>
      <dgm:t>
        <a:bodyPr/>
        <a:lstStyle/>
        <a:p>
          <a:pPr>
            <a:buFont typeface="+mj-lt"/>
            <a:buAutoNum type="arabicParenR"/>
          </a:pPr>
          <a:r>
            <a:rPr lang="en-US" dirty="0"/>
            <a:t> This functionality is expected to allow scaling media services using multicast and point-to-multipoint distribution within the operators network.</a:t>
          </a:r>
        </a:p>
      </dgm:t>
    </dgm:pt>
    <dgm:pt modelId="{D95DB2A1-09F4-461E-8391-D0EFD4F8AA33}" type="parTrans" cxnId="{2BF37DCB-9E69-4395-809B-383C320AF1C7}">
      <dgm:prSet/>
      <dgm:spPr/>
      <dgm:t>
        <a:bodyPr/>
        <a:lstStyle/>
        <a:p>
          <a:endParaRPr lang="en-US"/>
        </a:p>
      </dgm:t>
    </dgm:pt>
    <dgm:pt modelId="{A5EF968B-4C29-4468-BDBD-B2162CDC141E}" type="sibTrans" cxnId="{2BF37DCB-9E69-4395-809B-383C320AF1C7}">
      <dgm:prSet/>
      <dgm:spPr/>
      <dgm:t>
        <a:bodyPr/>
        <a:lstStyle/>
        <a:p>
          <a:endParaRPr lang="en-US"/>
        </a:p>
      </dgm:t>
    </dgm:pt>
    <dgm:pt modelId="{006E6892-506B-42DE-94E7-5B86A4E5AD24}">
      <dgm:prSet/>
      <dgm:spPr/>
      <dgm:t>
        <a:bodyPr/>
        <a:lstStyle/>
        <a:p>
          <a:pPr>
            <a:buFont typeface="+mj-lt"/>
            <a:buAutoNum type="arabicParenR"/>
          </a:pPr>
          <a:r>
            <a:rPr lang="de-DE" dirty="0"/>
            <a:t>Multiple Service Entry Points</a:t>
          </a:r>
          <a:endParaRPr lang="en-US" dirty="0"/>
        </a:p>
      </dgm:t>
    </dgm:pt>
    <dgm:pt modelId="{AF58CE26-376D-4CD1-9A28-EC25391646E7}" type="parTrans" cxnId="{9B2FA2BE-CB8E-4158-B1A4-103F5B189BBD}">
      <dgm:prSet/>
      <dgm:spPr/>
      <dgm:t>
        <a:bodyPr/>
        <a:lstStyle/>
        <a:p>
          <a:endParaRPr lang="en-US"/>
        </a:p>
      </dgm:t>
    </dgm:pt>
    <dgm:pt modelId="{97A0F84F-926F-40D2-A095-AA11DB5718BA}" type="sibTrans" cxnId="{9B2FA2BE-CB8E-4158-B1A4-103F5B189BBD}">
      <dgm:prSet/>
      <dgm:spPr/>
      <dgm:t>
        <a:bodyPr/>
        <a:lstStyle/>
        <a:p>
          <a:endParaRPr lang="en-US"/>
        </a:p>
      </dgm:t>
    </dgm:pt>
    <dgm:pt modelId="{F0B7C3FD-B3FF-4B79-AF59-1546A09CA15B}">
      <dgm:prSet/>
      <dgm:spPr/>
      <dgm:t>
        <a:bodyPr/>
        <a:lstStyle/>
        <a:p>
          <a:pPr>
            <a:buFont typeface="+mj-lt"/>
            <a:buAutoNum type="arabicParenR"/>
          </a:pPr>
          <a:r>
            <a:rPr lang="de-DE" dirty="0"/>
            <a:t>Traffic Identification</a:t>
          </a:r>
          <a:endParaRPr lang="en-US" dirty="0"/>
        </a:p>
      </dgm:t>
    </dgm:pt>
    <dgm:pt modelId="{FB06F982-31D2-4BC2-BB9D-5064C6B606DC}" type="parTrans" cxnId="{1DF176B2-C5C9-4724-BB1F-DA2C129FF6D7}">
      <dgm:prSet/>
      <dgm:spPr/>
      <dgm:t>
        <a:bodyPr/>
        <a:lstStyle/>
        <a:p>
          <a:endParaRPr lang="en-US"/>
        </a:p>
      </dgm:t>
    </dgm:pt>
    <dgm:pt modelId="{D60C92CE-06E7-4CE4-97C5-736256A2D359}" type="sibTrans" cxnId="{1DF176B2-C5C9-4724-BB1F-DA2C129FF6D7}">
      <dgm:prSet/>
      <dgm:spPr/>
      <dgm:t>
        <a:bodyPr/>
        <a:lstStyle/>
        <a:p>
          <a:endParaRPr lang="en-US"/>
        </a:p>
      </dgm:t>
    </dgm:pt>
    <dgm:pt modelId="{B7A4AED3-9D3D-4EE2-8A4D-F33060248B08}">
      <dgm:prSet/>
      <dgm:spPr/>
      <dgm:t>
        <a:bodyPr/>
        <a:lstStyle/>
        <a:p>
          <a:pPr>
            <a:buFont typeface="+mj-lt"/>
            <a:buAutoNum type="arabicParenR"/>
          </a:pPr>
          <a:r>
            <a:rPr lang="de-DE" dirty="0"/>
            <a:t>QUIC and HTTP/3</a:t>
          </a:r>
          <a:endParaRPr lang="en-US" dirty="0"/>
        </a:p>
      </dgm:t>
    </dgm:pt>
    <dgm:pt modelId="{C8FC50D2-9837-4220-A14E-3C99354FAB30}" type="parTrans" cxnId="{A9136237-4AD8-46CC-A8A0-6188A1E342A8}">
      <dgm:prSet/>
      <dgm:spPr/>
      <dgm:t>
        <a:bodyPr/>
        <a:lstStyle/>
        <a:p>
          <a:endParaRPr lang="en-US"/>
        </a:p>
      </dgm:t>
    </dgm:pt>
    <dgm:pt modelId="{06AA1B27-322A-4891-8691-18FB5FEC0A26}" type="sibTrans" cxnId="{A9136237-4AD8-46CC-A8A0-6188A1E342A8}">
      <dgm:prSet/>
      <dgm:spPr/>
      <dgm:t>
        <a:bodyPr/>
        <a:lstStyle/>
        <a:p>
          <a:endParaRPr lang="en-US"/>
        </a:p>
      </dgm:t>
    </dgm:pt>
    <dgm:pt modelId="{A4AB52A3-DB54-4BD3-8FC2-403DC030513C}">
      <dgm:prSet/>
      <dgm:spPr/>
      <dgm:t>
        <a:bodyPr/>
        <a:lstStyle/>
        <a:p>
          <a:pPr>
            <a:buFont typeface="+mj-lt"/>
            <a:buAutoNum type="arabicParenR"/>
          </a:pPr>
          <a:r>
            <a:rPr lang="en-US" dirty="0"/>
            <a:t>enables mobile network operators to incentivize the offloading of traffic into off-peak hours with the aim of reducing network congestion during peak hours. Applications may register their interest in receiving content using BDT.  The 5GMS specifications will be updated with the necessary parameter extensions to the M1, M5, and M6 reference points to provide access to BDT.</a:t>
          </a:r>
        </a:p>
      </dgm:t>
    </dgm:pt>
    <dgm:pt modelId="{60370D83-7BBA-4FBE-BB1E-CB06169ED4A4}" type="parTrans" cxnId="{82BE06B5-46B9-49DD-9FDD-78CA1BA755C4}">
      <dgm:prSet/>
      <dgm:spPr/>
      <dgm:t>
        <a:bodyPr/>
        <a:lstStyle/>
        <a:p>
          <a:endParaRPr lang="en-US"/>
        </a:p>
      </dgm:t>
    </dgm:pt>
    <dgm:pt modelId="{B106F255-E9D6-4B10-800D-604C4B50AEDC}" type="sibTrans" cxnId="{82BE06B5-46B9-49DD-9FDD-78CA1BA755C4}">
      <dgm:prSet/>
      <dgm:spPr/>
      <dgm:t>
        <a:bodyPr/>
        <a:lstStyle/>
        <a:p>
          <a:endParaRPr lang="en-US"/>
        </a:p>
      </dgm:t>
    </dgm:pt>
    <dgm:pt modelId="{E4C8D87E-2744-4E23-A9A1-45A578409C3D}">
      <dgm:prSet/>
      <dgm:spPr/>
      <dgm:t>
        <a:bodyPr/>
        <a:lstStyle/>
        <a:p>
          <a:pPr>
            <a:buFont typeface="+mj-lt"/>
            <a:buAutoNum type="arabicParenR"/>
          </a:pPr>
          <a:r>
            <a:rPr lang="de-DE" dirty="0"/>
            <a:t>Oauth 2.0</a:t>
          </a:r>
          <a:endParaRPr lang="en-US" dirty="0"/>
        </a:p>
      </dgm:t>
    </dgm:pt>
    <dgm:pt modelId="{535682CD-A43F-46F4-8ED3-FC4841FC47C2}" type="parTrans" cxnId="{6D9B6E1C-457E-422A-8497-29A21E1E1316}">
      <dgm:prSet/>
      <dgm:spPr/>
      <dgm:t>
        <a:bodyPr/>
        <a:lstStyle/>
        <a:p>
          <a:endParaRPr lang="en-US"/>
        </a:p>
      </dgm:t>
    </dgm:pt>
    <dgm:pt modelId="{79038FDE-BD9F-4CB4-9908-E8576B359EB5}" type="sibTrans" cxnId="{6D9B6E1C-457E-422A-8497-29A21E1E1316}">
      <dgm:prSet/>
      <dgm:spPr/>
      <dgm:t>
        <a:bodyPr/>
        <a:lstStyle/>
        <a:p>
          <a:endParaRPr lang="en-US"/>
        </a:p>
      </dgm:t>
    </dgm:pt>
    <dgm:pt modelId="{F89611F7-D36B-423C-BCA6-DA42125B8A1A}">
      <dgm:prSet/>
      <dgm:spPr/>
      <dgm:t>
        <a:bodyPr/>
        <a:lstStyle/>
        <a:p>
          <a:pPr>
            <a:buFont typeface="+mj-lt"/>
            <a:buAutoNum type="arabicParenR"/>
          </a:pPr>
          <a:r>
            <a:rPr lang="de-DE" dirty="0"/>
            <a:t>3GPP Service URL Handling</a:t>
          </a:r>
          <a:endParaRPr lang="en-US" dirty="0"/>
        </a:p>
      </dgm:t>
    </dgm:pt>
    <dgm:pt modelId="{63D8B911-5DB0-4123-B002-F37CD3EE360C}" type="parTrans" cxnId="{25B15F90-FC24-4261-ADA1-5E91BF95B3D6}">
      <dgm:prSet/>
      <dgm:spPr/>
      <dgm:t>
        <a:bodyPr/>
        <a:lstStyle/>
        <a:p>
          <a:endParaRPr lang="en-US"/>
        </a:p>
      </dgm:t>
    </dgm:pt>
    <dgm:pt modelId="{49D113FB-A953-451E-A992-F925D4921CAF}" type="sibTrans" cxnId="{25B15F90-FC24-4261-ADA1-5E91BF95B3D6}">
      <dgm:prSet/>
      <dgm:spPr/>
      <dgm:t>
        <a:bodyPr/>
        <a:lstStyle/>
        <a:p>
          <a:endParaRPr lang="en-US"/>
        </a:p>
      </dgm:t>
    </dgm:pt>
    <dgm:pt modelId="{F78A3A68-6C17-48F2-AE02-735814437AE5}">
      <dgm:prSet/>
      <dgm:spPr/>
      <dgm:t>
        <a:bodyPr/>
        <a:lstStyle/>
        <a:p>
          <a:pPr>
            <a:buFont typeface="+mj-lt"/>
            <a:buAutoNum type="arabicParenR"/>
          </a:pPr>
          <a:r>
            <a:rPr lang="de-DE" dirty="0"/>
            <a:t>Application Server Configuration</a:t>
          </a:r>
          <a:endParaRPr lang="en-US" dirty="0"/>
        </a:p>
      </dgm:t>
    </dgm:pt>
    <dgm:pt modelId="{A1E681F0-0EEB-47D5-BE56-772DB85C20E4}" type="parTrans" cxnId="{2CE37491-DAE0-40B3-A46E-55449EE6BC1A}">
      <dgm:prSet/>
      <dgm:spPr/>
      <dgm:t>
        <a:bodyPr/>
        <a:lstStyle/>
        <a:p>
          <a:endParaRPr lang="en-US"/>
        </a:p>
      </dgm:t>
    </dgm:pt>
    <dgm:pt modelId="{987BCA72-2823-49E2-971B-7BCD58BA4550}" type="sibTrans" cxnId="{2CE37491-DAE0-40B3-A46E-55449EE6BC1A}">
      <dgm:prSet/>
      <dgm:spPr/>
      <dgm:t>
        <a:bodyPr/>
        <a:lstStyle/>
        <a:p>
          <a:endParaRPr lang="en-US"/>
        </a:p>
      </dgm:t>
    </dgm:pt>
    <dgm:pt modelId="{411E32E2-7E6B-47E7-9092-BAAF0C1BEDD2}">
      <dgm:prSet/>
      <dgm:spPr/>
      <dgm:t>
        <a:bodyPr/>
        <a:lstStyle/>
        <a:p>
          <a:r>
            <a:rPr lang="en-US" dirty="0"/>
            <a:t>EVEX data types for ANBR-based Network Assistance</a:t>
          </a:r>
        </a:p>
      </dgm:t>
    </dgm:pt>
    <dgm:pt modelId="{43DB0FC5-4A77-43A3-9B4B-B5CC13DB6B95}" type="parTrans" cxnId="{4FF6E124-3B1C-419F-BD31-454645F64E75}">
      <dgm:prSet/>
      <dgm:spPr/>
      <dgm:t>
        <a:bodyPr/>
        <a:lstStyle/>
        <a:p>
          <a:endParaRPr lang="en-US"/>
        </a:p>
      </dgm:t>
    </dgm:pt>
    <dgm:pt modelId="{E3AB7121-33AA-416C-9C5C-8DBAE8EA82A7}" type="sibTrans" cxnId="{4FF6E124-3B1C-419F-BD31-454645F64E75}">
      <dgm:prSet/>
      <dgm:spPr/>
      <dgm:t>
        <a:bodyPr/>
        <a:lstStyle/>
        <a:p>
          <a:endParaRPr lang="en-US"/>
        </a:p>
      </dgm:t>
    </dgm:pt>
    <dgm:pt modelId="{62EE9267-FBC2-4FB8-9724-C42C50F8D393}">
      <dgm:prSet/>
      <dgm:spPr/>
      <dgm:t>
        <a:bodyPr/>
        <a:lstStyle/>
        <a:p>
          <a:pPr>
            <a:buFont typeface="+mj-lt"/>
            <a:buAutoNum type="arabicParenR"/>
          </a:pPr>
          <a:r>
            <a:rPr lang="de-DE" dirty="0"/>
            <a:t>Support for 5G-MAG Reference Tools</a:t>
          </a:r>
          <a:endParaRPr lang="en-US" dirty="0"/>
        </a:p>
      </dgm:t>
    </dgm:pt>
    <dgm:pt modelId="{C637397B-271E-4844-9F5D-0D2A0E69F043}" type="parTrans" cxnId="{C0A359C1-13B5-4BDA-ACF1-37DF6B656010}">
      <dgm:prSet/>
      <dgm:spPr/>
      <dgm:t>
        <a:bodyPr/>
        <a:lstStyle/>
        <a:p>
          <a:endParaRPr lang="en-US"/>
        </a:p>
      </dgm:t>
    </dgm:pt>
    <dgm:pt modelId="{30BD1285-1726-4ED7-9B87-C89C5D5CD229}" type="sibTrans" cxnId="{C0A359C1-13B5-4BDA-ACF1-37DF6B656010}">
      <dgm:prSet/>
      <dgm:spPr/>
      <dgm:t>
        <a:bodyPr/>
        <a:lstStyle/>
        <a:p>
          <a:endParaRPr lang="en-US"/>
        </a:p>
      </dgm:t>
    </dgm:pt>
    <dgm:pt modelId="{04F340D6-CBC8-4F19-B624-512F68920BA4}" type="pres">
      <dgm:prSet presAssocID="{E71A2E40-DD4D-4D20-BF20-BE269814EFF7}" presName="Name0" presStyleCnt="0">
        <dgm:presLayoutVars>
          <dgm:chMax/>
          <dgm:chPref val="3"/>
          <dgm:dir/>
          <dgm:animOne val="branch"/>
          <dgm:animLvl val="lvl"/>
        </dgm:presLayoutVars>
      </dgm:prSet>
      <dgm:spPr/>
    </dgm:pt>
    <dgm:pt modelId="{7975E0E8-AC5E-4FE3-847C-E11CAF034DA0}" type="pres">
      <dgm:prSet presAssocID="{FB677CFA-F527-469C-921D-03B3390EC83A}" presName="composite" presStyleCnt="0"/>
      <dgm:spPr/>
    </dgm:pt>
    <dgm:pt modelId="{C793082E-7BF5-44CA-8C57-586177557352}" type="pres">
      <dgm:prSet presAssocID="{FB677CFA-F527-469C-921D-03B3390EC83A}" presName="FirstChild" presStyleLbl="revTx" presStyleIdx="0" presStyleCnt="12">
        <dgm:presLayoutVars>
          <dgm:chMax val="0"/>
          <dgm:chPref val="0"/>
          <dgm:bulletEnabled val="1"/>
        </dgm:presLayoutVars>
      </dgm:prSet>
      <dgm:spPr/>
    </dgm:pt>
    <dgm:pt modelId="{CD908A13-9CBE-43B9-91EF-E82519C7905E}" type="pres">
      <dgm:prSet presAssocID="{FB677CFA-F527-469C-921D-03B3390EC83A}" presName="Parent" presStyleLbl="alignNode1" presStyleIdx="0" presStyleCnt="12">
        <dgm:presLayoutVars>
          <dgm:chMax val="3"/>
          <dgm:chPref val="3"/>
          <dgm:bulletEnabled val="1"/>
        </dgm:presLayoutVars>
      </dgm:prSet>
      <dgm:spPr/>
    </dgm:pt>
    <dgm:pt modelId="{D2E1666C-3896-475A-85D9-41B1CDA9A48D}" type="pres">
      <dgm:prSet presAssocID="{FB677CFA-F527-469C-921D-03B3390EC83A}" presName="Accent" presStyleLbl="parChTrans1D1" presStyleIdx="0" presStyleCnt="12"/>
      <dgm:spPr/>
    </dgm:pt>
    <dgm:pt modelId="{BCFE9CC3-1D62-48C8-B424-84E996102F08}" type="pres">
      <dgm:prSet presAssocID="{F9B7E218-EF3F-48E8-BD46-097E57E294C6}" presName="sibTrans" presStyleCnt="0"/>
      <dgm:spPr/>
    </dgm:pt>
    <dgm:pt modelId="{85396D3F-FAC9-4662-9AA0-72E5EB7F8531}" type="pres">
      <dgm:prSet presAssocID="{2B323E3F-9457-4929-9554-937C4633E6C5}" presName="composite" presStyleCnt="0"/>
      <dgm:spPr/>
    </dgm:pt>
    <dgm:pt modelId="{BF0B7C26-2B75-4A49-83E0-06B6B3A31DBA}" type="pres">
      <dgm:prSet presAssocID="{2B323E3F-9457-4929-9554-937C4633E6C5}" presName="FirstChild" presStyleLbl="revTx" presStyleIdx="1" presStyleCnt="12">
        <dgm:presLayoutVars>
          <dgm:chMax val="0"/>
          <dgm:chPref val="0"/>
          <dgm:bulletEnabled val="1"/>
        </dgm:presLayoutVars>
      </dgm:prSet>
      <dgm:spPr/>
    </dgm:pt>
    <dgm:pt modelId="{69EC878F-5DA4-474B-9B60-78DB992FD31A}" type="pres">
      <dgm:prSet presAssocID="{2B323E3F-9457-4929-9554-937C4633E6C5}" presName="Parent" presStyleLbl="alignNode1" presStyleIdx="1" presStyleCnt="12">
        <dgm:presLayoutVars>
          <dgm:chMax val="3"/>
          <dgm:chPref val="3"/>
          <dgm:bulletEnabled val="1"/>
        </dgm:presLayoutVars>
      </dgm:prSet>
      <dgm:spPr/>
    </dgm:pt>
    <dgm:pt modelId="{13989113-9410-4C7A-99BC-6967CBBB82F6}" type="pres">
      <dgm:prSet presAssocID="{2B323E3F-9457-4929-9554-937C4633E6C5}" presName="Accent" presStyleLbl="parChTrans1D1" presStyleIdx="1" presStyleCnt="12"/>
      <dgm:spPr/>
    </dgm:pt>
    <dgm:pt modelId="{1A1A5DFF-64A8-4FAC-AD78-A9F5E72AB3E9}" type="pres">
      <dgm:prSet presAssocID="{008E1694-D2EE-4613-8D02-1DDC3C9A14F9}" presName="sibTrans" presStyleCnt="0"/>
      <dgm:spPr/>
    </dgm:pt>
    <dgm:pt modelId="{957979D5-A687-4C92-ACB9-94C6BD4A80FD}" type="pres">
      <dgm:prSet presAssocID="{FBFA90BF-E594-4096-B2FD-D7C650E57875}" presName="composite" presStyleCnt="0"/>
      <dgm:spPr/>
    </dgm:pt>
    <dgm:pt modelId="{FDF86A01-FA92-4F1D-8FA7-7E6397249DF6}" type="pres">
      <dgm:prSet presAssocID="{FBFA90BF-E594-4096-B2FD-D7C650E57875}" presName="FirstChild" presStyleLbl="revTx" presStyleIdx="2" presStyleCnt="12">
        <dgm:presLayoutVars>
          <dgm:chMax val="0"/>
          <dgm:chPref val="0"/>
          <dgm:bulletEnabled val="1"/>
        </dgm:presLayoutVars>
      </dgm:prSet>
      <dgm:spPr/>
    </dgm:pt>
    <dgm:pt modelId="{65983407-58CF-45AC-A8BC-6E2F7308B779}" type="pres">
      <dgm:prSet presAssocID="{FBFA90BF-E594-4096-B2FD-D7C650E57875}" presName="Parent" presStyleLbl="alignNode1" presStyleIdx="2" presStyleCnt="12">
        <dgm:presLayoutVars>
          <dgm:chMax val="3"/>
          <dgm:chPref val="3"/>
          <dgm:bulletEnabled val="1"/>
        </dgm:presLayoutVars>
      </dgm:prSet>
      <dgm:spPr/>
    </dgm:pt>
    <dgm:pt modelId="{40AB94EF-9692-45CF-A8EB-9F716DB2EB60}" type="pres">
      <dgm:prSet presAssocID="{FBFA90BF-E594-4096-B2FD-D7C650E57875}" presName="Accent" presStyleLbl="parChTrans1D1" presStyleIdx="2" presStyleCnt="12"/>
      <dgm:spPr/>
    </dgm:pt>
    <dgm:pt modelId="{4B33C4B3-FC31-43CC-B56A-CFCF8281F3B0}" type="pres">
      <dgm:prSet presAssocID="{C3AA2287-A8B9-4031-9243-1138D777BF34}" presName="sibTrans" presStyleCnt="0"/>
      <dgm:spPr/>
    </dgm:pt>
    <dgm:pt modelId="{106B85B3-ACE0-4FDC-80A1-04306EA6830E}" type="pres">
      <dgm:prSet presAssocID="{006E6892-506B-42DE-94E7-5B86A4E5AD24}" presName="composite" presStyleCnt="0"/>
      <dgm:spPr/>
    </dgm:pt>
    <dgm:pt modelId="{18298DB2-199D-46F2-8CB5-081E1DAC1DDF}" type="pres">
      <dgm:prSet presAssocID="{006E6892-506B-42DE-94E7-5B86A4E5AD24}" presName="FirstChild" presStyleLbl="revTx" presStyleIdx="3" presStyleCnt="12">
        <dgm:presLayoutVars>
          <dgm:chMax val="0"/>
          <dgm:chPref val="0"/>
          <dgm:bulletEnabled val="1"/>
        </dgm:presLayoutVars>
      </dgm:prSet>
      <dgm:spPr/>
    </dgm:pt>
    <dgm:pt modelId="{3635CF3A-CCC7-4842-80F5-405A1C2DAC04}" type="pres">
      <dgm:prSet presAssocID="{006E6892-506B-42DE-94E7-5B86A4E5AD24}" presName="Parent" presStyleLbl="alignNode1" presStyleIdx="3" presStyleCnt="12">
        <dgm:presLayoutVars>
          <dgm:chMax val="3"/>
          <dgm:chPref val="3"/>
          <dgm:bulletEnabled val="1"/>
        </dgm:presLayoutVars>
      </dgm:prSet>
      <dgm:spPr/>
    </dgm:pt>
    <dgm:pt modelId="{A249C792-9896-4A78-8D15-C950178C870B}" type="pres">
      <dgm:prSet presAssocID="{006E6892-506B-42DE-94E7-5B86A4E5AD24}" presName="Accent" presStyleLbl="parChTrans1D1" presStyleIdx="3" presStyleCnt="12"/>
      <dgm:spPr/>
    </dgm:pt>
    <dgm:pt modelId="{2C527C75-212E-44EF-9F26-EE2BF14F6A63}" type="pres">
      <dgm:prSet presAssocID="{97A0F84F-926F-40D2-A095-AA11DB5718BA}" presName="sibTrans" presStyleCnt="0"/>
      <dgm:spPr/>
    </dgm:pt>
    <dgm:pt modelId="{C8F306A8-8AC9-467E-AD1D-18A7E22AEF79}" type="pres">
      <dgm:prSet presAssocID="{F0B7C3FD-B3FF-4B79-AF59-1546A09CA15B}" presName="composite" presStyleCnt="0"/>
      <dgm:spPr/>
    </dgm:pt>
    <dgm:pt modelId="{6353E38F-5DB1-4962-85E8-34B4F6D351CC}" type="pres">
      <dgm:prSet presAssocID="{F0B7C3FD-B3FF-4B79-AF59-1546A09CA15B}" presName="FirstChild" presStyleLbl="revTx" presStyleIdx="4" presStyleCnt="12">
        <dgm:presLayoutVars>
          <dgm:chMax val="0"/>
          <dgm:chPref val="0"/>
          <dgm:bulletEnabled val="1"/>
        </dgm:presLayoutVars>
      </dgm:prSet>
      <dgm:spPr/>
    </dgm:pt>
    <dgm:pt modelId="{63B83CC2-9FBF-46D3-BBE1-6D5F86A4F09E}" type="pres">
      <dgm:prSet presAssocID="{F0B7C3FD-B3FF-4B79-AF59-1546A09CA15B}" presName="Parent" presStyleLbl="alignNode1" presStyleIdx="4" presStyleCnt="12">
        <dgm:presLayoutVars>
          <dgm:chMax val="3"/>
          <dgm:chPref val="3"/>
          <dgm:bulletEnabled val="1"/>
        </dgm:presLayoutVars>
      </dgm:prSet>
      <dgm:spPr/>
    </dgm:pt>
    <dgm:pt modelId="{794B7224-DD26-445B-B783-3C3F73E1D554}" type="pres">
      <dgm:prSet presAssocID="{F0B7C3FD-B3FF-4B79-AF59-1546A09CA15B}" presName="Accent" presStyleLbl="parChTrans1D1" presStyleIdx="4" presStyleCnt="12"/>
      <dgm:spPr/>
    </dgm:pt>
    <dgm:pt modelId="{9449D10D-FF50-4FF6-BE7B-565785C7F586}" type="pres">
      <dgm:prSet presAssocID="{D60C92CE-06E7-4CE4-97C5-736256A2D359}" presName="sibTrans" presStyleCnt="0"/>
      <dgm:spPr/>
    </dgm:pt>
    <dgm:pt modelId="{AFFDDE58-E32F-45AF-BF7A-3E0C0435F027}" type="pres">
      <dgm:prSet presAssocID="{B7A4AED3-9D3D-4EE2-8A4D-F33060248B08}" presName="composite" presStyleCnt="0"/>
      <dgm:spPr/>
    </dgm:pt>
    <dgm:pt modelId="{62A7048C-AA6F-4939-8E2F-298A930B2504}" type="pres">
      <dgm:prSet presAssocID="{B7A4AED3-9D3D-4EE2-8A4D-F33060248B08}" presName="FirstChild" presStyleLbl="revTx" presStyleIdx="5" presStyleCnt="12">
        <dgm:presLayoutVars>
          <dgm:chMax val="0"/>
          <dgm:chPref val="0"/>
          <dgm:bulletEnabled val="1"/>
        </dgm:presLayoutVars>
      </dgm:prSet>
      <dgm:spPr/>
    </dgm:pt>
    <dgm:pt modelId="{75407D56-996F-410F-9392-4ADA42CDB52F}" type="pres">
      <dgm:prSet presAssocID="{B7A4AED3-9D3D-4EE2-8A4D-F33060248B08}" presName="Parent" presStyleLbl="alignNode1" presStyleIdx="5" presStyleCnt="12">
        <dgm:presLayoutVars>
          <dgm:chMax val="3"/>
          <dgm:chPref val="3"/>
          <dgm:bulletEnabled val="1"/>
        </dgm:presLayoutVars>
      </dgm:prSet>
      <dgm:spPr/>
    </dgm:pt>
    <dgm:pt modelId="{F89298C1-4C5F-4A35-92A3-5D528AC54929}" type="pres">
      <dgm:prSet presAssocID="{B7A4AED3-9D3D-4EE2-8A4D-F33060248B08}" presName="Accent" presStyleLbl="parChTrans1D1" presStyleIdx="5" presStyleCnt="12"/>
      <dgm:spPr/>
    </dgm:pt>
    <dgm:pt modelId="{7919C04B-2A5F-4C1B-9E4C-285E37F4845D}" type="pres">
      <dgm:prSet presAssocID="{06AA1B27-322A-4891-8691-18FB5FEC0A26}" presName="sibTrans" presStyleCnt="0"/>
      <dgm:spPr/>
    </dgm:pt>
    <dgm:pt modelId="{3CD65535-5A13-4F98-86B3-B9EBCE8D5427}" type="pres">
      <dgm:prSet presAssocID="{73AF273A-1E36-493D-98B2-B68270077A94}" presName="composite" presStyleCnt="0"/>
      <dgm:spPr/>
    </dgm:pt>
    <dgm:pt modelId="{221B2710-C3D9-4AC0-8765-080FCC377026}" type="pres">
      <dgm:prSet presAssocID="{73AF273A-1E36-493D-98B2-B68270077A94}" presName="FirstChild" presStyleLbl="revTx" presStyleIdx="6" presStyleCnt="12">
        <dgm:presLayoutVars>
          <dgm:chMax val="0"/>
          <dgm:chPref val="0"/>
          <dgm:bulletEnabled val="1"/>
        </dgm:presLayoutVars>
      </dgm:prSet>
      <dgm:spPr/>
    </dgm:pt>
    <dgm:pt modelId="{75D8FB02-041E-4E50-908B-9A033D2BEA8D}" type="pres">
      <dgm:prSet presAssocID="{73AF273A-1E36-493D-98B2-B68270077A94}" presName="Parent" presStyleLbl="alignNode1" presStyleIdx="6" presStyleCnt="12">
        <dgm:presLayoutVars>
          <dgm:chMax val="3"/>
          <dgm:chPref val="3"/>
          <dgm:bulletEnabled val="1"/>
        </dgm:presLayoutVars>
      </dgm:prSet>
      <dgm:spPr/>
    </dgm:pt>
    <dgm:pt modelId="{5F14CD2F-D3D6-41E7-9ACF-B64E8B978FCF}" type="pres">
      <dgm:prSet presAssocID="{73AF273A-1E36-493D-98B2-B68270077A94}" presName="Accent" presStyleLbl="parChTrans1D1" presStyleIdx="6" presStyleCnt="12"/>
      <dgm:spPr/>
    </dgm:pt>
    <dgm:pt modelId="{3556DF8C-E901-476C-B9E7-826D72384497}" type="pres">
      <dgm:prSet presAssocID="{5AD059FE-78CE-4590-AB35-0A9D59A0F611}" presName="sibTrans" presStyleCnt="0"/>
      <dgm:spPr/>
    </dgm:pt>
    <dgm:pt modelId="{905E8E26-B404-4B29-A0C0-5B0662C87170}" type="pres">
      <dgm:prSet presAssocID="{E4C8D87E-2744-4E23-A9A1-45A578409C3D}" presName="composite" presStyleCnt="0"/>
      <dgm:spPr/>
    </dgm:pt>
    <dgm:pt modelId="{7FC887BC-5292-4AEC-82DD-E2810185A2C5}" type="pres">
      <dgm:prSet presAssocID="{E4C8D87E-2744-4E23-A9A1-45A578409C3D}" presName="FirstChild" presStyleLbl="revTx" presStyleIdx="7" presStyleCnt="12">
        <dgm:presLayoutVars>
          <dgm:chMax val="0"/>
          <dgm:chPref val="0"/>
          <dgm:bulletEnabled val="1"/>
        </dgm:presLayoutVars>
      </dgm:prSet>
      <dgm:spPr/>
    </dgm:pt>
    <dgm:pt modelId="{9E458988-4896-4AD6-9406-27C9514BEBF9}" type="pres">
      <dgm:prSet presAssocID="{E4C8D87E-2744-4E23-A9A1-45A578409C3D}" presName="Parent" presStyleLbl="alignNode1" presStyleIdx="7" presStyleCnt="12">
        <dgm:presLayoutVars>
          <dgm:chMax val="3"/>
          <dgm:chPref val="3"/>
          <dgm:bulletEnabled val="1"/>
        </dgm:presLayoutVars>
      </dgm:prSet>
      <dgm:spPr/>
    </dgm:pt>
    <dgm:pt modelId="{E9E704B4-3E3D-42CF-9AFA-132729C1149D}" type="pres">
      <dgm:prSet presAssocID="{E4C8D87E-2744-4E23-A9A1-45A578409C3D}" presName="Accent" presStyleLbl="parChTrans1D1" presStyleIdx="7" presStyleCnt="12"/>
      <dgm:spPr/>
    </dgm:pt>
    <dgm:pt modelId="{1E45A48F-7BA7-4E70-A4B3-E05EABBDF3A9}" type="pres">
      <dgm:prSet presAssocID="{79038FDE-BD9F-4CB4-9908-E8576B359EB5}" presName="sibTrans" presStyleCnt="0"/>
      <dgm:spPr/>
    </dgm:pt>
    <dgm:pt modelId="{36C0683D-8B5D-4382-AEA8-EEA003A002EE}" type="pres">
      <dgm:prSet presAssocID="{F89611F7-D36B-423C-BCA6-DA42125B8A1A}" presName="composite" presStyleCnt="0"/>
      <dgm:spPr/>
    </dgm:pt>
    <dgm:pt modelId="{5B7DFABB-8ED5-4C06-A0EE-9226DFCDDB4F}" type="pres">
      <dgm:prSet presAssocID="{F89611F7-D36B-423C-BCA6-DA42125B8A1A}" presName="FirstChild" presStyleLbl="revTx" presStyleIdx="8" presStyleCnt="12">
        <dgm:presLayoutVars>
          <dgm:chMax val="0"/>
          <dgm:chPref val="0"/>
          <dgm:bulletEnabled val="1"/>
        </dgm:presLayoutVars>
      </dgm:prSet>
      <dgm:spPr/>
    </dgm:pt>
    <dgm:pt modelId="{9FC2AC9F-1722-497E-AD74-875C4428AA20}" type="pres">
      <dgm:prSet presAssocID="{F89611F7-D36B-423C-BCA6-DA42125B8A1A}" presName="Parent" presStyleLbl="alignNode1" presStyleIdx="8" presStyleCnt="12">
        <dgm:presLayoutVars>
          <dgm:chMax val="3"/>
          <dgm:chPref val="3"/>
          <dgm:bulletEnabled val="1"/>
        </dgm:presLayoutVars>
      </dgm:prSet>
      <dgm:spPr/>
    </dgm:pt>
    <dgm:pt modelId="{2A9994F9-8A31-4DAD-99C3-22EF3EA599FE}" type="pres">
      <dgm:prSet presAssocID="{F89611F7-D36B-423C-BCA6-DA42125B8A1A}" presName="Accent" presStyleLbl="parChTrans1D1" presStyleIdx="8" presStyleCnt="12"/>
      <dgm:spPr/>
    </dgm:pt>
    <dgm:pt modelId="{EFDC4253-87E4-48CF-8E0B-2C4FA9E52D31}" type="pres">
      <dgm:prSet presAssocID="{49D113FB-A953-451E-A992-F925D4921CAF}" presName="sibTrans" presStyleCnt="0"/>
      <dgm:spPr/>
    </dgm:pt>
    <dgm:pt modelId="{0F53A70A-7979-4850-B3C5-FD09C51C265B}" type="pres">
      <dgm:prSet presAssocID="{F78A3A68-6C17-48F2-AE02-735814437AE5}" presName="composite" presStyleCnt="0"/>
      <dgm:spPr/>
    </dgm:pt>
    <dgm:pt modelId="{62A810E9-2DAF-4476-8FFD-E71DD8C14276}" type="pres">
      <dgm:prSet presAssocID="{F78A3A68-6C17-48F2-AE02-735814437AE5}" presName="FirstChild" presStyleLbl="revTx" presStyleIdx="9" presStyleCnt="12">
        <dgm:presLayoutVars>
          <dgm:chMax val="0"/>
          <dgm:chPref val="0"/>
          <dgm:bulletEnabled val="1"/>
        </dgm:presLayoutVars>
      </dgm:prSet>
      <dgm:spPr/>
    </dgm:pt>
    <dgm:pt modelId="{E03610DE-DA3E-46BE-ABD4-3E896503BC48}" type="pres">
      <dgm:prSet presAssocID="{F78A3A68-6C17-48F2-AE02-735814437AE5}" presName="Parent" presStyleLbl="alignNode1" presStyleIdx="9" presStyleCnt="12">
        <dgm:presLayoutVars>
          <dgm:chMax val="3"/>
          <dgm:chPref val="3"/>
          <dgm:bulletEnabled val="1"/>
        </dgm:presLayoutVars>
      </dgm:prSet>
      <dgm:spPr/>
    </dgm:pt>
    <dgm:pt modelId="{B49A427D-3D04-4901-AD06-E26DFAF976F8}" type="pres">
      <dgm:prSet presAssocID="{F78A3A68-6C17-48F2-AE02-735814437AE5}" presName="Accent" presStyleLbl="parChTrans1D1" presStyleIdx="9" presStyleCnt="12"/>
      <dgm:spPr/>
    </dgm:pt>
    <dgm:pt modelId="{633BFF6E-DBED-4BC8-B729-BCE519E2DC54}" type="pres">
      <dgm:prSet presAssocID="{987BCA72-2823-49E2-971B-7BCD58BA4550}" presName="sibTrans" presStyleCnt="0"/>
      <dgm:spPr/>
    </dgm:pt>
    <dgm:pt modelId="{9A97B789-6417-4854-AF37-B1911F77C4DC}" type="pres">
      <dgm:prSet presAssocID="{411E32E2-7E6B-47E7-9092-BAAF0C1BEDD2}" presName="composite" presStyleCnt="0"/>
      <dgm:spPr/>
    </dgm:pt>
    <dgm:pt modelId="{C8DEE523-B166-4372-B58A-57FFA0EE7F0B}" type="pres">
      <dgm:prSet presAssocID="{411E32E2-7E6B-47E7-9092-BAAF0C1BEDD2}" presName="FirstChild" presStyleLbl="revTx" presStyleIdx="10" presStyleCnt="12">
        <dgm:presLayoutVars>
          <dgm:chMax val="0"/>
          <dgm:chPref val="0"/>
          <dgm:bulletEnabled val="1"/>
        </dgm:presLayoutVars>
      </dgm:prSet>
      <dgm:spPr/>
    </dgm:pt>
    <dgm:pt modelId="{50C08B15-EC40-4051-B8CC-F71E52ACEDE5}" type="pres">
      <dgm:prSet presAssocID="{411E32E2-7E6B-47E7-9092-BAAF0C1BEDD2}" presName="Parent" presStyleLbl="alignNode1" presStyleIdx="10" presStyleCnt="12">
        <dgm:presLayoutVars>
          <dgm:chMax val="3"/>
          <dgm:chPref val="3"/>
          <dgm:bulletEnabled val="1"/>
        </dgm:presLayoutVars>
      </dgm:prSet>
      <dgm:spPr/>
    </dgm:pt>
    <dgm:pt modelId="{29989214-9059-4922-B3C1-D4FE10E139F1}" type="pres">
      <dgm:prSet presAssocID="{411E32E2-7E6B-47E7-9092-BAAF0C1BEDD2}" presName="Accent" presStyleLbl="parChTrans1D1" presStyleIdx="10" presStyleCnt="12"/>
      <dgm:spPr/>
    </dgm:pt>
    <dgm:pt modelId="{3833980A-9138-423A-BFC1-02A618447D09}" type="pres">
      <dgm:prSet presAssocID="{E3AB7121-33AA-416C-9C5C-8DBAE8EA82A7}" presName="sibTrans" presStyleCnt="0"/>
      <dgm:spPr/>
    </dgm:pt>
    <dgm:pt modelId="{494CDC89-6711-402C-ADCE-CAE3959B652A}" type="pres">
      <dgm:prSet presAssocID="{62EE9267-FBC2-4FB8-9724-C42C50F8D393}" presName="composite" presStyleCnt="0"/>
      <dgm:spPr/>
    </dgm:pt>
    <dgm:pt modelId="{475F6768-403D-4925-9F28-BC112A3108C5}" type="pres">
      <dgm:prSet presAssocID="{62EE9267-FBC2-4FB8-9724-C42C50F8D393}" presName="FirstChild" presStyleLbl="revTx" presStyleIdx="11" presStyleCnt="12">
        <dgm:presLayoutVars>
          <dgm:chMax val="0"/>
          <dgm:chPref val="0"/>
          <dgm:bulletEnabled val="1"/>
        </dgm:presLayoutVars>
      </dgm:prSet>
      <dgm:spPr/>
    </dgm:pt>
    <dgm:pt modelId="{A3268F80-9879-4C0E-B09F-9BA0A4566C95}" type="pres">
      <dgm:prSet presAssocID="{62EE9267-FBC2-4FB8-9724-C42C50F8D393}" presName="Parent" presStyleLbl="alignNode1" presStyleIdx="11" presStyleCnt="12">
        <dgm:presLayoutVars>
          <dgm:chMax val="3"/>
          <dgm:chPref val="3"/>
          <dgm:bulletEnabled val="1"/>
        </dgm:presLayoutVars>
      </dgm:prSet>
      <dgm:spPr/>
    </dgm:pt>
    <dgm:pt modelId="{A9EFCCAE-5343-4634-9079-673648F83ABD}" type="pres">
      <dgm:prSet presAssocID="{62EE9267-FBC2-4FB8-9724-C42C50F8D393}" presName="Accent" presStyleLbl="parChTrans1D1" presStyleIdx="11" presStyleCnt="12"/>
      <dgm:spPr/>
    </dgm:pt>
  </dgm:ptLst>
  <dgm:cxnLst>
    <dgm:cxn modelId="{22AEC904-3A09-4531-A6DC-656B276BB190}" srcId="{B7A4AED3-9D3D-4EE2-8A4D-F33060248B08}" destId="{3AE440D4-F3ED-413D-A049-1E19CB2992BA}" srcOrd="0" destOrd="0" parTransId="{F9677A98-E149-4F12-8946-6A05AC0C3DDA}" sibTransId="{4FCC5E13-E758-4942-986A-7589E273BFA1}"/>
    <dgm:cxn modelId="{76F5BD10-5C39-4329-B9B6-80512F9F7338}" type="presOf" srcId="{FBFA90BF-E594-4096-B2FD-D7C650E57875}" destId="{65983407-58CF-45AC-A8BC-6E2F7308B779}" srcOrd="0" destOrd="0" presId="urn:microsoft.com/office/officeart/2011/layout/TabList"/>
    <dgm:cxn modelId="{62C60D12-42E1-4D79-98C8-E4EED301A5AA}" type="presOf" srcId="{2B323E3F-9457-4929-9554-937C4633E6C5}" destId="{69EC878F-5DA4-474B-9B60-78DB992FD31A}" srcOrd="0" destOrd="0" presId="urn:microsoft.com/office/officeart/2011/layout/TabList"/>
    <dgm:cxn modelId="{6D9B6E1C-457E-422A-8497-29A21E1E1316}" srcId="{E71A2E40-DD4D-4D20-BF20-BE269814EFF7}" destId="{E4C8D87E-2744-4E23-A9A1-45A578409C3D}" srcOrd="7" destOrd="0" parTransId="{535682CD-A43F-46F4-8ED3-FC4841FC47C2}" sibTransId="{79038FDE-BD9F-4CB4-9908-E8576B359EB5}"/>
    <dgm:cxn modelId="{4FF6E124-3B1C-419F-BD31-454645F64E75}" srcId="{E71A2E40-DD4D-4D20-BF20-BE269814EFF7}" destId="{411E32E2-7E6B-47E7-9092-BAAF0C1BEDD2}" srcOrd="10" destOrd="0" parTransId="{43DB0FC5-4A77-43A3-9B4B-B5CC13DB6B95}" sibTransId="{E3AB7121-33AA-416C-9C5C-8DBAE8EA82A7}"/>
    <dgm:cxn modelId="{13B6C728-5AA9-4CE7-8471-6C30625F2824}" type="presOf" srcId="{3AE440D4-F3ED-413D-A049-1E19CB2992BA}" destId="{62A7048C-AA6F-4939-8E2F-298A930B2504}" srcOrd="0" destOrd="0" presId="urn:microsoft.com/office/officeart/2011/layout/TabList"/>
    <dgm:cxn modelId="{5F3C512B-83AD-4152-8EC1-1744A9CFCC6A}" type="presOf" srcId="{006E6892-506B-42DE-94E7-5B86A4E5AD24}" destId="{3635CF3A-CCC7-4842-80F5-405A1C2DAC04}" srcOrd="0" destOrd="0" presId="urn:microsoft.com/office/officeart/2011/layout/TabList"/>
    <dgm:cxn modelId="{D1833E31-C4E7-4187-A42B-1E300199EF8F}" srcId="{2B323E3F-9457-4929-9554-937C4633E6C5}" destId="{CB6F604B-53C3-40E0-AA38-9D806DF31E93}" srcOrd="0" destOrd="0" parTransId="{11D65AD0-61B2-41DE-BBAE-58DBB0ECF14C}" sibTransId="{BE8E32FF-883D-499E-A2D6-368F8EC1204C}"/>
    <dgm:cxn modelId="{F2733B33-D801-4493-B4FD-FEB7D73AB043}" srcId="{E71A2E40-DD4D-4D20-BF20-BE269814EFF7}" destId="{73AF273A-1E36-493D-98B2-B68270077A94}" srcOrd="6" destOrd="0" parTransId="{791A437D-6B87-4721-99FB-3023C52D7027}" sibTransId="{5AD059FE-78CE-4590-AB35-0A9D59A0F611}"/>
    <dgm:cxn modelId="{A9136237-4AD8-46CC-A8A0-6188A1E342A8}" srcId="{E71A2E40-DD4D-4D20-BF20-BE269814EFF7}" destId="{B7A4AED3-9D3D-4EE2-8A4D-F33060248B08}" srcOrd="5" destOrd="0" parTransId="{C8FC50D2-9837-4220-A14E-3C99354FAB30}" sibTransId="{06AA1B27-322A-4891-8691-18FB5FEC0A26}"/>
    <dgm:cxn modelId="{818C0863-29B8-484F-8F34-940E32401431}" type="presOf" srcId="{411E32E2-7E6B-47E7-9092-BAAF0C1BEDD2}" destId="{50C08B15-EC40-4051-B8CC-F71E52ACEDE5}" srcOrd="0" destOrd="0" presId="urn:microsoft.com/office/officeart/2011/layout/TabList"/>
    <dgm:cxn modelId="{84D4D843-B5D4-40EB-8859-573520B41C6C}" type="presOf" srcId="{E02AF54C-A812-471A-9EB6-D55C891482DD}" destId="{6353E38F-5DB1-4962-85E8-34B4F6D351CC}" srcOrd="0" destOrd="0" presId="urn:microsoft.com/office/officeart/2011/layout/TabList"/>
    <dgm:cxn modelId="{182C7C44-3006-4BE7-AD0D-F8752278F207}" type="presOf" srcId="{73AF273A-1E36-493D-98B2-B68270077A94}" destId="{75D8FB02-041E-4E50-908B-9A033D2BEA8D}" srcOrd="0" destOrd="0" presId="urn:microsoft.com/office/officeart/2011/layout/TabList"/>
    <dgm:cxn modelId="{92A61A48-3392-431D-969B-D54DCE888565}" type="presOf" srcId="{63C36706-480A-4CEB-8A80-0820AFF12DD2}" destId="{FDF86A01-FA92-4F1D-8FA7-7E6397249DF6}" srcOrd="0" destOrd="0" presId="urn:microsoft.com/office/officeart/2011/layout/TabList"/>
    <dgm:cxn modelId="{7ECA8468-1EAA-4D6D-8174-210F494ABDF3}" type="presOf" srcId="{F78A3A68-6C17-48F2-AE02-735814437AE5}" destId="{E03610DE-DA3E-46BE-ABD4-3E896503BC48}" srcOrd="0" destOrd="0" presId="urn:microsoft.com/office/officeart/2011/layout/TabList"/>
    <dgm:cxn modelId="{38432953-021E-42E8-924F-2BD781CA2A04}" type="presOf" srcId="{E71A2E40-DD4D-4D20-BF20-BE269814EFF7}" destId="{04F340D6-CBC8-4F19-B624-512F68920BA4}" srcOrd="0" destOrd="0" presId="urn:microsoft.com/office/officeart/2011/layout/TabList"/>
    <dgm:cxn modelId="{8DC03657-345E-4AE1-9935-FC25C43832B9}" type="presOf" srcId="{E4C8D87E-2744-4E23-A9A1-45A578409C3D}" destId="{9E458988-4896-4AD6-9406-27C9514BEBF9}" srcOrd="0" destOrd="0" presId="urn:microsoft.com/office/officeart/2011/layout/TabList"/>
    <dgm:cxn modelId="{CBEE745A-F811-43C5-BC3C-D171B4B73447}" type="presOf" srcId="{8D3DD712-D7AC-4EC8-B517-CC984B0678F7}" destId="{C8DEE523-B166-4372-B58A-57FFA0EE7F0B}" srcOrd="0" destOrd="0" presId="urn:microsoft.com/office/officeart/2011/layout/TabList"/>
    <dgm:cxn modelId="{6CDDAD80-DE8B-4369-AC1E-53F7FE3D9D73}" type="presOf" srcId="{F0B7C3FD-B3FF-4B79-AF59-1546A09CA15B}" destId="{63B83CC2-9FBF-46D3-BBE1-6D5F86A4F09E}" srcOrd="0" destOrd="0" presId="urn:microsoft.com/office/officeart/2011/layout/TabList"/>
    <dgm:cxn modelId="{6DDC5B81-A2E1-4CFC-9AF6-BE873AAD1D8C}" type="presOf" srcId="{FB677CFA-F527-469C-921D-03B3390EC83A}" destId="{CD908A13-9CBE-43B9-91EF-E82519C7905E}" srcOrd="0" destOrd="0" presId="urn:microsoft.com/office/officeart/2011/layout/TabList"/>
    <dgm:cxn modelId="{A7477682-D4A9-43DC-95F2-36DFC2BBCB0C}" srcId="{F0B7C3FD-B3FF-4B79-AF59-1546A09CA15B}" destId="{E02AF54C-A812-471A-9EB6-D55C891482DD}" srcOrd="0" destOrd="0" parTransId="{A6C1FC7D-012F-4A53-AE09-4AB5303660B0}" sibTransId="{3CF5A343-D5EA-4700-8A30-DDF961CE61DC}"/>
    <dgm:cxn modelId="{135A2283-70AA-4BD1-AB1B-3C5586780792}" type="presOf" srcId="{6C5919A9-E25F-4325-906B-068B1EF0D178}" destId="{18298DB2-199D-46F2-8CB5-081E1DAC1DDF}" srcOrd="0" destOrd="0" presId="urn:microsoft.com/office/officeart/2011/layout/TabList"/>
    <dgm:cxn modelId="{9A617187-5018-4AB0-9FFF-463E7AEC562F}" type="presOf" srcId="{B1C0DF5A-8649-4A25-9F32-545598D91702}" destId="{62A810E9-2DAF-4476-8FFD-E71DD8C14276}" srcOrd="0" destOrd="0" presId="urn:microsoft.com/office/officeart/2011/layout/TabList"/>
    <dgm:cxn modelId="{AB72138C-4D13-4706-B938-198A216C2DC4}" srcId="{F89611F7-D36B-423C-BCA6-DA42125B8A1A}" destId="{365EFD33-9CD3-4DC3-8643-1FD1BADB1827}" srcOrd="0" destOrd="0" parTransId="{0DE6732C-BEDC-4304-89B9-6240F70F7382}" sibTransId="{ABBB5458-55B0-49D4-B080-8690E8A72C61}"/>
    <dgm:cxn modelId="{6D56A98D-C9C2-466C-ACD0-FC3F9197D4DA}" srcId="{62EE9267-FBC2-4FB8-9724-C42C50F8D393}" destId="{54914BAA-A1AF-4ACD-9AEF-372CCDDD1A9D}" srcOrd="0" destOrd="0" parTransId="{1860B68C-372D-4A8B-8428-C356F31107C8}" sibTransId="{B6797C34-71CB-4503-8DE5-C7F4258A1D3A}"/>
    <dgm:cxn modelId="{1D5BC38D-89BC-4DDD-97F9-FBEC8D9339AA}" type="presOf" srcId="{365EFD33-9CD3-4DC3-8643-1FD1BADB1827}" destId="{5B7DFABB-8ED5-4C06-A0EE-9226DFCDDB4F}" srcOrd="0" destOrd="0" presId="urn:microsoft.com/office/officeart/2011/layout/TabList"/>
    <dgm:cxn modelId="{11D0F88D-537B-4B27-B407-78F82E75C115}" srcId="{E4C8D87E-2744-4E23-A9A1-45A578409C3D}" destId="{316A3B53-88CB-47A5-B6DF-4A4E4E107D83}" srcOrd="0" destOrd="0" parTransId="{33D736F9-D32F-4FAD-B75A-6A5887474871}" sibTransId="{32F9B8A6-AE18-4F62-8A19-491808CA4303}"/>
    <dgm:cxn modelId="{25B15F90-FC24-4261-ADA1-5E91BF95B3D6}" srcId="{E71A2E40-DD4D-4D20-BF20-BE269814EFF7}" destId="{F89611F7-D36B-423C-BCA6-DA42125B8A1A}" srcOrd="8" destOrd="0" parTransId="{63D8B911-5DB0-4123-B002-F37CD3EE360C}" sibTransId="{49D113FB-A953-451E-A992-F925D4921CAF}"/>
    <dgm:cxn modelId="{2CE37491-DAE0-40B3-A46E-55449EE6BC1A}" srcId="{E71A2E40-DD4D-4D20-BF20-BE269814EFF7}" destId="{F78A3A68-6C17-48F2-AE02-735814437AE5}" srcOrd="9" destOrd="0" parTransId="{A1E681F0-0EEB-47D5-BE56-772DB85C20E4}" sibTransId="{987BCA72-2823-49E2-971B-7BCD58BA4550}"/>
    <dgm:cxn modelId="{63453092-CEBC-49EE-A9F9-C67D8F99D4D9}" srcId="{E71A2E40-DD4D-4D20-BF20-BE269814EFF7}" destId="{2B323E3F-9457-4929-9554-937C4633E6C5}" srcOrd="1" destOrd="0" parTransId="{8ED03566-2F0E-45E2-84D4-0BC61600C299}" sibTransId="{008E1694-D2EE-4613-8D02-1DDC3C9A14F9}"/>
    <dgm:cxn modelId="{463AEFA3-E03E-4ACC-919A-452C029699D4}" type="presOf" srcId="{316A3B53-88CB-47A5-B6DF-4A4E4E107D83}" destId="{7FC887BC-5292-4AEC-82DD-E2810185A2C5}" srcOrd="0" destOrd="0" presId="urn:microsoft.com/office/officeart/2011/layout/TabList"/>
    <dgm:cxn modelId="{90CCD0A7-5473-4AA6-8DA5-6E11570383EF}" srcId="{E71A2E40-DD4D-4D20-BF20-BE269814EFF7}" destId="{FBFA90BF-E594-4096-B2FD-D7C650E57875}" srcOrd="2" destOrd="0" parTransId="{51FBEBF3-0C9F-4562-872A-228098983C23}" sibTransId="{C3AA2287-A8B9-4031-9243-1138D777BF34}"/>
    <dgm:cxn modelId="{474BEBA9-4DA1-4680-B4E7-A3D516713C70}" srcId="{FB677CFA-F527-469C-921D-03B3390EC83A}" destId="{496389AD-A385-491F-BFEE-945EBAFA408B}" srcOrd="0" destOrd="0" parTransId="{62924CF2-FF8A-4B1A-A6BE-375EFDDF94B8}" sibTransId="{C9E9587F-D27C-4C6E-9C5E-42C3164C854B}"/>
    <dgm:cxn modelId="{1DF176B2-C5C9-4724-BB1F-DA2C129FF6D7}" srcId="{E71A2E40-DD4D-4D20-BF20-BE269814EFF7}" destId="{F0B7C3FD-B3FF-4B79-AF59-1546A09CA15B}" srcOrd="4" destOrd="0" parTransId="{FB06F982-31D2-4BC2-BB9D-5064C6B606DC}" sibTransId="{D60C92CE-06E7-4CE4-97C5-736256A2D359}"/>
    <dgm:cxn modelId="{82BE06B5-46B9-49DD-9FDD-78CA1BA755C4}" srcId="{73AF273A-1E36-493D-98B2-B68270077A94}" destId="{A4AB52A3-DB54-4BD3-8FC2-403DC030513C}" srcOrd="0" destOrd="0" parTransId="{60370D83-7BBA-4FBE-BB1E-CB06169ED4A4}" sibTransId="{B106F255-E9D6-4B10-800D-604C4B50AEDC}"/>
    <dgm:cxn modelId="{5FB95CB5-A444-4ABF-B1B3-F0A6772FE2C9}" srcId="{006E6892-506B-42DE-94E7-5B86A4E5AD24}" destId="{6C5919A9-E25F-4325-906B-068B1EF0D178}" srcOrd="0" destOrd="0" parTransId="{214DE8A0-8EE6-44D3-823F-1DF460C059DD}" sibTransId="{9F0E0175-511E-433D-A79E-FF617E6CB045}"/>
    <dgm:cxn modelId="{695BD2BA-C30E-4B7D-89D0-E3FF7D10BB55}" srcId="{411E32E2-7E6B-47E7-9092-BAAF0C1BEDD2}" destId="{8D3DD712-D7AC-4EC8-B517-CC984B0678F7}" srcOrd="0" destOrd="0" parTransId="{9B5C388F-76CE-4970-A877-33AEC3A5E7DD}" sibTransId="{FD6B209D-E586-4B43-BC3E-E5A4B88663D8}"/>
    <dgm:cxn modelId="{BDA6E7BD-E444-407A-84A4-E2FC024CA824}" type="presOf" srcId="{62EE9267-FBC2-4FB8-9724-C42C50F8D393}" destId="{A3268F80-9879-4C0E-B09F-9BA0A4566C95}" srcOrd="0" destOrd="0" presId="urn:microsoft.com/office/officeart/2011/layout/TabList"/>
    <dgm:cxn modelId="{9B2FA2BE-CB8E-4158-B1A4-103F5B189BBD}" srcId="{E71A2E40-DD4D-4D20-BF20-BE269814EFF7}" destId="{006E6892-506B-42DE-94E7-5B86A4E5AD24}" srcOrd="3" destOrd="0" parTransId="{AF58CE26-376D-4CD1-9A28-EC25391646E7}" sibTransId="{97A0F84F-926F-40D2-A095-AA11DB5718BA}"/>
    <dgm:cxn modelId="{C0A359C1-13B5-4BDA-ACF1-37DF6B656010}" srcId="{E71A2E40-DD4D-4D20-BF20-BE269814EFF7}" destId="{62EE9267-FBC2-4FB8-9724-C42C50F8D393}" srcOrd="11" destOrd="0" parTransId="{C637397B-271E-4844-9F5D-0D2A0E69F043}" sibTransId="{30BD1285-1726-4ED7-9B87-C89C5D5CD229}"/>
    <dgm:cxn modelId="{2BF37DCB-9E69-4395-809B-383C320AF1C7}" srcId="{FBFA90BF-E594-4096-B2FD-D7C650E57875}" destId="{63C36706-480A-4CEB-8A80-0820AFF12DD2}" srcOrd="0" destOrd="0" parTransId="{D95DB2A1-09F4-461E-8391-D0EFD4F8AA33}" sibTransId="{A5EF968B-4C29-4468-BDBD-B2162CDC141E}"/>
    <dgm:cxn modelId="{876E15D4-94F6-45A2-91B7-D190756EFC5F}" type="presOf" srcId="{B7A4AED3-9D3D-4EE2-8A4D-F33060248B08}" destId="{75407D56-996F-410F-9392-4ADA42CDB52F}" srcOrd="0" destOrd="0" presId="urn:microsoft.com/office/officeart/2011/layout/TabList"/>
    <dgm:cxn modelId="{AA79BBD4-8D58-48CC-8D3B-1B11FFEA8C44}" type="presOf" srcId="{F89611F7-D36B-423C-BCA6-DA42125B8A1A}" destId="{9FC2AC9F-1722-497E-AD74-875C4428AA20}" srcOrd="0" destOrd="0" presId="urn:microsoft.com/office/officeart/2011/layout/TabList"/>
    <dgm:cxn modelId="{B1A8D5DF-A5BA-48E9-A84F-B340D44C773A}" type="presOf" srcId="{A4AB52A3-DB54-4BD3-8FC2-403DC030513C}" destId="{221B2710-C3D9-4AC0-8765-080FCC377026}" srcOrd="0" destOrd="0" presId="urn:microsoft.com/office/officeart/2011/layout/TabList"/>
    <dgm:cxn modelId="{79E25AE0-F2AB-487A-839D-B7EB1F5427C2}" srcId="{E71A2E40-DD4D-4D20-BF20-BE269814EFF7}" destId="{FB677CFA-F527-469C-921D-03B3390EC83A}" srcOrd="0" destOrd="0" parTransId="{CD911C8B-0DB4-4B7C-8E75-678E467CFDCD}" sibTransId="{F9B7E218-EF3F-48E8-BD46-097E57E294C6}"/>
    <dgm:cxn modelId="{67284CE5-7B56-4B8C-891C-4E59CDA47046}" type="presOf" srcId="{CB6F604B-53C3-40E0-AA38-9D806DF31E93}" destId="{BF0B7C26-2B75-4A49-83E0-06B6B3A31DBA}" srcOrd="0" destOrd="0" presId="urn:microsoft.com/office/officeart/2011/layout/TabList"/>
    <dgm:cxn modelId="{51503CE6-8415-4EA4-B454-FE270465DA81}" type="presOf" srcId="{496389AD-A385-491F-BFEE-945EBAFA408B}" destId="{C793082E-7BF5-44CA-8C57-586177557352}" srcOrd="0" destOrd="0" presId="urn:microsoft.com/office/officeart/2011/layout/TabList"/>
    <dgm:cxn modelId="{2E4DB8F2-3A52-4CDB-9CC5-4AE81260894C}" srcId="{F78A3A68-6C17-48F2-AE02-735814437AE5}" destId="{B1C0DF5A-8649-4A25-9F32-545598D91702}" srcOrd="0" destOrd="0" parTransId="{D0E5ABCA-FEF3-465B-A4FB-BFF404455FE9}" sibTransId="{6BB5E3FA-AA95-4033-8386-C1C662B31B75}"/>
    <dgm:cxn modelId="{7FAEE5F8-0DD0-4C79-845F-14CDB2233770}" type="presOf" srcId="{54914BAA-A1AF-4ACD-9AEF-372CCDDD1A9D}" destId="{475F6768-403D-4925-9F28-BC112A3108C5}" srcOrd="0" destOrd="0" presId="urn:microsoft.com/office/officeart/2011/layout/TabList"/>
    <dgm:cxn modelId="{3A5B267F-D857-441C-834A-A0D35B59E91C}" type="presParOf" srcId="{04F340D6-CBC8-4F19-B624-512F68920BA4}" destId="{7975E0E8-AC5E-4FE3-847C-E11CAF034DA0}" srcOrd="0" destOrd="0" presId="urn:microsoft.com/office/officeart/2011/layout/TabList"/>
    <dgm:cxn modelId="{4F96382B-BC0E-43E3-84AF-07491DB52033}" type="presParOf" srcId="{7975E0E8-AC5E-4FE3-847C-E11CAF034DA0}" destId="{C793082E-7BF5-44CA-8C57-586177557352}" srcOrd="0" destOrd="0" presId="urn:microsoft.com/office/officeart/2011/layout/TabList"/>
    <dgm:cxn modelId="{EAFA8971-8368-4AE8-8D15-02AD60A1331B}" type="presParOf" srcId="{7975E0E8-AC5E-4FE3-847C-E11CAF034DA0}" destId="{CD908A13-9CBE-43B9-91EF-E82519C7905E}" srcOrd="1" destOrd="0" presId="urn:microsoft.com/office/officeart/2011/layout/TabList"/>
    <dgm:cxn modelId="{921F375D-9CC2-4F86-8563-93E7E00CE827}" type="presParOf" srcId="{7975E0E8-AC5E-4FE3-847C-E11CAF034DA0}" destId="{D2E1666C-3896-475A-85D9-41B1CDA9A48D}" srcOrd="2" destOrd="0" presId="urn:microsoft.com/office/officeart/2011/layout/TabList"/>
    <dgm:cxn modelId="{447983C0-64AD-4AA0-9AFF-BD5693FC8196}" type="presParOf" srcId="{04F340D6-CBC8-4F19-B624-512F68920BA4}" destId="{BCFE9CC3-1D62-48C8-B424-84E996102F08}" srcOrd="1" destOrd="0" presId="urn:microsoft.com/office/officeart/2011/layout/TabList"/>
    <dgm:cxn modelId="{3E6D1D6E-1F99-43CE-97B5-BDF97659E692}" type="presParOf" srcId="{04F340D6-CBC8-4F19-B624-512F68920BA4}" destId="{85396D3F-FAC9-4662-9AA0-72E5EB7F8531}" srcOrd="2" destOrd="0" presId="urn:microsoft.com/office/officeart/2011/layout/TabList"/>
    <dgm:cxn modelId="{39240F41-1FE8-476B-BA8E-EE4D01DFAC02}" type="presParOf" srcId="{85396D3F-FAC9-4662-9AA0-72E5EB7F8531}" destId="{BF0B7C26-2B75-4A49-83E0-06B6B3A31DBA}" srcOrd="0" destOrd="0" presId="urn:microsoft.com/office/officeart/2011/layout/TabList"/>
    <dgm:cxn modelId="{78C51DDE-A273-4912-B57F-70E7D5B5C6A6}" type="presParOf" srcId="{85396D3F-FAC9-4662-9AA0-72E5EB7F8531}" destId="{69EC878F-5DA4-474B-9B60-78DB992FD31A}" srcOrd="1" destOrd="0" presId="urn:microsoft.com/office/officeart/2011/layout/TabList"/>
    <dgm:cxn modelId="{EE7ABCAD-6989-4A2B-9C7E-6BFACF639825}" type="presParOf" srcId="{85396D3F-FAC9-4662-9AA0-72E5EB7F8531}" destId="{13989113-9410-4C7A-99BC-6967CBBB82F6}" srcOrd="2" destOrd="0" presId="urn:microsoft.com/office/officeart/2011/layout/TabList"/>
    <dgm:cxn modelId="{E3A4CEDA-47F9-44F8-8AF0-303936EC465A}" type="presParOf" srcId="{04F340D6-CBC8-4F19-B624-512F68920BA4}" destId="{1A1A5DFF-64A8-4FAC-AD78-A9F5E72AB3E9}" srcOrd="3" destOrd="0" presId="urn:microsoft.com/office/officeart/2011/layout/TabList"/>
    <dgm:cxn modelId="{F69D27F6-DC8E-4099-8567-F5992EFFA9D4}" type="presParOf" srcId="{04F340D6-CBC8-4F19-B624-512F68920BA4}" destId="{957979D5-A687-4C92-ACB9-94C6BD4A80FD}" srcOrd="4" destOrd="0" presId="urn:microsoft.com/office/officeart/2011/layout/TabList"/>
    <dgm:cxn modelId="{AA33F848-B9FF-4D4A-B1C9-30F827FF03F5}" type="presParOf" srcId="{957979D5-A687-4C92-ACB9-94C6BD4A80FD}" destId="{FDF86A01-FA92-4F1D-8FA7-7E6397249DF6}" srcOrd="0" destOrd="0" presId="urn:microsoft.com/office/officeart/2011/layout/TabList"/>
    <dgm:cxn modelId="{B46CDC33-F9DC-4F46-BCFA-C3D62782C0EE}" type="presParOf" srcId="{957979D5-A687-4C92-ACB9-94C6BD4A80FD}" destId="{65983407-58CF-45AC-A8BC-6E2F7308B779}" srcOrd="1" destOrd="0" presId="urn:microsoft.com/office/officeart/2011/layout/TabList"/>
    <dgm:cxn modelId="{0E053E2E-09C1-4DBE-B5F9-1ADAE29BB5B4}" type="presParOf" srcId="{957979D5-A687-4C92-ACB9-94C6BD4A80FD}" destId="{40AB94EF-9692-45CF-A8EB-9F716DB2EB60}" srcOrd="2" destOrd="0" presId="urn:microsoft.com/office/officeart/2011/layout/TabList"/>
    <dgm:cxn modelId="{CD449B8C-CBB9-48F9-A90D-D2B5E124C26E}" type="presParOf" srcId="{04F340D6-CBC8-4F19-B624-512F68920BA4}" destId="{4B33C4B3-FC31-43CC-B56A-CFCF8281F3B0}" srcOrd="5" destOrd="0" presId="urn:microsoft.com/office/officeart/2011/layout/TabList"/>
    <dgm:cxn modelId="{E8325329-BDF8-4F4F-9038-FE9B199E8FCC}" type="presParOf" srcId="{04F340D6-CBC8-4F19-B624-512F68920BA4}" destId="{106B85B3-ACE0-4FDC-80A1-04306EA6830E}" srcOrd="6" destOrd="0" presId="urn:microsoft.com/office/officeart/2011/layout/TabList"/>
    <dgm:cxn modelId="{0331F10D-E16F-4E9C-9C9D-0921D7D50412}" type="presParOf" srcId="{106B85B3-ACE0-4FDC-80A1-04306EA6830E}" destId="{18298DB2-199D-46F2-8CB5-081E1DAC1DDF}" srcOrd="0" destOrd="0" presId="urn:microsoft.com/office/officeart/2011/layout/TabList"/>
    <dgm:cxn modelId="{FB91A50B-5805-4FE7-85AC-EC7F3E848B80}" type="presParOf" srcId="{106B85B3-ACE0-4FDC-80A1-04306EA6830E}" destId="{3635CF3A-CCC7-4842-80F5-405A1C2DAC04}" srcOrd="1" destOrd="0" presId="urn:microsoft.com/office/officeart/2011/layout/TabList"/>
    <dgm:cxn modelId="{6ED84748-AB8A-45CF-8F9B-BA7EC533C5E7}" type="presParOf" srcId="{106B85B3-ACE0-4FDC-80A1-04306EA6830E}" destId="{A249C792-9896-4A78-8D15-C950178C870B}" srcOrd="2" destOrd="0" presId="urn:microsoft.com/office/officeart/2011/layout/TabList"/>
    <dgm:cxn modelId="{FBBCEFD9-AAF8-4BD4-BA64-4D986F1E718E}" type="presParOf" srcId="{04F340D6-CBC8-4F19-B624-512F68920BA4}" destId="{2C527C75-212E-44EF-9F26-EE2BF14F6A63}" srcOrd="7" destOrd="0" presId="urn:microsoft.com/office/officeart/2011/layout/TabList"/>
    <dgm:cxn modelId="{37CB62EA-8FB1-470E-9A0D-D46E006671C3}" type="presParOf" srcId="{04F340D6-CBC8-4F19-B624-512F68920BA4}" destId="{C8F306A8-8AC9-467E-AD1D-18A7E22AEF79}" srcOrd="8" destOrd="0" presId="urn:microsoft.com/office/officeart/2011/layout/TabList"/>
    <dgm:cxn modelId="{A75EC776-A740-4070-B97B-A50BDE8E886D}" type="presParOf" srcId="{C8F306A8-8AC9-467E-AD1D-18A7E22AEF79}" destId="{6353E38F-5DB1-4962-85E8-34B4F6D351CC}" srcOrd="0" destOrd="0" presId="urn:microsoft.com/office/officeart/2011/layout/TabList"/>
    <dgm:cxn modelId="{A6E5558D-9978-4A65-9523-A44A0CAC4E8E}" type="presParOf" srcId="{C8F306A8-8AC9-467E-AD1D-18A7E22AEF79}" destId="{63B83CC2-9FBF-46D3-BBE1-6D5F86A4F09E}" srcOrd="1" destOrd="0" presId="urn:microsoft.com/office/officeart/2011/layout/TabList"/>
    <dgm:cxn modelId="{8DE8C0FD-11E3-47A2-8FA2-C01461874694}" type="presParOf" srcId="{C8F306A8-8AC9-467E-AD1D-18A7E22AEF79}" destId="{794B7224-DD26-445B-B783-3C3F73E1D554}" srcOrd="2" destOrd="0" presId="urn:microsoft.com/office/officeart/2011/layout/TabList"/>
    <dgm:cxn modelId="{5B5082DD-EF54-4E2B-90A3-0534FDA89025}" type="presParOf" srcId="{04F340D6-CBC8-4F19-B624-512F68920BA4}" destId="{9449D10D-FF50-4FF6-BE7B-565785C7F586}" srcOrd="9" destOrd="0" presId="urn:microsoft.com/office/officeart/2011/layout/TabList"/>
    <dgm:cxn modelId="{7C3F52C5-2990-43C8-968E-E6FC43F169EB}" type="presParOf" srcId="{04F340D6-CBC8-4F19-B624-512F68920BA4}" destId="{AFFDDE58-E32F-45AF-BF7A-3E0C0435F027}" srcOrd="10" destOrd="0" presId="urn:microsoft.com/office/officeart/2011/layout/TabList"/>
    <dgm:cxn modelId="{46AE5A9F-73AD-45DA-873E-0AE87863A5CA}" type="presParOf" srcId="{AFFDDE58-E32F-45AF-BF7A-3E0C0435F027}" destId="{62A7048C-AA6F-4939-8E2F-298A930B2504}" srcOrd="0" destOrd="0" presId="urn:microsoft.com/office/officeart/2011/layout/TabList"/>
    <dgm:cxn modelId="{4793E86A-BFE6-4986-B96D-726E7ED53087}" type="presParOf" srcId="{AFFDDE58-E32F-45AF-BF7A-3E0C0435F027}" destId="{75407D56-996F-410F-9392-4ADA42CDB52F}" srcOrd="1" destOrd="0" presId="urn:microsoft.com/office/officeart/2011/layout/TabList"/>
    <dgm:cxn modelId="{4B2FFBED-A722-4D3B-ADEF-D6E100B506FB}" type="presParOf" srcId="{AFFDDE58-E32F-45AF-BF7A-3E0C0435F027}" destId="{F89298C1-4C5F-4A35-92A3-5D528AC54929}" srcOrd="2" destOrd="0" presId="urn:microsoft.com/office/officeart/2011/layout/TabList"/>
    <dgm:cxn modelId="{DDA5C93D-03BE-4B1E-81C4-5BA39813CDFD}" type="presParOf" srcId="{04F340D6-CBC8-4F19-B624-512F68920BA4}" destId="{7919C04B-2A5F-4C1B-9E4C-285E37F4845D}" srcOrd="11" destOrd="0" presId="urn:microsoft.com/office/officeart/2011/layout/TabList"/>
    <dgm:cxn modelId="{B0CECD68-692F-4056-8070-E45454EE636C}" type="presParOf" srcId="{04F340D6-CBC8-4F19-B624-512F68920BA4}" destId="{3CD65535-5A13-4F98-86B3-B9EBCE8D5427}" srcOrd="12" destOrd="0" presId="urn:microsoft.com/office/officeart/2011/layout/TabList"/>
    <dgm:cxn modelId="{AD2C8E5E-DB71-49FC-8342-C52C58B49676}" type="presParOf" srcId="{3CD65535-5A13-4F98-86B3-B9EBCE8D5427}" destId="{221B2710-C3D9-4AC0-8765-080FCC377026}" srcOrd="0" destOrd="0" presId="urn:microsoft.com/office/officeart/2011/layout/TabList"/>
    <dgm:cxn modelId="{ECF7FBEF-A8DA-437B-A05C-6B55A093DDE7}" type="presParOf" srcId="{3CD65535-5A13-4F98-86B3-B9EBCE8D5427}" destId="{75D8FB02-041E-4E50-908B-9A033D2BEA8D}" srcOrd="1" destOrd="0" presId="urn:microsoft.com/office/officeart/2011/layout/TabList"/>
    <dgm:cxn modelId="{34F468B7-911F-4434-B079-103607C64C8F}" type="presParOf" srcId="{3CD65535-5A13-4F98-86B3-B9EBCE8D5427}" destId="{5F14CD2F-D3D6-41E7-9ACF-B64E8B978FCF}" srcOrd="2" destOrd="0" presId="urn:microsoft.com/office/officeart/2011/layout/TabList"/>
    <dgm:cxn modelId="{0F967B65-436D-45B0-9B0E-8BA7DF7A08D4}" type="presParOf" srcId="{04F340D6-CBC8-4F19-B624-512F68920BA4}" destId="{3556DF8C-E901-476C-B9E7-826D72384497}" srcOrd="13" destOrd="0" presId="urn:microsoft.com/office/officeart/2011/layout/TabList"/>
    <dgm:cxn modelId="{D1C623FD-FC0D-4D2F-8C72-F6064EF0E8C0}" type="presParOf" srcId="{04F340D6-CBC8-4F19-B624-512F68920BA4}" destId="{905E8E26-B404-4B29-A0C0-5B0662C87170}" srcOrd="14" destOrd="0" presId="urn:microsoft.com/office/officeart/2011/layout/TabList"/>
    <dgm:cxn modelId="{4569F23C-E073-43D8-99D1-2E0EF18DCC1E}" type="presParOf" srcId="{905E8E26-B404-4B29-A0C0-5B0662C87170}" destId="{7FC887BC-5292-4AEC-82DD-E2810185A2C5}" srcOrd="0" destOrd="0" presId="urn:microsoft.com/office/officeart/2011/layout/TabList"/>
    <dgm:cxn modelId="{D5112A59-C75D-40A2-BD16-726A5DAF5687}" type="presParOf" srcId="{905E8E26-B404-4B29-A0C0-5B0662C87170}" destId="{9E458988-4896-4AD6-9406-27C9514BEBF9}" srcOrd="1" destOrd="0" presId="urn:microsoft.com/office/officeart/2011/layout/TabList"/>
    <dgm:cxn modelId="{1BC23F7A-49C2-461E-9224-9B55DB6D99F9}" type="presParOf" srcId="{905E8E26-B404-4B29-A0C0-5B0662C87170}" destId="{E9E704B4-3E3D-42CF-9AFA-132729C1149D}" srcOrd="2" destOrd="0" presId="urn:microsoft.com/office/officeart/2011/layout/TabList"/>
    <dgm:cxn modelId="{B7411027-64E2-462D-814E-1551850C43FF}" type="presParOf" srcId="{04F340D6-CBC8-4F19-B624-512F68920BA4}" destId="{1E45A48F-7BA7-4E70-A4B3-E05EABBDF3A9}" srcOrd="15" destOrd="0" presId="urn:microsoft.com/office/officeart/2011/layout/TabList"/>
    <dgm:cxn modelId="{B3D505DB-B4C9-4FC0-8E78-ECF2FCB64AF7}" type="presParOf" srcId="{04F340D6-CBC8-4F19-B624-512F68920BA4}" destId="{36C0683D-8B5D-4382-AEA8-EEA003A002EE}" srcOrd="16" destOrd="0" presId="urn:microsoft.com/office/officeart/2011/layout/TabList"/>
    <dgm:cxn modelId="{C93B1180-FAB7-458A-B9CE-1CA288ACE8BF}" type="presParOf" srcId="{36C0683D-8B5D-4382-AEA8-EEA003A002EE}" destId="{5B7DFABB-8ED5-4C06-A0EE-9226DFCDDB4F}" srcOrd="0" destOrd="0" presId="urn:microsoft.com/office/officeart/2011/layout/TabList"/>
    <dgm:cxn modelId="{F255FA75-95CA-4060-82CE-D733B8D9C058}" type="presParOf" srcId="{36C0683D-8B5D-4382-AEA8-EEA003A002EE}" destId="{9FC2AC9F-1722-497E-AD74-875C4428AA20}" srcOrd="1" destOrd="0" presId="urn:microsoft.com/office/officeart/2011/layout/TabList"/>
    <dgm:cxn modelId="{60864C01-59B9-48AF-B737-37475290C264}" type="presParOf" srcId="{36C0683D-8B5D-4382-AEA8-EEA003A002EE}" destId="{2A9994F9-8A31-4DAD-99C3-22EF3EA599FE}" srcOrd="2" destOrd="0" presId="urn:microsoft.com/office/officeart/2011/layout/TabList"/>
    <dgm:cxn modelId="{65885110-8E86-4E36-8EDA-21561638E573}" type="presParOf" srcId="{04F340D6-CBC8-4F19-B624-512F68920BA4}" destId="{EFDC4253-87E4-48CF-8E0B-2C4FA9E52D31}" srcOrd="17" destOrd="0" presId="urn:microsoft.com/office/officeart/2011/layout/TabList"/>
    <dgm:cxn modelId="{718C667E-6574-44B5-AFDD-95BD0A952A40}" type="presParOf" srcId="{04F340D6-CBC8-4F19-B624-512F68920BA4}" destId="{0F53A70A-7979-4850-B3C5-FD09C51C265B}" srcOrd="18" destOrd="0" presId="urn:microsoft.com/office/officeart/2011/layout/TabList"/>
    <dgm:cxn modelId="{A910B925-444C-4934-89C6-A131C013ECA5}" type="presParOf" srcId="{0F53A70A-7979-4850-B3C5-FD09C51C265B}" destId="{62A810E9-2DAF-4476-8FFD-E71DD8C14276}" srcOrd="0" destOrd="0" presId="urn:microsoft.com/office/officeart/2011/layout/TabList"/>
    <dgm:cxn modelId="{0C93C77B-2329-41A8-9FD0-2447ACFAF8F4}" type="presParOf" srcId="{0F53A70A-7979-4850-B3C5-FD09C51C265B}" destId="{E03610DE-DA3E-46BE-ABD4-3E896503BC48}" srcOrd="1" destOrd="0" presId="urn:microsoft.com/office/officeart/2011/layout/TabList"/>
    <dgm:cxn modelId="{048AC5DB-E193-4306-AAE2-4182F44B5278}" type="presParOf" srcId="{0F53A70A-7979-4850-B3C5-FD09C51C265B}" destId="{B49A427D-3D04-4901-AD06-E26DFAF976F8}" srcOrd="2" destOrd="0" presId="urn:microsoft.com/office/officeart/2011/layout/TabList"/>
    <dgm:cxn modelId="{164A3DFA-DA1E-4054-95C9-66D9F0AFC754}" type="presParOf" srcId="{04F340D6-CBC8-4F19-B624-512F68920BA4}" destId="{633BFF6E-DBED-4BC8-B729-BCE519E2DC54}" srcOrd="19" destOrd="0" presId="urn:microsoft.com/office/officeart/2011/layout/TabList"/>
    <dgm:cxn modelId="{53C7DB64-272D-4F97-A1D7-C0FDBE5D24BF}" type="presParOf" srcId="{04F340D6-CBC8-4F19-B624-512F68920BA4}" destId="{9A97B789-6417-4854-AF37-B1911F77C4DC}" srcOrd="20" destOrd="0" presId="urn:microsoft.com/office/officeart/2011/layout/TabList"/>
    <dgm:cxn modelId="{266ACAFA-FC15-42FF-AEF0-CBE40994CE6B}" type="presParOf" srcId="{9A97B789-6417-4854-AF37-B1911F77C4DC}" destId="{C8DEE523-B166-4372-B58A-57FFA0EE7F0B}" srcOrd="0" destOrd="0" presId="urn:microsoft.com/office/officeart/2011/layout/TabList"/>
    <dgm:cxn modelId="{64E7DDEA-283B-4F77-A97E-E6CCFCD3780D}" type="presParOf" srcId="{9A97B789-6417-4854-AF37-B1911F77C4DC}" destId="{50C08B15-EC40-4051-B8CC-F71E52ACEDE5}" srcOrd="1" destOrd="0" presId="urn:microsoft.com/office/officeart/2011/layout/TabList"/>
    <dgm:cxn modelId="{AA48594C-A460-40BA-A605-FF7ED5F0CC45}" type="presParOf" srcId="{9A97B789-6417-4854-AF37-B1911F77C4DC}" destId="{29989214-9059-4922-B3C1-D4FE10E139F1}" srcOrd="2" destOrd="0" presId="urn:microsoft.com/office/officeart/2011/layout/TabList"/>
    <dgm:cxn modelId="{CA56B050-45D7-4046-A7EE-997B285C8AB1}" type="presParOf" srcId="{04F340D6-CBC8-4F19-B624-512F68920BA4}" destId="{3833980A-9138-423A-BFC1-02A618447D09}" srcOrd="21" destOrd="0" presId="urn:microsoft.com/office/officeart/2011/layout/TabList"/>
    <dgm:cxn modelId="{3434B932-2F43-4EDC-92C4-B824E5F5A8F1}" type="presParOf" srcId="{04F340D6-CBC8-4F19-B624-512F68920BA4}" destId="{494CDC89-6711-402C-ADCE-CAE3959B652A}" srcOrd="22" destOrd="0" presId="urn:microsoft.com/office/officeart/2011/layout/TabList"/>
    <dgm:cxn modelId="{DC974FF8-0231-4F59-8C59-A4A87361E59B}" type="presParOf" srcId="{494CDC89-6711-402C-ADCE-CAE3959B652A}" destId="{475F6768-403D-4925-9F28-BC112A3108C5}" srcOrd="0" destOrd="0" presId="urn:microsoft.com/office/officeart/2011/layout/TabList"/>
    <dgm:cxn modelId="{683E02B0-5A44-470F-A902-72F4D21352E4}" type="presParOf" srcId="{494CDC89-6711-402C-ADCE-CAE3959B652A}" destId="{A3268F80-9879-4C0E-B09F-9BA0A4566C95}" srcOrd="1" destOrd="0" presId="urn:microsoft.com/office/officeart/2011/layout/TabList"/>
    <dgm:cxn modelId="{5B65460D-A94A-4A4D-9A77-9DCF8EFCEE99}" type="presParOf" srcId="{494CDC89-6711-402C-ADCE-CAE3959B652A}" destId="{A9EFCCAE-5343-4634-9079-673648F83ABD}" srcOrd="2"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F942B15-D86D-4D3F-96E1-511196311D53}" type="doc">
      <dgm:prSet loTypeId="urn:microsoft.com/office/officeart/2011/layout/CircleProcess" loCatId="process" qsTypeId="urn:microsoft.com/office/officeart/2005/8/quickstyle/simple1" qsCatId="simple" csTypeId="urn:microsoft.com/office/officeart/2005/8/colors/accent2_2" csCatId="accent2" phldr="1"/>
      <dgm:spPr/>
      <dgm:t>
        <a:bodyPr/>
        <a:lstStyle/>
        <a:p>
          <a:endParaRPr lang="en-US"/>
        </a:p>
      </dgm:t>
    </dgm:pt>
    <dgm:pt modelId="{EA249660-A52A-403A-9D38-7B92AF4DCDA7}">
      <dgm:prSet phldrT="[Text]"/>
      <dgm:spPr/>
      <dgm:t>
        <a:bodyPr/>
        <a:lstStyle/>
        <a:p>
          <a:r>
            <a:rPr lang="de-DE" dirty="0"/>
            <a:t>New Video Codecs</a:t>
          </a:r>
          <a:endParaRPr lang="en-US" dirty="0"/>
        </a:p>
      </dgm:t>
    </dgm:pt>
    <dgm:pt modelId="{2535E167-F8A3-4A59-99F1-19242E42A6D6}" type="parTrans" cxnId="{F826F9FF-1FD1-4EA2-8208-AD8D60513349}">
      <dgm:prSet/>
      <dgm:spPr/>
      <dgm:t>
        <a:bodyPr/>
        <a:lstStyle/>
        <a:p>
          <a:endParaRPr lang="en-US"/>
        </a:p>
      </dgm:t>
    </dgm:pt>
    <dgm:pt modelId="{54FA3B50-F976-4064-94DE-444036110A37}" type="sibTrans" cxnId="{F826F9FF-1FD1-4EA2-8208-AD8D60513349}">
      <dgm:prSet/>
      <dgm:spPr/>
      <dgm:t>
        <a:bodyPr/>
        <a:lstStyle/>
        <a:p>
          <a:endParaRPr lang="en-US"/>
        </a:p>
      </dgm:t>
    </dgm:pt>
    <dgm:pt modelId="{9038B4DA-DCFF-4837-9286-DDE2EBFE6D9E}">
      <dgm:prSet phldrT="[Text]"/>
      <dgm:spPr/>
      <dgm:t>
        <a:bodyPr/>
        <a:lstStyle/>
        <a:p>
          <a:r>
            <a:rPr lang="de-DE" dirty="0"/>
            <a:t>Avatars</a:t>
          </a:r>
          <a:endParaRPr lang="en-US" dirty="0"/>
        </a:p>
      </dgm:t>
    </dgm:pt>
    <dgm:pt modelId="{D6E4E4F9-4E19-4C88-A8A3-F8B86EEEBA6C}" type="parTrans" cxnId="{C07DFC19-7309-4A96-8326-546034B1FD06}">
      <dgm:prSet/>
      <dgm:spPr/>
      <dgm:t>
        <a:bodyPr/>
        <a:lstStyle/>
        <a:p>
          <a:endParaRPr lang="en-US"/>
        </a:p>
      </dgm:t>
    </dgm:pt>
    <dgm:pt modelId="{4490C1DD-44DD-4070-BA15-740C39B1BE68}" type="sibTrans" cxnId="{C07DFC19-7309-4A96-8326-546034B1FD06}">
      <dgm:prSet/>
      <dgm:spPr/>
      <dgm:t>
        <a:bodyPr/>
        <a:lstStyle/>
        <a:p>
          <a:endParaRPr lang="en-US"/>
        </a:p>
      </dgm:t>
    </dgm:pt>
    <dgm:pt modelId="{DBC06A9E-ECD6-42AE-B7E4-128F3062B8B6}">
      <dgm:prSet phldrT="[Text]"/>
      <dgm:spPr/>
      <dgm:t>
        <a:bodyPr/>
        <a:lstStyle/>
        <a:p>
          <a:r>
            <a:rPr lang="de-DE" dirty="0"/>
            <a:t>XR Extensions</a:t>
          </a:r>
          <a:endParaRPr lang="en-US" dirty="0"/>
        </a:p>
      </dgm:t>
    </dgm:pt>
    <dgm:pt modelId="{0C8AD99A-0864-4932-AED6-51952E3FD566}" type="parTrans" cxnId="{797DFD6F-9A12-43F6-AFDD-801926CD233C}">
      <dgm:prSet/>
      <dgm:spPr/>
      <dgm:t>
        <a:bodyPr/>
        <a:lstStyle/>
        <a:p>
          <a:endParaRPr lang="en-US"/>
        </a:p>
      </dgm:t>
    </dgm:pt>
    <dgm:pt modelId="{AD6F9921-10D2-4806-82D4-D8677889DA16}" type="sibTrans" cxnId="{797DFD6F-9A12-43F6-AFDD-801926CD233C}">
      <dgm:prSet/>
      <dgm:spPr/>
      <dgm:t>
        <a:bodyPr/>
        <a:lstStyle/>
        <a:p>
          <a:endParaRPr lang="en-US"/>
        </a:p>
      </dgm:t>
    </dgm:pt>
    <dgm:pt modelId="{4FF02A02-BC63-4A2D-B3F5-E9A17854B6DD}">
      <dgm:prSet phldrT="[Text]"/>
      <dgm:spPr/>
      <dgm:t>
        <a:bodyPr/>
        <a:lstStyle/>
        <a:p>
          <a:r>
            <a:rPr lang="de-DE" dirty="0"/>
            <a:t>5GMS and MBS Extensions</a:t>
          </a:r>
          <a:endParaRPr lang="en-US" dirty="0"/>
        </a:p>
      </dgm:t>
    </dgm:pt>
    <dgm:pt modelId="{2EA33271-B2B0-4D5E-A159-54922522EF88}" type="parTrans" cxnId="{656D1681-0B04-4E0B-9334-39FBA530D66A}">
      <dgm:prSet/>
      <dgm:spPr/>
      <dgm:t>
        <a:bodyPr/>
        <a:lstStyle/>
        <a:p>
          <a:endParaRPr lang="en-US"/>
        </a:p>
      </dgm:t>
    </dgm:pt>
    <dgm:pt modelId="{0B3273BC-B372-41FE-B018-20DD5F340FB2}" type="sibTrans" cxnId="{656D1681-0B04-4E0B-9334-39FBA530D66A}">
      <dgm:prSet/>
      <dgm:spPr/>
      <dgm:t>
        <a:bodyPr/>
        <a:lstStyle/>
        <a:p>
          <a:endParaRPr lang="en-US"/>
        </a:p>
      </dgm:t>
    </dgm:pt>
    <dgm:pt modelId="{E5D67276-C931-407F-A8F0-035E0E9FC3E1}">
      <dgm:prSet phldrT="[Text]"/>
      <dgm:spPr/>
      <dgm:t>
        <a:bodyPr/>
        <a:lstStyle/>
        <a:p>
          <a:r>
            <a:rPr lang="de-DE"/>
            <a:t>AI</a:t>
          </a:r>
          <a:r>
            <a:rPr lang="de-DE" dirty="0"/>
            <a:t>/ML for Media</a:t>
          </a:r>
          <a:endParaRPr lang="en-US" dirty="0"/>
        </a:p>
      </dgm:t>
    </dgm:pt>
    <dgm:pt modelId="{DC1C951A-452A-49B7-A6BE-D4E0C9FEB656}" type="parTrans" cxnId="{5C535642-3182-4DF3-B166-89993DAF960D}">
      <dgm:prSet/>
      <dgm:spPr/>
      <dgm:t>
        <a:bodyPr/>
        <a:lstStyle/>
        <a:p>
          <a:endParaRPr lang="en-US"/>
        </a:p>
      </dgm:t>
    </dgm:pt>
    <dgm:pt modelId="{916A125C-9219-4729-BC6C-34AD30B561AB}" type="sibTrans" cxnId="{5C535642-3182-4DF3-B166-89993DAF960D}">
      <dgm:prSet/>
      <dgm:spPr/>
      <dgm:t>
        <a:bodyPr/>
        <a:lstStyle/>
        <a:p>
          <a:endParaRPr lang="en-US"/>
        </a:p>
      </dgm:t>
    </dgm:pt>
    <dgm:pt modelId="{526D8733-EC7B-41F8-A8DF-31F97943AFD4}" type="pres">
      <dgm:prSet presAssocID="{6F942B15-D86D-4D3F-96E1-511196311D53}" presName="Name0" presStyleCnt="0">
        <dgm:presLayoutVars>
          <dgm:chMax val="11"/>
          <dgm:chPref val="11"/>
          <dgm:dir/>
          <dgm:resizeHandles/>
        </dgm:presLayoutVars>
      </dgm:prSet>
      <dgm:spPr/>
    </dgm:pt>
    <dgm:pt modelId="{481AD8CF-5007-4D8B-B08B-788524509657}" type="pres">
      <dgm:prSet presAssocID="{E5D67276-C931-407F-A8F0-035E0E9FC3E1}" presName="Accent5" presStyleCnt="0"/>
      <dgm:spPr/>
    </dgm:pt>
    <dgm:pt modelId="{F1ABFF94-7756-4B99-9516-292BC8E51479}" type="pres">
      <dgm:prSet presAssocID="{E5D67276-C931-407F-A8F0-035E0E9FC3E1}" presName="Accent" presStyleLbl="node1" presStyleIdx="0" presStyleCnt="5"/>
      <dgm:spPr/>
    </dgm:pt>
    <dgm:pt modelId="{1214A0AD-B834-422B-B05B-46CB12AC37C6}" type="pres">
      <dgm:prSet presAssocID="{E5D67276-C931-407F-A8F0-035E0E9FC3E1}" presName="ParentBackground5" presStyleCnt="0"/>
      <dgm:spPr/>
    </dgm:pt>
    <dgm:pt modelId="{56A61EFD-59BA-46DB-839F-6FAA77A4B65A}" type="pres">
      <dgm:prSet presAssocID="{E5D67276-C931-407F-A8F0-035E0E9FC3E1}" presName="ParentBackground" presStyleLbl="fgAcc1" presStyleIdx="0" presStyleCnt="5"/>
      <dgm:spPr/>
    </dgm:pt>
    <dgm:pt modelId="{A78DF188-0A06-43AB-BAED-437DCC53B98B}" type="pres">
      <dgm:prSet presAssocID="{E5D67276-C931-407F-A8F0-035E0E9FC3E1}" presName="Parent5" presStyleLbl="revTx" presStyleIdx="0" presStyleCnt="0">
        <dgm:presLayoutVars>
          <dgm:chMax val="1"/>
          <dgm:chPref val="1"/>
          <dgm:bulletEnabled val="1"/>
        </dgm:presLayoutVars>
      </dgm:prSet>
      <dgm:spPr/>
    </dgm:pt>
    <dgm:pt modelId="{EB059676-44E2-4036-B5A0-6F26AADDD144}" type="pres">
      <dgm:prSet presAssocID="{4FF02A02-BC63-4A2D-B3F5-E9A17854B6DD}" presName="Accent4" presStyleCnt="0"/>
      <dgm:spPr/>
    </dgm:pt>
    <dgm:pt modelId="{5BE1F523-7D00-4198-9F62-5465A707D54E}" type="pres">
      <dgm:prSet presAssocID="{4FF02A02-BC63-4A2D-B3F5-E9A17854B6DD}" presName="Accent" presStyleLbl="node1" presStyleIdx="1" presStyleCnt="5"/>
      <dgm:spPr/>
    </dgm:pt>
    <dgm:pt modelId="{277E92E6-81F0-4115-99BA-9BE684B07C4C}" type="pres">
      <dgm:prSet presAssocID="{4FF02A02-BC63-4A2D-B3F5-E9A17854B6DD}" presName="ParentBackground4" presStyleCnt="0"/>
      <dgm:spPr/>
    </dgm:pt>
    <dgm:pt modelId="{FD6FB4EE-DE70-427C-90FB-4D161C1DD17E}" type="pres">
      <dgm:prSet presAssocID="{4FF02A02-BC63-4A2D-B3F5-E9A17854B6DD}" presName="ParentBackground" presStyleLbl="fgAcc1" presStyleIdx="1" presStyleCnt="5"/>
      <dgm:spPr/>
    </dgm:pt>
    <dgm:pt modelId="{63D27B3F-3D9F-43F1-B341-661C0124FADB}" type="pres">
      <dgm:prSet presAssocID="{4FF02A02-BC63-4A2D-B3F5-E9A17854B6DD}" presName="Parent4" presStyleLbl="revTx" presStyleIdx="0" presStyleCnt="0">
        <dgm:presLayoutVars>
          <dgm:chMax val="1"/>
          <dgm:chPref val="1"/>
          <dgm:bulletEnabled val="1"/>
        </dgm:presLayoutVars>
      </dgm:prSet>
      <dgm:spPr/>
    </dgm:pt>
    <dgm:pt modelId="{6EB5DD66-B716-48BD-AD7A-7EF2347FE3F9}" type="pres">
      <dgm:prSet presAssocID="{DBC06A9E-ECD6-42AE-B7E4-128F3062B8B6}" presName="Accent3" presStyleCnt="0"/>
      <dgm:spPr/>
    </dgm:pt>
    <dgm:pt modelId="{1C606156-432E-4C2F-B69F-FB1EF0E02685}" type="pres">
      <dgm:prSet presAssocID="{DBC06A9E-ECD6-42AE-B7E4-128F3062B8B6}" presName="Accent" presStyleLbl="node1" presStyleIdx="2" presStyleCnt="5"/>
      <dgm:spPr/>
    </dgm:pt>
    <dgm:pt modelId="{5EC98F1D-5BAD-4F14-8FFD-16B051BA0F2B}" type="pres">
      <dgm:prSet presAssocID="{DBC06A9E-ECD6-42AE-B7E4-128F3062B8B6}" presName="ParentBackground3" presStyleCnt="0"/>
      <dgm:spPr/>
    </dgm:pt>
    <dgm:pt modelId="{C1F2F3BD-34C9-4335-9B19-2A5FF9642F7B}" type="pres">
      <dgm:prSet presAssocID="{DBC06A9E-ECD6-42AE-B7E4-128F3062B8B6}" presName="ParentBackground" presStyleLbl="fgAcc1" presStyleIdx="2" presStyleCnt="5"/>
      <dgm:spPr/>
    </dgm:pt>
    <dgm:pt modelId="{AE0E50B2-7C77-4555-8D7C-06CB29E699E2}" type="pres">
      <dgm:prSet presAssocID="{DBC06A9E-ECD6-42AE-B7E4-128F3062B8B6}" presName="Parent3" presStyleLbl="revTx" presStyleIdx="0" presStyleCnt="0">
        <dgm:presLayoutVars>
          <dgm:chMax val="1"/>
          <dgm:chPref val="1"/>
          <dgm:bulletEnabled val="1"/>
        </dgm:presLayoutVars>
      </dgm:prSet>
      <dgm:spPr/>
    </dgm:pt>
    <dgm:pt modelId="{7B22AEC5-2DA7-4ACA-8453-C7552C6B5132}" type="pres">
      <dgm:prSet presAssocID="{9038B4DA-DCFF-4837-9286-DDE2EBFE6D9E}" presName="Accent2" presStyleCnt="0"/>
      <dgm:spPr/>
    </dgm:pt>
    <dgm:pt modelId="{37557569-5747-4E52-B6E1-1439D3953AF2}" type="pres">
      <dgm:prSet presAssocID="{9038B4DA-DCFF-4837-9286-DDE2EBFE6D9E}" presName="Accent" presStyleLbl="node1" presStyleIdx="3" presStyleCnt="5"/>
      <dgm:spPr/>
    </dgm:pt>
    <dgm:pt modelId="{CBD6B11F-2E3D-4531-98B1-C2D4A4B235A6}" type="pres">
      <dgm:prSet presAssocID="{9038B4DA-DCFF-4837-9286-DDE2EBFE6D9E}" presName="ParentBackground2" presStyleCnt="0"/>
      <dgm:spPr/>
    </dgm:pt>
    <dgm:pt modelId="{FDA6732D-BD0B-41A7-AEA8-40D9B937B9A1}" type="pres">
      <dgm:prSet presAssocID="{9038B4DA-DCFF-4837-9286-DDE2EBFE6D9E}" presName="ParentBackground" presStyleLbl="fgAcc1" presStyleIdx="3" presStyleCnt="5"/>
      <dgm:spPr/>
    </dgm:pt>
    <dgm:pt modelId="{6F0BCBD6-2607-43DB-BF1C-7A88A2C4DE6A}" type="pres">
      <dgm:prSet presAssocID="{9038B4DA-DCFF-4837-9286-DDE2EBFE6D9E}" presName="Parent2" presStyleLbl="revTx" presStyleIdx="0" presStyleCnt="0">
        <dgm:presLayoutVars>
          <dgm:chMax val="1"/>
          <dgm:chPref val="1"/>
          <dgm:bulletEnabled val="1"/>
        </dgm:presLayoutVars>
      </dgm:prSet>
      <dgm:spPr/>
    </dgm:pt>
    <dgm:pt modelId="{7605DAA4-3289-4D90-8CDE-5D12B4F9688B}" type="pres">
      <dgm:prSet presAssocID="{EA249660-A52A-403A-9D38-7B92AF4DCDA7}" presName="Accent1" presStyleCnt="0"/>
      <dgm:spPr/>
    </dgm:pt>
    <dgm:pt modelId="{429064BF-60C1-4BE6-BB13-7B8D65D7ACCF}" type="pres">
      <dgm:prSet presAssocID="{EA249660-A52A-403A-9D38-7B92AF4DCDA7}" presName="Accent" presStyleLbl="node1" presStyleIdx="4" presStyleCnt="5"/>
      <dgm:spPr/>
    </dgm:pt>
    <dgm:pt modelId="{CA507B0C-3789-4CD1-86D5-42EDE8AFA5CD}" type="pres">
      <dgm:prSet presAssocID="{EA249660-A52A-403A-9D38-7B92AF4DCDA7}" presName="ParentBackground1" presStyleCnt="0"/>
      <dgm:spPr/>
    </dgm:pt>
    <dgm:pt modelId="{DA9549A2-4029-4C4B-92D8-07435729A391}" type="pres">
      <dgm:prSet presAssocID="{EA249660-A52A-403A-9D38-7B92AF4DCDA7}" presName="ParentBackground" presStyleLbl="fgAcc1" presStyleIdx="4" presStyleCnt="5"/>
      <dgm:spPr/>
    </dgm:pt>
    <dgm:pt modelId="{80E5D909-35B8-4413-8877-7EC856427BBF}" type="pres">
      <dgm:prSet presAssocID="{EA249660-A52A-403A-9D38-7B92AF4DCDA7}" presName="Parent1" presStyleLbl="revTx" presStyleIdx="0" presStyleCnt="0">
        <dgm:presLayoutVars>
          <dgm:chMax val="1"/>
          <dgm:chPref val="1"/>
          <dgm:bulletEnabled val="1"/>
        </dgm:presLayoutVars>
      </dgm:prSet>
      <dgm:spPr/>
    </dgm:pt>
  </dgm:ptLst>
  <dgm:cxnLst>
    <dgm:cxn modelId="{C07DFC19-7309-4A96-8326-546034B1FD06}" srcId="{6F942B15-D86D-4D3F-96E1-511196311D53}" destId="{9038B4DA-DCFF-4837-9286-DDE2EBFE6D9E}" srcOrd="1" destOrd="0" parTransId="{D6E4E4F9-4E19-4C88-A8A3-F8B86EEEBA6C}" sibTransId="{4490C1DD-44DD-4070-BA15-740C39B1BE68}"/>
    <dgm:cxn modelId="{81C56A1C-0AB7-43F4-BE8C-8DF2D0EDC057}" type="presOf" srcId="{9038B4DA-DCFF-4837-9286-DDE2EBFE6D9E}" destId="{6F0BCBD6-2607-43DB-BF1C-7A88A2C4DE6A}" srcOrd="1" destOrd="0" presId="urn:microsoft.com/office/officeart/2011/layout/CircleProcess"/>
    <dgm:cxn modelId="{4B1DE620-87C0-4EBD-B4FD-0B2FC1B1A4E5}" type="presOf" srcId="{EA249660-A52A-403A-9D38-7B92AF4DCDA7}" destId="{DA9549A2-4029-4C4B-92D8-07435729A391}" srcOrd="0" destOrd="0" presId="urn:microsoft.com/office/officeart/2011/layout/CircleProcess"/>
    <dgm:cxn modelId="{F1A1A122-34E7-417F-AB41-BC0C4C6187C6}" type="presOf" srcId="{E5D67276-C931-407F-A8F0-035E0E9FC3E1}" destId="{56A61EFD-59BA-46DB-839F-6FAA77A4B65A}" srcOrd="0" destOrd="0" presId="urn:microsoft.com/office/officeart/2011/layout/CircleProcess"/>
    <dgm:cxn modelId="{60A4052C-3756-4E1A-9741-22E18648C3D9}" type="presOf" srcId="{4FF02A02-BC63-4A2D-B3F5-E9A17854B6DD}" destId="{63D27B3F-3D9F-43F1-B341-661C0124FADB}" srcOrd="1" destOrd="0" presId="urn:microsoft.com/office/officeart/2011/layout/CircleProcess"/>
    <dgm:cxn modelId="{4DEB4034-72CF-4B22-80F8-135A8351641E}" type="presOf" srcId="{DBC06A9E-ECD6-42AE-B7E4-128F3062B8B6}" destId="{C1F2F3BD-34C9-4335-9B19-2A5FF9642F7B}" srcOrd="0" destOrd="0" presId="urn:microsoft.com/office/officeart/2011/layout/CircleProcess"/>
    <dgm:cxn modelId="{5C535642-3182-4DF3-B166-89993DAF960D}" srcId="{6F942B15-D86D-4D3F-96E1-511196311D53}" destId="{E5D67276-C931-407F-A8F0-035E0E9FC3E1}" srcOrd="4" destOrd="0" parTransId="{DC1C951A-452A-49B7-A6BE-D4E0C9FEB656}" sibTransId="{916A125C-9219-4729-BC6C-34AD30B561AB}"/>
    <dgm:cxn modelId="{F2603F68-1513-4BB8-B464-0E89FCA4F815}" type="presOf" srcId="{6F942B15-D86D-4D3F-96E1-511196311D53}" destId="{526D8733-EC7B-41F8-A8DF-31F97943AFD4}" srcOrd="0" destOrd="0" presId="urn:microsoft.com/office/officeart/2011/layout/CircleProcess"/>
    <dgm:cxn modelId="{A22F414E-EF70-44F8-80C2-8D3C86C78F36}" type="presOf" srcId="{EA249660-A52A-403A-9D38-7B92AF4DCDA7}" destId="{80E5D909-35B8-4413-8877-7EC856427BBF}" srcOrd="1" destOrd="0" presId="urn:microsoft.com/office/officeart/2011/layout/CircleProcess"/>
    <dgm:cxn modelId="{797DFD6F-9A12-43F6-AFDD-801926CD233C}" srcId="{6F942B15-D86D-4D3F-96E1-511196311D53}" destId="{DBC06A9E-ECD6-42AE-B7E4-128F3062B8B6}" srcOrd="2" destOrd="0" parTransId="{0C8AD99A-0864-4932-AED6-51952E3FD566}" sibTransId="{AD6F9921-10D2-4806-82D4-D8677889DA16}"/>
    <dgm:cxn modelId="{656D1681-0B04-4E0B-9334-39FBA530D66A}" srcId="{6F942B15-D86D-4D3F-96E1-511196311D53}" destId="{4FF02A02-BC63-4A2D-B3F5-E9A17854B6DD}" srcOrd="3" destOrd="0" parTransId="{2EA33271-B2B0-4D5E-A159-54922522EF88}" sibTransId="{0B3273BC-B372-41FE-B018-20DD5F340FB2}"/>
    <dgm:cxn modelId="{0EE8A089-EB3D-4F5B-89F5-28E6039D6C31}" type="presOf" srcId="{9038B4DA-DCFF-4837-9286-DDE2EBFE6D9E}" destId="{FDA6732D-BD0B-41A7-AEA8-40D9B937B9A1}" srcOrd="0" destOrd="0" presId="urn:microsoft.com/office/officeart/2011/layout/CircleProcess"/>
    <dgm:cxn modelId="{E67068AF-4E89-450B-97AD-4DF498B8529C}" type="presOf" srcId="{4FF02A02-BC63-4A2D-B3F5-E9A17854B6DD}" destId="{FD6FB4EE-DE70-427C-90FB-4D161C1DD17E}" srcOrd="0" destOrd="0" presId="urn:microsoft.com/office/officeart/2011/layout/CircleProcess"/>
    <dgm:cxn modelId="{D9DA14C0-3A17-4921-9FB3-B7BD40C0F2FA}" type="presOf" srcId="{E5D67276-C931-407F-A8F0-035E0E9FC3E1}" destId="{A78DF188-0A06-43AB-BAED-437DCC53B98B}" srcOrd="1" destOrd="0" presId="urn:microsoft.com/office/officeart/2011/layout/CircleProcess"/>
    <dgm:cxn modelId="{F826F9FF-1FD1-4EA2-8208-AD8D60513349}" srcId="{6F942B15-D86D-4D3F-96E1-511196311D53}" destId="{EA249660-A52A-403A-9D38-7B92AF4DCDA7}" srcOrd="0" destOrd="0" parTransId="{2535E167-F8A3-4A59-99F1-19242E42A6D6}" sibTransId="{54FA3B50-F976-4064-94DE-444036110A37}"/>
    <dgm:cxn modelId="{8C3FFCFF-6F47-47AF-B4CF-899EB025BD40}" type="presOf" srcId="{DBC06A9E-ECD6-42AE-B7E4-128F3062B8B6}" destId="{AE0E50B2-7C77-4555-8D7C-06CB29E699E2}" srcOrd="1" destOrd="0" presId="urn:microsoft.com/office/officeart/2011/layout/CircleProcess"/>
    <dgm:cxn modelId="{617E0417-9937-43F1-9366-C7945577E817}" type="presParOf" srcId="{526D8733-EC7B-41F8-A8DF-31F97943AFD4}" destId="{481AD8CF-5007-4D8B-B08B-788524509657}" srcOrd="0" destOrd="0" presId="urn:microsoft.com/office/officeart/2011/layout/CircleProcess"/>
    <dgm:cxn modelId="{B473C1DB-76FD-47A6-B270-221F6FFA2C2A}" type="presParOf" srcId="{481AD8CF-5007-4D8B-B08B-788524509657}" destId="{F1ABFF94-7756-4B99-9516-292BC8E51479}" srcOrd="0" destOrd="0" presId="urn:microsoft.com/office/officeart/2011/layout/CircleProcess"/>
    <dgm:cxn modelId="{49A7FE46-A621-4A96-8DC1-1A9ACCC3C22E}" type="presParOf" srcId="{526D8733-EC7B-41F8-A8DF-31F97943AFD4}" destId="{1214A0AD-B834-422B-B05B-46CB12AC37C6}" srcOrd="1" destOrd="0" presId="urn:microsoft.com/office/officeart/2011/layout/CircleProcess"/>
    <dgm:cxn modelId="{F949D072-5BDD-47EF-AFC2-68C9040EBB98}" type="presParOf" srcId="{1214A0AD-B834-422B-B05B-46CB12AC37C6}" destId="{56A61EFD-59BA-46DB-839F-6FAA77A4B65A}" srcOrd="0" destOrd="0" presId="urn:microsoft.com/office/officeart/2011/layout/CircleProcess"/>
    <dgm:cxn modelId="{AF232624-FEC7-4830-8359-163D714EEB7F}" type="presParOf" srcId="{526D8733-EC7B-41F8-A8DF-31F97943AFD4}" destId="{A78DF188-0A06-43AB-BAED-437DCC53B98B}" srcOrd="2" destOrd="0" presId="urn:microsoft.com/office/officeart/2011/layout/CircleProcess"/>
    <dgm:cxn modelId="{CF79276E-1095-429B-A602-E4572D325F96}" type="presParOf" srcId="{526D8733-EC7B-41F8-A8DF-31F97943AFD4}" destId="{EB059676-44E2-4036-B5A0-6F26AADDD144}" srcOrd="3" destOrd="0" presId="urn:microsoft.com/office/officeart/2011/layout/CircleProcess"/>
    <dgm:cxn modelId="{6F1EDD44-EE32-4DA6-8F3A-4AF0AE0373A2}" type="presParOf" srcId="{EB059676-44E2-4036-B5A0-6F26AADDD144}" destId="{5BE1F523-7D00-4198-9F62-5465A707D54E}" srcOrd="0" destOrd="0" presId="urn:microsoft.com/office/officeart/2011/layout/CircleProcess"/>
    <dgm:cxn modelId="{20592B35-F45E-451C-BC23-8889A9C152F3}" type="presParOf" srcId="{526D8733-EC7B-41F8-A8DF-31F97943AFD4}" destId="{277E92E6-81F0-4115-99BA-9BE684B07C4C}" srcOrd="4" destOrd="0" presId="urn:microsoft.com/office/officeart/2011/layout/CircleProcess"/>
    <dgm:cxn modelId="{FD16F90B-424A-40BF-9DFE-DE3FAE77A779}" type="presParOf" srcId="{277E92E6-81F0-4115-99BA-9BE684B07C4C}" destId="{FD6FB4EE-DE70-427C-90FB-4D161C1DD17E}" srcOrd="0" destOrd="0" presId="urn:microsoft.com/office/officeart/2011/layout/CircleProcess"/>
    <dgm:cxn modelId="{78950C27-CD93-4AC6-9175-BC8AF66DBA35}" type="presParOf" srcId="{526D8733-EC7B-41F8-A8DF-31F97943AFD4}" destId="{63D27B3F-3D9F-43F1-B341-661C0124FADB}" srcOrd="5" destOrd="0" presId="urn:microsoft.com/office/officeart/2011/layout/CircleProcess"/>
    <dgm:cxn modelId="{6971E3BE-50E1-4643-8AD7-638F5E47580D}" type="presParOf" srcId="{526D8733-EC7B-41F8-A8DF-31F97943AFD4}" destId="{6EB5DD66-B716-48BD-AD7A-7EF2347FE3F9}" srcOrd="6" destOrd="0" presId="urn:microsoft.com/office/officeart/2011/layout/CircleProcess"/>
    <dgm:cxn modelId="{E13CEAED-DCC3-4242-908F-4B5127C03913}" type="presParOf" srcId="{6EB5DD66-B716-48BD-AD7A-7EF2347FE3F9}" destId="{1C606156-432E-4C2F-B69F-FB1EF0E02685}" srcOrd="0" destOrd="0" presId="urn:microsoft.com/office/officeart/2011/layout/CircleProcess"/>
    <dgm:cxn modelId="{216DAC2E-18DD-42F8-8E85-6E14699A10B7}" type="presParOf" srcId="{526D8733-EC7B-41F8-A8DF-31F97943AFD4}" destId="{5EC98F1D-5BAD-4F14-8FFD-16B051BA0F2B}" srcOrd="7" destOrd="0" presId="urn:microsoft.com/office/officeart/2011/layout/CircleProcess"/>
    <dgm:cxn modelId="{949A2537-18A2-4812-9251-4BD87414F14B}" type="presParOf" srcId="{5EC98F1D-5BAD-4F14-8FFD-16B051BA0F2B}" destId="{C1F2F3BD-34C9-4335-9B19-2A5FF9642F7B}" srcOrd="0" destOrd="0" presId="urn:microsoft.com/office/officeart/2011/layout/CircleProcess"/>
    <dgm:cxn modelId="{BBC43E35-8414-488E-B63A-A9600EEFC05B}" type="presParOf" srcId="{526D8733-EC7B-41F8-A8DF-31F97943AFD4}" destId="{AE0E50B2-7C77-4555-8D7C-06CB29E699E2}" srcOrd="8" destOrd="0" presId="urn:microsoft.com/office/officeart/2011/layout/CircleProcess"/>
    <dgm:cxn modelId="{8F9839C8-5675-444D-93A5-60B76D59BCC2}" type="presParOf" srcId="{526D8733-EC7B-41F8-A8DF-31F97943AFD4}" destId="{7B22AEC5-2DA7-4ACA-8453-C7552C6B5132}" srcOrd="9" destOrd="0" presId="urn:microsoft.com/office/officeart/2011/layout/CircleProcess"/>
    <dgm:cxn modelId="{20B70267-95E3-4AE6-B7B0-7F3B6E6BEB9D}" type="presParOf" srcId="{7B22AEC5-2DA7-4ACA-8453-C7552C6B5132}" destId="{37557569-5747-4E52-B6E1-1439D3953AF2}" srcOrd="0" destOrd="0" presId="urn:microsoft.com/office/officeart/2011/layout/CircleProcess"/>
    <dgm:cxn modelId="{8C39AD19-3F46-4608-B6DF-557DC3AE11F8}" type="presParOf" srcId="{526D8733-EC7B-41F8-A8DF-31F97943AFD4}" destId="{CBD6B11F-2E3D-4531-98B1-C2D4A4B235A6}" srcOrd="10" destOrd="0" presId="urn:microsoft.com/office/officeart/2011/layout/CircleProcess"/>
    <dgm:cxn modelId="{B7D62C2E-0A4C-4406-958A-00D8CDE8AC00}" type="presParOf" srcId="{CBD6B11F-2E3D-4531-98B1-C2D4A4B235A6}" destId="{FDA6732D-BD0B-41A7-AEA8-40D9B937B9A1}" srcOrd="0" destOrd="0" presId="urn:microsoft.com/office/officeart/2011/layout/CircleProcess"/>
    <dgm:cxn modelId="{CB0FFAD9-628A-415C-A636-2D7D8B798B0E}" type="presParOf" srcId="{526D8733-EC7B-41F8-A8DF-31F97943AFD4}" destId="{6F0BCBD6-2607-43DB-BF1C-7A88A2C4DE6A}" srcOrd="11" destOrd="0" presId="urn:microsoft.com/office/officeart/2011/layout/CircleProcess"/>
    <dgm:cxn modelId="{59EF4C7F-B55F-4B35-96E0-46394B93DBA4}" type="presParOf" srcId="{526D8733-EC7B-41F8-A8DF-31F97943AFD4}" destId="{7605DAA4-3289-4D90-8CDE-5D12B4F9688B}" srcOrd="12" destOrd="0" presId="urn:microsoft.com/office/officeart/2011/layout/CircleProcess"/>
    <dgm:cxn modelId="{581507A2-083D-45D4-B923-F9E35CB6A0B8}" type="presParOf" srcId="{7605DAA4-3289-4D90-8CDE-5D12B4F9688B}" destId="{429064BF-60C1-4BE6-BB13-7B8D65D7ACCF}" srcOrd="0" destOrd="0" presId="urn:microsoft.com/office/officeart/2011/layout/CircleProcess"/>
    <dgm:cxn modelId="{AE662396-EE9C-4E26-B877-1D74311F620F}" type="presParOf" srcId="{526D8733-EC7B-41F8-A8DF-31F97943AFD4}" destId="{CA507B0C-3789-4CD1-86D5-42EDE8AFA5CD}" srcOrd="13" destOrd="0" presId="urn:microsoft.com/office/officeart/2011/layout/CircleProcess"/>
    <dgm:cxn modelId="{9EB19549-67F5-4A38-903B-A18203BB7429}" type="presParOf" srcId="{CA507B0C-3789-4CD1-86D5-42EDE8AFA5CD}" destId="{DA9549A2-4029-4C4B-92D8-07435729A391}" srcOrd="0" destOrd="0" presId="urn:microsoft.com/office/officeart/2011/layout/CircleProcess"/>
    <dgm:cxn modelId="{ECE0D81D-AB06-4A0D-88AF-C7807298D7C4}" type="presParOf" srcId="{526D8733-EC7B-41F8-A8DF-31F97943AFD4}" destId="{80E5D909-35B8-4413-8877-7EC856427BBF}" srcOrd="14" destOrd="0" presId="urn:microsoft.com/office/officeart/2011/layout/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6B43B36-E4D3-4082-8569-407E745BEB6D}"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8A15B355-F3D5-454C-A5A8-2D0C4FD92C2D}">
      <dgm:prSet/>
      <dgm:spPr/>
      <dgm:t>
        <a:bodyPr/>
        <a:lstStyle/>
        <a:p>
          <a:pPr>
            <a:lnSpc>
              <a:spcPct val="100000"/>
            </a:lnSpc>
          </a:pPr>
          <a:r>
            <a:rPr lang="de-DE" baseline="0" dirty="0"/>
            <a:t>5G is a platform for Broadcasters and Content Providers with features including 5G broadcast, Public Warning and many others</a:t>
          </a:r>
          <a:endParaRPr lang="en-US" dirty="0"/>
        </a:p>
      </dgm:t>
    </dgm:pt>
    <dgm:pt modelId="{5315530C-433C-4410-BD02-2CFEE1C47439}" type="parTrans" cxnId="{426C9322-E6E9-4D23-9BB2-E8C7600C717F}">
      <dgm:prSet/>
      <dgm:spPr/>
      <dgm:t>
        <a:bodyPr/>
        <a:lstStyle/>
        <a:p>
          <a:endParaRPr lang="en-US"/>
        </a:p>
      </dgm:t>
    </dgm:pt>
    <dgm:pt modelId="{B9A331DC-2639-4A02-BE11-A56583E22645}" type="sibTrans" cxnId="{426C9322-E6E9-4D23-9BB2-E8C7600C717F}">
      <dgm:prSet/>
      <dgm:spPr/>
      <dgm:t>
        <a:bodyPr/>
        <a:lstStyle/>
        <a:p>
          <a:endParaRPr lang="en-US"/>
        </a:p>
      </dgm:t>
    </dgm:pt>
    <dgm:pt modelId="{9C9CF3EC-BB43-4F85-B59F-4830E672FAD1}">
      <dgm:prSet/>
      <dgm:spPr/>
      <dgm:t>
        <a:bodyPr/>
        <a:lstStyle/>
        <a:p>
          <a:pPr>
            <a:lnSpc>
              <a:spcPct val="100000"/>
            </a:lnSpc>
          </a:pPr>
          <a:r>
            <a:rPr lang="de-DE" baseline="0" dirty="0"/>
            <a:t>3GPP Standards are global and address billions of devices – from smart phones to many more verticals (automotive, IOT, etc.)</a:t>
          </a:r>
          <a:endParaRPr lang="en-US" dirty="0"/>
        </a:p>
      </dgm:t>
    </dgm:pt>
    <dgm:pt modelId="{264A4E62-E983-4ABA-B8C9-D199CEBF27E7}" type="parTrans" cxnId="{3CA0D27C-C2BD-4FDD-A43A-E5E6C3640EA2}">
      <dgm:prSet/>
      <dgm:spPr/>
      <dgm:t>
        <a:bodyPr/>
        <a:lstStyle/>
        <a:p>
          <a:endParaRPr lang="en-US"/>
        </a:p>
      </dgm:t>
    </dgm:pt>
    <dgm:pt modelId="{F20F8639-437E-493B-B1CE-1CCB251DCDCB}" type="sibTrans" cxnId="{3CA0D27C-C2BD-4FDD-A43A-E5E6C3640EA2}">
      <dgm:prSet/>
      <dgm:spPr/>
      <dgm:t>
        <a:bodyPr/>
        <a:lstStyle/>
        <a:p>
          <a:endParaRPr lang="en-US"/>
        </a:p>
      </dgm:t>
    </dgm:pt>
    <dgm:pt modelId="{F606214B-924F-4550-9A78-475E8AFA816F}">
      <dgm:prSet/>
      <dgm:spPr/>
      <dgm:t>
        <a:bodyPr/>
        <a:lstStyle/>
        <a:p>
          <a:pPr>
            <a:lnSpc>
              <a:spcPct val="100000"/>
            </a:lnSpc>
          </a:pPr>
          <a:r>
            <a:rPr lang="de-DE"/>
            <a:t>We need to integrate new media topics: Content Steering, CMCD/CMSD, Media over QUIC, etc.</a:t>
          </a:r>
          <a:endParaRPr lang="en-US" dirty="0"/>
        </a:p>
      </dgm:t>
    </dgm:pt>
    <dgm:pt modelId="{4BD0CAC7-A5FF-4886-A731-C11A07C3C02B}" type="parTrans" cxnId="{41900797-7F94-445A-AEED-0CEBABD74D74}">
      <dgm:prSet/>
      <dgm:spPr/>
      <dgm:t>
        <a:bodyPr/>
        <a:lstStyle/>
        <a:p>
          <a:endParaRPr lang="en-US"/>
        </a:p>
      </dgm:t>
    </dgm:pt>
    <dgm:pt modelId="{AD6825CF-BDA1-4F1C-BD17-6971A308BECC}" type="sibTrans" cxnId="{41900797-7F94-445A-AEED-0CEBABD74D74}">
      <dgm:prSet/>
      <dgm:spPr/>
      <dgm:t>
        <a:bodyPr/>
        <a:lstStyle/>
        <a:p>
          <a:endParaRPr lang="en-US"/>
        </a:p>
      </dgm:t>
    </dgm:pt>
    <dgm:pt modelId="{E6334E7C-28BD-4A0A-9FAF-91C50359C3C3}" type="pres">
      <dgm:prSet presAssocID="{16B43B36-E4D3-4082-8569-407E745BEB6D}" presName="root" presStyleCnt="0">
        <dgm:presLayoutVars>
          <dgm:dir/>
          <dgm:resizeHandles val="exact"/>
        </dgm:presLayoutVars>
      </dgm:prSet>
      <dgm:spPr/>
    </dgm:pt>
    <dgm:pt modelId="{7E2D344A-5638-47D1-9F4D-48AE0C40E81A}" type="pres">
      <dgm:prSet presAssocID="{8A15B355-F3D5-454C-A5A8-2D0C4FD92C2D}" presName="compNode" presStyleCnt="0"/>
      <dgm:spPr/>
    </dgm:pt>
    <dgm:pt modelId="{EACBDC07-598A-4C56-BAF8-8AE4837B086A}" type="pres">
      <dgm:prSet presAssocID="{8A15B355-F3D5-454C-A5A8-2D0C4FD92C2D}" presName="bgRect" presStyleLbl="bgShp" presStyleIdx="0" presStyleCnt="3"/>
      <dgm:spPr/>
    </dgm:pt>
    <dgm:pt modelId="{ADFA4A72-A277-4170-A39E-1B924B30FD2E}" type="pres">
      <dgm:prSet presAssocID="{8A15B355-F3D5-454C-A5A8-2D0C4FD92C2D}"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elevision"/>
        </a:ext>
      </dgm:extLst>
    </dgm:pt>
    <dgm:pt modelId="{F09B9A07-3B83-4050-956D-6998C5B60462}" type="pres">
      <dgm:prSet presAssocID="{8A15B355-F3D5-454C-A5A8-2D0C4FD92C2D}" presName="spaceRect" presStyleCnt="0"/>
      <dgm:spPr/>
    </dgm:pt>
    <dgm:pt modelId="{E0FD0E2C-7423-4379-A45D-77127BB0F9DF}" type="pres">
      <dgm:prSet presAssocID="{8A15B355-F3D5-454C-A5A8-2D0C4FD92C2D}" presName="parTx" presStyleLbl="revTx" presStyleIdx="0" presStyleCnt="3">
        <dgm:presLayoutVars>
          <dgm:chMax val="0"/>
          <dgm:chPref val="0"/>
        </dgm:presLayoutVars>
      </dgm:prSet>
      <dgm:spPr/>
    </dgm:pt>
    <dgm:pt modelId="{28225551-8455-40E7-BF9A-088568D87052}" type="pres">
      <dgm:prSet presAssocID="{B9A331DC-2639-4A02-BE11-A56583E22645}" presName="sibTrans" presStyleCnt="0"/>
      <dgm:spPr/>
    </dgm:pt>
    <dgm:pt modelId="{9B3F221D-0602-412E-AD47-C99CBFEDD932}" type="pres">
      <dgm:prSet presAssocID="{9C9CF3EC-BB43-4F85-B59F-4830E672FAD1}" presName="compNode" presStyleCnt="0"/>
      <dgm:spPr/>
    </dgm:pt>
    <dgm:pt modelId="{D732F6AA-A7A1-47AE-BD1F-D9F2A43CEB91}" type="pres">
      <dgm:prSet presAssocID="{9C9CF3EC-BB43-4F85-B59F-4830E672FAD1}" presName="bgRect" presStyleLbl="bgShp" presStyleIdx="1" presStyleCnt="3"/>
      <dgm:spPr/>
    </dgm:pt>
    <dgm:pt modelId="{3E1AD073-AEF7-44B4-96B1-574FF779DC64}" type="pres">
      <dgm:prSet presAssocID="{9C9CF3EC-BB43-4F85-B59F-4830E672FAD1}"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rojector screen"/>
        </a:ext>
      </dgm:extLst>
    </dgm:pt>
    <dgm:pt modelId="{08738AF4-CC2C-48AF-98B3-2F55C453A843}" type="pres">
      <dgm:prSet presAssocID="{9C9CF3EC-BB43-4F85-B59F-4830E672FAD1}" presName="spaceRect" presStyleCnt="0"/>
      <dgm:spPr/>
    </dgm:pt>
    <dgm:pt modelId="{68ACA96B-EBC2-4B6C-85BD-FBB117650934}" type="pres">
      <dgm:prSet presAssocID="{9C9CF3EC-BB43-4F85-B59F-4830E672FAD1}" presName="parTx" presStyleLbl="revTx" presStyleIdx="1" presStyleCnt="3">
        <dgm:presLayoutVars>
          <dgm:chMax val="0"/>
          <dgm:chPref val="0"/>
        </dgm:presLayoutVars>
      </dgm:prSet>
      <dgm:spPr/>
    </dgm:pt>
    <dgm:pt modelId="{BEE35EB5-26C3-4B22-9AEC-9D38191451D5}" type="pres">
      <dgm:prSet presAssocID="{F20F8639-437E-493B-B1CE-1CCB251DCDCB}" presName="sibTrans" presStyleCnt="0"/>
      <dgm:spPr/>
    </dgm:pt>
    <dgm:pt modelId="{0A7FF4C6-8908-4A99-8962-482A71018D32}" type="pres">
      <dgm:prSet presAssocID="{F606214B-924F-4550-9A78-475E8AFA816F}" presName="compNode" presStyleCnt="0"/>
      <dgm:spPr/>
    </dgm:pt>
    <dgm:pt modelId="{61E6B675-7331-423C-810C-59147D5B3826}" type="pres">
      <dgm:prSet presAssocID="{F606214B-924F-4550-9A78-475E8AFA816F}" presName="bgRect" presStyleLbl="bgShp" presStyleIdx="2" presStyleCnt="3"/>
      <dgm:spPr/>
    </dgm:pt>
    <dgm:pt modelId="{6D934A37-879F-43D7-9F01-B89735D19964}" type="pres">
      <dgm:prSet presAssocID="{F606214B-924F-4550-9A78-475E8AFA816F}"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ooks"/>
        </a:ext>
      </dgm:extLst>
    </dgm:pt>
    <dgm:pt modelId="{E08BA613-6B6F-4DE5-B08F-467E55318BE9}" type="pres">
      <dgm:prSet presAssocID="{F606214B-924F-4550-9A78-475E8AFA816F}" presName="spaceRect" presStyleCnt="0"/>
      <dgm:spPr/>
    </dgm:pt>
    <dgm:pt modelId="{97E8CF29-D3B5-44E4-8993-54AED8467FDE}" type="pres">
      <dgm:prSet presAssocID="{F606214B-924F-4550-9A78-475E8AFA816F}" presName="parTx" presStyleLbl="revTx" presStyleIdx="2" presStyleCnt="3">
        <dgm:presLayoutVars>
          <dgm:chMax val="0"/>
          <dgm:chPref val="0"/>
        </dgm:presLayoutVars>
      </dgm:prSet>
      <dgm:spPr/>
    </dgm:pt>
  </dgm:ptLst>
  <dgm:cxnLst>
    <dgm:cxn modelId="{426C9322-E6E9-4D23-9BB2-E8C7600C717F}" srcId="{16B43B36-E4D3-4082-8569-407E745BEB6D}" destId="{8A15B355-F3D5-454C-A5A8-2D0C4FD92C2D}" srcOrd="0" destOrd="0" parTransId="{5315530C-433C-4410-BD02-2CFEE1C47439}" sibTransId="{B9A331DC-2639-4A02-BE11-A56583E22645}"/>
    <dgm:cxn modelId="{6502AD34-D190-443D-B007-6AD7D7E51B1A}" type="presOf" srcId="{9C9CF3EC-BB43-4F85-B59F-4830E672FAD1}" destId="{68ACA96B-EBC2-4B6C-85BD-FBB117650934}" srcOrd="0" destOrd="0" presId="urn:microsoft.com/office/officeart/2018/2/layout/IconVerticalSolidList"/>
    <dgm:cxn modelId="{6CF98E54-C043-4AB4-A772-83DD66499C95}" type="presOf" srcId="{16B43B36-E4D3-4082-8569-407E745BEB6D}" destId="{E6334E7C-28BD-4A0A-9FAF-91C50359C3C3}" srcOrd="0" destOrd="0" presId="urn:microsoft.com/office/officeart/2018/2/layout/IconVerticalSolidList"/>
    <dgm:cxn modelId="{C9ECB47B-0586-42D9-A80B-28961D8349E6}" type="presOf" srcId="{F606214B-924F-4550-9A78-475E8AFA816F}" destId="{97E8CF29-D3B5-44E4-8993-54AED8467FDE}" srcOrd="0" destOrd="0" presId="urn:microsoft.com/office/officeart/2018/2/layout/IconVerticalSolidList"/>
    <dgm:cxn modelId="{3CA0D27C-C2BD-4FDD-A43A-E5E6C3640EA2}" srcId="{16B43B36-E4D3-4082-8569-407E745BEB6D}" destId="{9C9CF3EC-BB43-4F85-B59F-4830E672FAD1}" srcOrd="1" destOrd="0" parTransId="{264A4E62-E983-4ABA-B8C9-D199CEBF27E7}" sibTransId="{F20F8639-437E-493B-B1CE-1CCB251DCDCB}"/>
    <dgm:cxn modelId="{41900797-7F94-445A-AEED-0CEBABD74D74}" srcId="{16B43B36-E4D3-4082-8569-407E745BEB6D}" destId="{F606214B-924F-4550-9A78-475E8AFA816F}" srcOrd="2" destOrd="0" parTransId="{4BD0CAC7-A5FF-4886-A731-C11A07C3C02B}" sibTransId="{AD6825CF-BDA1-4F1C-BD17-6971A308BECC}"/>
    <dgm:cxn modelId="{278487A0-AC11-4A9B-B1C6-6EF5EF329458}" type="presOf" srcId="{8A15B355-F3D5-454C-A5A8-2D0C4FD92C2D}" destId="{E0FD0E2C-7423-4379-A45D-77127BB0F9DF}" srcOrd="0" destOrd="0" presId="urn:microsoft.com/office/officeart/2018/2/layout/IconVerticalSolidList"/>
    <dgm:cxn modelId="{0A7B36B9-8CFA-4999-B321-0A70FFBCA95F}" type="presParOf" srcId="{E6334E7C-28BD-4A0A-9FAF-91C50359C3C3}" destId="{7E2D344A-5638-47D1-9F4D-48AE0C40E81A}" srcOrd="0" destOrd="0" presId="urn:microsoft.com/office/officeart/2018/2/layout/IconVerticalSolidList"/>
    <dgm:cxn modelId="{35594A51-CEAD-4BEF-BB2C-63FBBD8445C6}" type="presParOf" srcId="{7E2D344A-5638-47D1-9F4D-48AE0C40E81A}" destId="{EACBDC07-598A-4C56-BAF8-8AE4837B086A}" srcOrd="0" destOrd="0" presId="urn:microsoft.com/office/officeart/2018/2/layout/IconVerticalSolidList"/>
    <dgm:cxn modelId="{866C464B-10AB-4689-A061-EF50D9EAA54D}" type="presParOf" srcId="{7E2D344A-5638-47D1-9F4D-48AE0C40E81A}" destId="{ADFA4A72-A277-4170-A39E-1B924B30FD2E}" srcOrd="1" destOrd="0" presId="urn:microsoft.com/office/officeart/2018/2/layout/IconVerticalSolidList"/>
    <dgm:cxn modelId="{664F424C-1B81-4A34-9168-21F153D3781C}" type="presParOf" srcId="{7E2D344A-5638-47D1-9F4D-48AE0C40E81A}" destId="{F09B9A07-3B83-4050-956D-6998C5B60462}" srcOrd="2" destOrd="0" presId="urn:microsoft.com/office/officeart/2018/2/layout/IconVerticalSolidList"/>
    <dgm:cxn modelId="{376E5BE3-121D-4BD3-8167-0FA02C2A4BD1}" type="presParOf" srcId="{7E2D344A-5638-47D1-9F4D-48AE0C40E81A}" destId="{E0FD0E2C-7423-4379-A45D-77127BB0F9DF}" srcOrd="3" destOrd="0" presId="urn:microsoft.com/office/officeart/2018/2/layout/IconVerticalSolidList"/>
    <dgm:cxn modelId="{96217C9D-4474-440C-845E-EEEDEAD568D8}" type="presParOf" srcId="{E6334E7C-28BD-4A0A-9FAF-91C50359C3C3}" destId="{28225551-8455-40E7-BF9A-088568D87052}" srcOrd="1" destOrd="0" presId="urn:microsoft.com/office/officeart/2018/2/layout/IconVerticalSolidList"/>
    <dgm:cxn modelId="{50329D0D-20FE-4A53-87A1-6D63E1A98C9F}" type="presParOf" srcId="{E6334E7C-28BD-4A0A-9FAF-91C50359C3C3}" destId="{9B3F221D-0602-412E-AD47-C99CBFEDD932}" srcOrd="2" destOrd="0" presId="urn:microsoft.com/office/officeart/2018/2/layout/IconVerticalSolidList"/>
    <dgm:cxn modelId="{D7D97A6F-6605-4020-A829-8CB520596769}" type="presParOf" srcId="{9B3F221D-0602-412E-AD47-C99CBFEDD932}" destId="{D732F6AA-A7A1-47AE-BD1F-D9F2A43CEB91}" srcOrd="0" destOrd="0" presId="urn:microsoft.com/office/officeart/2018/2/layout/IconVerticalSolidList"/>
    <dgm:cxn modelId="{911AB991-42B4-4B6C-A346-E11A1037FA06}" type="presParOf" srcId="{9B3F221D-0602-412E-AD47-C99CBFEDD932}" destId="{3E1AD073-AEF7-44B4-96B1-574FF779DC64}" srcOrd="1" destOrd="0" presId="urn:microsoft.com/office/officeart/2018/2/layout/IconVerticalSolidList"/>
    <dgm:cxn modelId="{218ABFBC-1FCF-49F1-B62C-103503F92F7B}" type="presParOf" srcId="{9B3F221D-0602-412E-AD47-C99CBFEDD932}" destId="{08738AF4-CC2C-48AF-98B3-2F55C453A843}" srcOrd="2" destOrd="0" presId="urn:microsoft.com/office/officeart/2018/2/layout/IconVerticalSolidList"/>
    <dgm:cxn modelId="{83FA0FB3-46D8-40BD-822F-1F03584F0CED}" type="presParOf" srcId="{9B3F221D-0602-412E-AD47-C99CBFEDD932}" destId="{68ACA96B-EBC2-4B6C-85BD-FBB117650934}" srcOrd="3" destOrd="0" presId="urn:microsoft.com/office/officeart/2018/2/layout/IconVerticalSolidList"/>
    <dgm:cxn modelId="{BEDAC7E0-64FE-429E-A99D-337E1803A92A}" type="presParOf" srcId="{E6334E7C-28BD-4A0A-9FAF-91C50359C3C3}" destId="{BEE35EB5-26C3-4B22-9AEC-9D38191451D5}" srcOrd="3" destOrd="0" presId="urn:microsoft.com/office/officeart/2018/2/layout/IconVerticalSolidList"/>
    <dgm:cxn modelId="{EF2D8774-D150-407B-824F-B7AF69DB8BB4}" type="presParOf" srcId="{E6334E7C-28BD-4A0A-9FAF-91C50359C3C3}" destId="{0A7FF4C6-8908-4A99-8962-482A71018D32}" srcOrd="4" destOrd="0" presId="urn:microsoft.com/office/officeart/2018/2/layout/IconVerticalSolidList"/>
    <dgm:cxn modelId="{09A7A91B-B6D6-4AAC-92A5-0CF489465F8E}" type="presParOf" srcId="{0A7FF4C6-8908-4A99-8962-482A71018D32}" destId="{61E6B675-7331-423C-810C-59147D5B3826}" srcOrd="0" destOrd="0" presId="urn:microsoft.com/office/officeart/2018/2/layout/IconVerticalSolidList"/>
    <dgm:cxn modelId="{C327BD81-5650-46C1-91FA-01A63A2D0EDE}" type="presParOf" srcId="{0A7FF4C6-8908-4A99-8962-482A71018D32}" destId="{6D934A37-879F-43D7-9F01-B89735D19964}" srcOrd="1" destOrd="0" presId="urn:microsoft.com/office/officeart/2018/2/layout/IconVerticalSolidList"/>
    <dgm:cxn modelId="{CFEACB98-553B-4AF1-AE70-C9ABB9E5E701}" type="presParOf" srcId="{0A7FF4C6-8908-4A99-8962-482A71018D32}" destId="{E08BA613-6B6F-4DE5-B08F-467E55318BE9}" srcOrd="2" destOrd="0" presId="urn:microsoft.com/office/officeart/2018/2/layout/IconVerticalSolidList"/>
    <dgm:cxn modelId="{75D5A0D0-63D3-49BD-9B47-F5A71DF9AFF7}" type="presParOf" srcId="{0A7FF4C6-8908-4A99-8962-482A71018D32}" destId="{97E8CF29-D3B5-44E4-8993-54AED8467FDE}"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EFCCAE-5343-4634-9079-673648F83ABD}">
      <dsp:nvSpPr>
        <dsp:cNvPr id="0" name=""/>
        <dsp:cNvSpPr/>
      </dsp:nvSpPr>
      <dsp:spPr>
        <a:xfrm>
          <a:off x="0" y="4985446"/>
          <a:ext cx="11296756"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9989214-9059-4922-B3C1-D4FE10E139F1}">
      <dsp:nvSpPr>
        <dsp:cNvPr id="0" name=""/>
        <dsp:cNvSpPr/>
      </dsp:nvSpPr>
      <dsp:spPr>
        <a:xfrm>
          <a:off x="0" y="4568384"/>
          <a:ext cx="11296756"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49A427D-3D04-4901-AD06-E26DFAF976F8}">
      <dsp:nvSpPr>
        <dsp:cNvPr id="0" name=""/>
        <dsp:cNvSpPr/>
      </dsp:nvSpPr>
      <dsp:spPr>
        <a:xfrm>
          <a:off x="0" y="4151322"/>
          <a:ext cx="11296756"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A9994F9-8A31-4DAD-99C3-22EF3EA599FE}">
      <dsp:nvSpPr>
        <dsp:cNvPr id="0" name=""/>
        <dsp:cNvSpPr/>
      </dsp:nvSpPr>
      <dsp:spPr>
        <a:xfrm>
          <a:off x="0" y="3734260"/>
          <a:ext cx="11296756"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9E704B4-3E3D-42CF-9AFA-132729C1149D}">
      <dsp:nvSpPr>
        <dsp:cNvPr id="0" name=""/>
        <dsp:cNvSpPr/>
      </dsp:nvSpPr>
      <dsp:spPr>
        <a:xfrm>
          <a:off x="0" y="3317198"/>
          <a:ext cx="11296756"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F14CD2F-D3D6-41E7-9ACF-B64E8B978FCF}">
      <dsp:nvSpPr>
        <dsp:cNvPr id="0" name=""/>
        <dsp:cNvSpPr/>
      </dsp:nvSpPr>
      <dsp:spPr>
        <a:xfrm>
          <a:off x="0" y="2900136"/>
          <a:ext cx="11296756"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9298C1-4C5F-4A35-92A3-5D528AC54929}">
      <dsp:nvSpPr>
        <dsp:cNvPr id="0" name=""/>
        <dsp:cNvSpPr/>
      </dsp:nvSpPr>
      <dsp:spPr>
        <a:xfrm>
          <a:off x="0" y="2483074"/>
          <a:ext cx="11296756"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94B7224-DD26-445B-B783-3C3F73E1D554}">
      <dsp:nvSpPr>
        <dsp:cNvPr id="0" name=""/>
        <dsp:cNvSpPr/>
      </dsp:nvSpPr>
      <dsp:spPr>
        <a:xfrm>
          <a:off x="0" y="2066013"/>
          <a:ext cx="11296756"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49C792-9896-4A78-8D15-C950178C870B}">
      <dsp:nvSpPr>
        <dsp:cNvPr id="0" name=""/>
        <dsp:cNvSpPr/>
      </dsp:nvSpPr>
      <dsp:spPr>
        <a:xfrm>
          <a:off x="0" y="1648951"/>
          <a:ext cx="11296756"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0AB94EF-9692-45CF-A8EB-9F716DB2EB60}">
      <dsp:nvSpPr>
        <dsp:cNvPr id="0" name=""/>
        <dsp:cNvSpPr/>
      </dsp:nvSpPr>
      <dsp:spPr>
        <a:xfrm>
          <a:off x="0" y="1231889"/>
          <a:ext cx="11296756"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3989113-9410-4C7A-99BC-6967CBBB82F6}">
      <dsp:nvSpPr>
        <dsp:cNvPr id="0" name=""/>
        <dsp:cNvSpPr/>
      </dsp:nvSpPr>
      <dsp:spPr>
        <a:xfrm>
          <a:off x="0" y="814827"/>
          <a:ext cx="11296756"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2E1666C-3896-475A-85D9-41B1CDA9A48D}">
      <dsp:nvSpPr>
        <dsp:cNvPr id="0" name=""/>
        <dsp:cNvSpPr/>
      </dsp:nvSpPr>
      <dsp:spPr>
        <a:xfrm>
          <a:off x="0" y="397765"/>
          <a:ext cx="11296756"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793082E-7BF5-44CA-8C57-586177557352}">
      <dsp:nvSpPr>
        <dsp:cNvPr id="0" name=""/>
        <dsp:cNvSpPr/>
      </dsp:nvSpPr>
      <dsp:spPr>
        <a:xfrm>
          <a:off x="2937156" y="563"/>
          <a:ext cx="8359600" cy="3972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b" anchorCtr="0">
          <a:noAutofit/>
        </a:bodyPr>
        <a:lstStyle/>
        <a:p>
          <a:pPr marL="0" lvl="0" indent="0" algn="l" defTabSz="355600">
            <a:lnSpc>
              <a:spcPct val="90000"/>
            </a:lnSpc>
            <a:spcBef>
              <a:spcPct val="0"/>
            </a:spcBef>
            <a:spcAft>
              <a:spcPct val="35000"/>
            </a:spcAft>
            <a:buFont typeface="+mj-lt"/>
            <a:buNone/>
          </a:pPr>
          <a:r>
            <a:rPr lang="en-US" sz="800" kern="1200" dirty="0"/>
            <a:t>this functionality is needed for media production services, but also for contributing user generated media to operator and third-party services. Different collaboration scenarios between the MNO and the service provider are addressed in an updated specification – bringing uplink streaming on par with downlink streaming. </a:t>
          </a:r>
        </a:p>
      </dsp:txBody>
      <dsp:txXfrm>
        <a:off x="2937156" y="563"/>
        <a:ext cx="8359600" cy="397201"/>
      </dsp:txXfrm>
    </dsp:sp>
    <dsp:sp modelId="{CD908A13-9CBE-43B9-91EF-E82519C7905E}">
      <dsp:nvSpPr>
        <dsp:cNvPr id="0" name=""/>
        <dsp:cNvSpPr/>
      </dsp:nvSpPr>
      <dsp:spPr>
        <a:xfrm>
          <a:off x="0" y="563"/>
          <a:ext cx="2937156" cy="397201"/>
        </a:xfrm>
        <a:prstGeom prst="round2SameRect">
          <a:avLst>
            <a:gd name="adj1" fmla="val 16670"/>
            <a:gd name="adj2" fmla="val 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Font typeface="+mj-lt"/>
            <a:buNone/>
          </a:pPr>
          <a:r>
            <a:rPr lang="en-US" sz="1200" kern="1200" dirty="0"/>
            <a:t>Consistent support for uplink streaming</a:t>
          </a:r>
        </a:p>
      </dsp:txBody>
      <dsp:txXfrm>
        <a:off x="19393" y="19956"/>
        <a:ext cx="2898370" cy="377808"/>
      </dsp:txXfrm>
    </dsp:sp>
    <dsp:sp modelId="{BF0B7C26-2B75-4A49-83E0-06B6B3A31DBA}">
      <dsp:nvSpPr>
        <dsp:cNvPr id="0" name=""/>
        <dsp:cNvSpPr/>
      </dsp:nvSpPr>
      <dsp:spPr>
        <a:xfrm>
          <a:off x="2937156" y="417625"/>
          <a:ext cx="8359600" cy="3972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b" anchorCtr="0">
          <a:noAutofit/>
        </a:bodyPr>
        <a:lstStyle/>
        <a:p>
          <a:pPr marL="0" lvl="0" indent="0" algn="l" defTabSz="355600">
            <a:lnSpc>
              <a:spcPct val="90000"/>
            </a:lnSpc>
            <a:spcBef>
              <a:spcPct val="0"/>
            </a:spcBef>
            <a:spcAft>
              <a:spcPct val="35000"/>
            </a:spcAft>
            <a:buFont typeface="+mj-lt"/>
            <a:buNone/>
          </a:pPr>
          <a:r>
            <a:rPr lang="en-US" sz="800" kern="1200" dirty="0"/>
            <a:t>is of crucial support to meet the TV industry needs in order to bring 5G on par with other distribution means.  Live TV services are characterized by at least the following aspects: (1) scalability (in terms of concurrent users), (2) consistent quality, (3) high bandwidth requirements, (4) target latency constraints, and advanced TV Experiences. Primarily, updated DASH tools, </a:t>
          </a:r>
          <a:r>
            <a:rPr lang="en-US" sz="800" kern="1200" dirty="0" err="1"/>
            <a:t>QoE</a:t>
          </a:r>
          <a:r>
            <a:rPr lang="en-US" sz="800" kern="1200" dirty="0"/>
            <a:t> monitoring and QoS support for low-latency in 5G media streaming are specified in order to meet the requirements defined in TR 26.804.</a:t>
          </a:r>
        </a:p>
      </dsp:txBody>
      <dsp:txXfrm>
        <a:off x="2937156" y="417625"/>
        <a:ext cx="8359600" cy="397201"/>
      </dsp:txXfrm>
    </dsp:sp>
    <dsp:sp modelId="{69EC878F-5DA4-474B-9B60-78DB992FD31A}">
      <dsp:nvSpPr>
        <dsp:cNvPr id="0" name=""/>
        <dsp:cNvSpPr/>
      </dsp:nvSpPr>
      <dsp:spPr>
        <a:xfrm>
          <a:off x="0" y="417625"/>
          <a:ext cx="2937156" cy="397201"/>
        </a:xfrm>
        <a:prstGeom prst="round2SameRect">
          <a:avLst>
            <a:gd name="adj1" fmla="val 16670"/>
            <a:gd name="adj2" fmla="val 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Font typeface="+mj-lt"/>
            <a:buNone/>
          </a:pPr>
          <a:r>
            <a:rPr lang="en-US" sz="1200" kern="1200" dirty="0"/>
            <a:t>End-to-end low latency live streaming with dynamic policies</a:t>
          </a:r>
        </a:p>
      </dsp:txBody>
      <dsp:txXfrm>
        <a:off x="19393" y="437018"/>
        <a:ext cx="2898370" cy="377808"/>
      </dsp:txXfrm>
    </dsp:sp>
    <dsp:sp modelId="{FDF86A01-FA92-4F1D-8FA7-7E6397249DF6}">
      <dsp:nvSpPr>
        <dsp:cNvPr id="0" name=""/>
        <dsp:cNvSpPr/>
      </dsp:nvSpPr>
      <dsp:spPr>
        <a:xfrm>
          <a:off x="2937156" y="834687"/>
          <a:ext cx="8359600" cy="3972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b" anchorCtr="0">
          <a:noAutofit/>
        </a:bodyPr>
        <a:lstStyle/>
        <a:p>
          <a:pPr marL="0" lvl="0" indent="0" algn="l" defTabSz="355600">
            <a:lnSpc>
              <a:spcPct val="90000"/>
            </a:lnSpc>
            <a:spcBef>
              <a:spcPct val="0"/>
            </a:spcBef>
            <a:spcAft>
              <a:spcPct val="35000"/>
            </a:spcAft>
            <a:buFont typeface="+mj-lt"/>
            <a:buNone/>
          </a:pPr>
          <a:r>
            <a:rPr lang="en-US" sz="800" kern="1200" dirty="0"/>
            <a:t> This functionality is expected to allow scaling media services using multicast and point-to-multipoint distribution within the operators network.</a:t>
          </a:r>
        </a:p>
      </dsp:txBody>
      <dsp:txXfrm>
        <a:off x="2937156" y="834687"/>
        <a:ext cx="8359600" cy="397201"/>
      </dsp:txXfrm>
    </dsp:sp>
    <dsp:sp modelId="{65983407-58CF-45AC-A8BC-6E2F7308B779}">
      <dsp:nvSpPr>
        <dsp:cNvPr id="0" name=""/>
        <dsp:cNvSpPr/>
      </dsp:nvSpPr>
      <dsp:spPr>
        <a:xfrm>
          <a:off x="0" y="834687"/>
          <a:ext cx="2937156" cy="397201"/>
        </a:xfrm>
        <a:prstGeom prst="round2SameRect">
          <a:avLst>
            <a:gd name="adj1" fmla="val 16670"/>
            <a:gd name="adj2" fmla="val 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Font typeface="+mj-lt"/>
            <a:buNone/>
          </a:pPr>
          <a:r>
            <a:rPr lang="en-US" sz="1200" kern="1200" dirty="0"/>
            <a:t>5GMS over MBS and 5GMS hybrid unicast/MBS services.</a:t>
          </a:r>
        </a:p>
      </dsp:txBody>
      <dsp:txXfrm>
        <a:off x="19393" y="854080"/>
        <a:ext cx="2898370" cy="377808"/>
      </dsp:txXfrm>
    </dsp:sp>
    <dsp:sp modelId="{18298DB2-199D-46F2-8CB5-081E1DAC1DDF}">
      <dsp:nvSpPr>
        <dsp:cNvPr id="0" name=""/>
        <dsp:cNvSpPr/>
      </dsp:nvSpPr>
      <dsp:spPr>
        <a:xfrm>
          <a:off x="2937156" y="1251749"/>
          <a:ext cx="8359600" cy="3972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b" anchorCtr="0">
          <a:noAutofit/>
        </a:bodyPr>
        <a:lstStyle/>
        <a:p>
          <a:pPr marL="0" lvl="0" indent="0" algn="l" defTabSz="355600">
            <a:lnSpc>
              <a:spcPct val="90000"/>
            </a:lnSpc>
            <a:spcBef>
              <a:spcPct val="0"/>
            </a:spcBef>
            <a:spcAft>
              <a:spcPct val="35000"/>
            </a:spcAft>
            <a:buFont typeface="+mj-lt"/>
            <a:buNone/>
          </a:pPr>
          <a:r>
            <a:rPr lang="en-US" sz="800" kern="1200" dirty="0"/>
            <a:t>Based on development in CTA WAVE in context of DASH/HLS interop specification in CTA-5005, it was identified that the same media service may be available in multiple formats, and 5GMS media is expected to offer the same service with different entry points in order for the device to select the service based on its capabilities, for example using a DASH player, or and HLS player, or using a progressive download system.</a:t>
          </a:r>
        </a:p>
      </dsp:txBody>
      <dsp:txXfrm>
        <a:off x="2937156" y="1251749"/>
        <a:ext cx="8359600" cy="397201"/>
      </dsp:txXfrm>
    </dsp:sp>
    <dsp:sp modelId="{3635CF3A-CCC7-4842-80F5-405A1C2DAC04}">
      <dsp:nvSpPr>
        <dsp:cNvPr id="0" name=""/>
        <dsp:cNvSpPr/>
      </dsp:nvSpPr>
      <dsp:spPr>
        <a:xfrm>
          <a:off x="0" y="1251749"/>
          <a:ext cx="2937156" cy="397201"/>
        </a:xfrm>
        <a:prstGeom prst="round2SameRect">
          <a:avLst>
            <a:gd name="adj1" fmla="val 16670"/>
            <a:gd name="adj2" fmla="val 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Font typeface="+mj-lt"/>
            <a:buNone/>
          </a:pPr>
          <a:r>
            <a:rPr lang="de-DE" sz="1200" kern="1200" dirty="0"/>
            <a:t>Multiple Service Entry Points</a:t>
          </a:r>
          <a:endParaRPr lang="en-US" sz="1200" kern="1200" dirty="0"/>
        </a:p>
      </dsp:txBody>
      <dsp:txXfrm>
        <a:off x="19393" y="1271142"/>
        <a:ext cx="2898370" cy="377808"/>
      </dsp:txXfrm>
    </dsp:sp>
    <dsp:sp modelId="{6353E38F-5DB1-4962-85E8-34B4F6D351CC}">
      <dsp:nvSpPr>
        <dsp:cNvPr id="0" name=""/>
        <dsp:cNvSpPr/>
      </dsp:nvSpPr>
      <dsp:spPr>
        <a:xfrm>
          <a:off x="2937156" y="1668811"/>
          <a:ext cx="8359600" cy="3972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b" anchorCtr="0">
          <a:noAutofit/>
        </a:bodyPr>
        <a:lstStyle/>
        <a:p>
          <a:pPr marL="0" lvl="0" indent="0" algn="l" defTabSz="355600">
            <a:lnSpc>
              <a:spcPct val="90000"/>
            </a:lnSpc>
            <a:spcBef>
              <a:spcPct val="0"/>
            </a:spcBef>
            <a:spcAft>
              <a:spcPct val="35000"/>
            </a:spcAft>
            <a:buFont typeface="+mj-lt"/>
            <a:buNone/>
          </a:pPr>
          <a:r>
            <a:rPr lang="en-US" sz="800" kern="1200" dirty="0"/>
            <a:t>The 5G System offers different solutions for traffic identification and traffic detection. Traffic identification is essential so that the 5G System can detect application flows to which, for instance, an appropriate Policy and Charging Rule (PCC) is applied. 5GMS is extended to support the configuration of </a:t>
          </a:r>
          <a:r>
            <a:rPr lang="en-US" sz="800" kern="1200" dirty="0" err="1"/>
            <a:t>ToS</a:t>
          </a:r>
          <a:r>
            <a:rPr lang="en-US" sz="800" kern="1200" dirty="0"/>
            <a:t> values for the identification of traffic associated with a Dynamic Policy. and study use-cases with IPsec and the usage of the security parameter index for traffic identification.</a:t>
          </a:r>
        </a:p>
      </dsp:txBody>
      <dsp:txXfrm>
        <a:off x="2937156" y="1668811"/>
        <a:ext cx="8359600" cy="397201"/>
      </dsp:txXfrm>
    </dsp:sp>
    <dsp:sp modelId="{63B83CC2-9FBF-46D3-BBE1-6D5F86A4F09E}">
      <dsp:nvSpPr>
        <dsp:cNvPr id="0" name=""/>
        <dsp:cNvSpPr/>
      </dsp:nvSpPr>
      <dsp:spPr>
        <a:xfrm>
          <a:off x="0" y="1668811"/>
          <a:ext cx="2937156" cy="397201"/>
        </a:xfrm>
        <a:prstGeom prst="round2SameRect">
          <a:avLst>
            <a:gd name="adj1" fmla="val 16670"/>
            <a:gd name="adj2" fmla="val 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Font typeface="+mj-lt"/>
            <a:buNone/>
          </a:pPr>
          <a:r>
            <a:rPr lang="de-DE" sz="1200" kern="1200" dirty="0"/>
            <a:t>Traffic Identification</a:t>
          </a:r>
          <a:endParaRPr lang="en-US" sz="1200" kern="1200" dirty="0"/>
        </a:p>
      </dsp:txBody>
      <dsp:txXfrm>
        <a:off x="19393" y="1688204"/>
        <a:ext cx="2898370" cy="377808"/>
      </dsp:txXfrm>
    </dsp:sp>
    <dsp:sp modelId="{62A7048C-AA6F-4939-8E2F-298A930B2504}">
      <dsp:nvSpPr>
        <dsp:cNvPr id="0" name=""/>
        <dsp:cNvSpPr/>
      </dsp:nvSpPr>
      <dsp:spPr>
        <a:xfrm>
          <a:off x="2937156" y="2085873"/>
          <a:ext cx="8359600" cy="3972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b" anchorCtr="0">
          <a:noAutofit/>
        </a:bodyPr>
        <a:lstStyle/>
        <a:p>
          <a:pPr marL="0" lvl="0" indent="0" algn="l" defTabSz="355600">
            <a:lnSpc>
              <a:spcPct val="90000"/>
            </a:lnSpc>
            <a:spcBef>
              <a:spcPct val="0"/>
            </a:spcBef>
            <a:spcAft>
              <a:spcPct val="35000"/>
            </a:spcAft>
            <a:buFont typeface="+mj-lt"/>
            <a:buNone/>
          </a:pPr>
          <a:r>
            <a:rPr lang="en-US" sz="800" kern="1200" dirty="0"/>
            <a:t>The Quick UDP Internet Connection (QUIC) [43] and HTTP/3 protocols are among the most recent developments in the IETF, with the goal of combining flexibility, extensibility, and performance to web applications. The 5GMS specifications are updated to allow the use of HTTP/3 at relevant reference points in the 5GMS architecture.</a:t>
          </a:r>
        </a:p>
      </dsp:txBody>
      <dsp:txXfrm>
        <a:off x="2937156" y="2085873"/>
        <a:ext cx="8359600" cy="397201"/>
      </dsp:txXfrm>
    </dsp:sp>
    <dsp:sp modelId="{75407D56-996F-410F-9392-4ADA42CDB52F}">
      <dsp:nvSpPr>
        <dsp:cNvPr id="0" name=""/>
        <dsp:cNvSpPr/>
      </dsp:nvSpPr>
      <dsp:spPr>
        <a:xfrm>
          <a:off x="0" y="2085873"/>
          <a:ext cx="2937156" cy="397201"/>
        </a:xfrm>
        <a:prstGeom prst="round2SameRect">
          <a:avLst>
            <a:gd name="adj1" fmla="val 16670"/>
            <a:gd name="adj2" fmla="val 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Font typeface="+mj-lt"/>
            <a:buNone/>
          </a:pPr>
          <a:r>
            <a:rPr lang="de-DE" sz="1200" kern="1200" dirty="0"/>
            <a:t>QUIC and HTTP/3</a:t>
          </a:r>
          <a:endParaRPr lang="en-US" sz="1200" kern="1200" dirty="0"/>
        </a:p>
      </dsp:txBody>
      <dsp:txXfrm>
        <a:off x="19393" y="2105266"/>
        <a:ext cx="2898370" cy="377808"/>
      </dsp:txXfrm>
    </dsp:sp>
    <dsp:sp modelId="{221B2710-C3D9-4AC0-8765-080FCC377026}">
      <dsp:nvSpPr>
        <dsp:cNvPr id="0" name=""/>
        <dsp:cNvSpPr/>
      </dsp:nvSpPr>
      <dsp:spPr>
        <a:xfrm>
          <a:off x="2937156" y="2502935"/>
          <a:ext cx="8359600" cy="3972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b" anchorCtr="0">
          <a:noAutofit/>
        </a:bodyPr>
        <a:lstStyle/>
        <a:p>
          <a:pPr marL="0" lvl="0" indent="0" algn="l" defTabSz="355600">
            <a:lnSpc>
              <a:spcPct val="90000"/>
            </a:lnSpc>
            <a:spcBef>
              <a:spcPct val="0"/>
            </a:spcBef>
            <a:spcAft>
              <a:spcPct val="35000"/>
            </a:spcAft>
            <a:buFont typeface="+mj-lt"/>
            <a:buNone/>
          </a:pPr>
          <a:r>
            <a:rPr lang="en-US" sz="800" kern="1200" dirty="0"/>
            <a:t>enables mobile network operators to incentivize the offloading of traffic into off-peak hours with the aim of reducing network congestion during peak hours. Applications may register their interest in receiving content using BDT.  The 5GMS specifications will be updated with the necessary parameter extensions to the M1, M5, and M6 reference points to provide access to BDT.</a:t>
          </a:r>
        </a:p>
      </dsp:txBody>
      <dsp:txXfrm>
        <a:off x="2937156" y="2502935"/>
        <a:ext cx="8359600" cy="397201"/>
      </dsp:txXfrm>
    </dsp:sp>
    <dsp:sp modelId="{75D8FB02-041E-4E50-908B-9A033D2BEA8D}">
      <dsp:nvSpPr>
        <dsp:cNvPr id="0" name=""/>
        <dsp:cNvSpPr/>
      </dsp:nvSpPr>
      <dsp:spPr>
        <a:xfrm>
          <a:off x="0" y="2502935"/>
          <a:ext cx="2937156" cy="397201"/>
        </a:xfrm>
        <a:prstGeom prst="round2SameRect">
          <a:avLst>
            <a:gd name="adj1" fmla="val 16670"/>
            <a:gd name="adj2" fmla="val 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Font typeface="+mj-lt"/>
            <a:buNone/>
          </a:pPr>
          <a:r>
            <a:rPr lang="en-US" sz="1200" kern="1200" dirty="0"/>
            <a:t>Background data transfer (BDT)</a:t>
          </a:r>
        </a:p>
      </dsp:txBody>
      <dsp:txXfrm>
        <a:off x="19393" y="2522328"/>
        <a:ext cx="2898370" cy="377808"/>
      </dsp:txXfrm>
    </dsp:sp>
    <dsp:sp modelId="{7FC887BC-5292-4AEC-82DD-E2810185A2C5}">
      <dsp:nvSpPr>
        <dsp:cNvPr id="0" name=""/>
        <dsp:cNvSpPr/>
      </dsp:nvSpPr>
      <dsp:spPr>
        <a:xfrm>
          <a:off x="2937156" y="2919996"/>
          <a:ext cx="8359600" cy="3972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b" anchorCtr="0">
          <a:noAutofit/>
        </a:bodyPr>
        <a:lstStyle/>
        <a:p>
          <a:pPr marL="0" lvl="0" indent="0" algn="l" defTabSz="355600">
            <a:lnSpc>
              <a:spcPct val="90000"/>
            </a:lnSpc>
            <a:spcBef>
              <a:spcPct val="0"/>
            </a:spcBef>
            <a:spcAft>
              <a:spcPct val="35000"/>
            </a:spcAft>
            <a:buFont typeface="+mj-lt"/>
            <a:buNone/>
          </a:pPr>
          <a:r>
            <a:rPr lang="en-US" sz="800" kern="1200" dirty="0"/>
            <a:t>Specification of the usage of </a:t>
          </a:r>
          <a:r>
            <a:rPr lang="en-US" sz="800" kern="1200" dirty="0" err="1"/>
            <a:t>Oauth</a:t>
          </a:r>
          <a:r>
            <a:rPr lang="en-US" sz="800" kern="1200" dirty="0"/>
            <a:t> 2.0 for 5GMS protocols based on the conclusions to address use-cases, when a UE hosts multiple 5GMS-Aware Applications from different 5GMS Application Providers.</a:t>
          </a:r>
        </a:p>
      </dsp:txBody>
      <dsp:txXfrm>
        <a:off x="2937156" y="2919996"/>
        <a:ext cx="8359600" cy="397201"/>
      </dsp:txXfrm>
    </dsp:sp>
    <dsp:sp modelId="{9E458988-4896-4AD6-9406-27C9514BEBF9}">
      <dsp:nvSpPr>
        <dsp:cNvPr id="0" name=""/>
        <dsp:cNvSpPr/>
      </dsp:nvSpPr>
      <dsp:spPr>
        <a:xfrm>
          <a:off x="0" y="2919996"/>
          <a:ext cx="2937156" cy="397201"/>
        </a:xfrm>
        <a:prstGeom prst="round2SameRect">
          <a:avLst>
            <a:gd name="adj1" fmla="val 16670"/>
            <a:gd name="adj2" fmla="val 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Font typeface="+mj-lt"/>
            <a:buNone/>
          </a:pPr>
          <a:r>
            <a:rPr lang="de-DE" sz="1200" kern="1200" dirty="0"/>
            <a:t>Oauth 2.0</a:t>
          </a:r>
          <a:endParaRPr lang="en-US" sz="1200" kern="1200" dirty="0"/>
        </a:p>
      </dsp:txBody>
      <dsp:txXfrm>
        <a:off x="19393" y="2939389"/>
        <a:ext cx="2898370" cy="377808"/>
      </dsp:txXfrm>
    </dsp:sp>
    <dsp:sp modelId="{5B7DFABB-8ED5-4C06-A0EE-9226DFCDDB4F}">
      <dsp:nvSpPr>
        <dsp:cNvPr id="0" name=""/>
        <dsp:cNvSpPr/>
      </dsp:nvSpPr>
      <dsp:spPr>
        <a:xfrm>
          <a:off x="2937156" y="3337058"/>
          <a:ext cx="8359600" cy="3972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b" anchorCtr="0">
          <a:noAutofit/>
        </a:bodyPr>
        <a:lstStyle/>
        <a:p>
          <a:pPr marL="0" lvl="0" indent="0" algn="l" defTabSz="355600">
            <a:lnSpc>
              <a:spcPct val="90000"/>
            </a:lnSpc>
            <a:spcBef>
              <a:spcPct val="0"/>
            </a:spcBef>
            <a:spcAft>
              <a:spcPct val="35000"/>
            </a:spcAft>
            <a:buFont typeface="+mj-lt"/>
            <a:buNone/>
          </a:pPr>
          <a:r>
            <a:rPr lang="en-US" sz="800" kern="1200" dirty="0"/>
            <a:t>Specifications for the 3GPP Service Handler and URL including the necessary functions on UE and device to support automatic launch of 5G System services in the context of 5G Media Streaming. It was identified that it is essential to provide a URL form for media services in order to automatically launch client and network functions without disrupting existing app workflows.</a:t>
          </a:r>
        </a:p>
      </dsp:txBody>
      <dsp:txXfrm>
        <a:off x="2937156" y="3337058"/>
        <a:ext cx="8359600" cy="397201"/>
      </dsp:txXfrm>
    </dsp:sp>
    <dsp:sp modelId="{9FC2AC9F-1722-497E-AD74-875C4428AA20}">
      <dsp:nvSpPr>
        <dsp:cNvPr id="0" name=""/>
        <dsp:cNvSpPr/>
      </dsp:nvSpPr>
      <dsp:spPr>
        <a:xfrm>
          <a:off x="0" y="3337058"/>
          <a:ext cx="2937156" cy="397201"/>
        </a:xfrm>
        <a:prstGeom prst="round2SameRect">
          <a:avLst>
            <a:gd name="adj1" fmla="val 16670"/>
            <a:gd name="adj2" fmla="val 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Font typeface="+mj-lt"/>
            <a:buNone/>
          </a:pPr>
          <a:r>
            <a:rPr lang="de-DE" sz="1200" kern="1200" dirty="0"/>
            <a:t>3GPP Service URL Handling</a:t>
          </a:r>
          <a:endParaRPr lang="en-US" sz="1200" kern="1200" dirty="0"/>
        </a:p>
      </dsp:txBody>
      <dsp:txXfrm>
        <a:off x="19393" y="3356451"/>
        <a:ext cx="2898370" cy="377808"/>
      </dsp:txXfrm>
    </dsp:sp>
    <dsp:sp modelId="{62A810E9-2DAF-4476-8FFD-E71DD8C14276}">
      <dsp:nvSpPr>
        <dsp:cNvPr id="0" name=""/>
        <dsp:cNvSpPr/>
      </dsp:nvSpPr>
      <dsp:spPr>
        <a:xfrm>
          <a:off x="2937156" y="3754120"/>
          <a:ext cx="8359600" cy="3972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b" anchorCtr="0">
          <a:noAutofit/>
        </a:bodyPr>
        <a:lstStyle/>
        <a:p>
          <a:pPr marL="0" lvl="0" indent="0" algn="l" defTabSz="355600">
            <a:lnSpc>
              <a:spcPct val="90000"/>
            </a:lnSpc>
            <a:spcBef>
              <a:spcPct val="0"/>
            </a:spcBef>
            <a:spcAft>
              <a:spcPct val="35000"/>
            </a:spcAft>
            <a:buFont typeface="+mj-lt"/>
            <a:buNone/>
          </a:pPr>
          <a:r>
            <a:rPr lang="en-US" sz="800" kern="1200" dirty="0"/>
            <a:t>Specification of a RESTful API at reference point M3, for the configuration of 5GMS AS instances by 5GMS AF. M3 was undefined until now, but based on deployment experience it was identified that it is necessary to define this reference point more details.</a:t>
          </a:r>
        </a:p>
      </dsp:txBody>
      <dsp:txXfrm>
        <a:off x="2937156" y="3754120"/>
        <a:ext cx="8359600" cy="397201"/>
      </dsp:txXfrm>
    </dsp:sp>
    <dsp:sp modelId="{E03610DE-DA3E-46BE-ABD4-3E896503BC48}">
      <dsp:nvSpPr>
        <dsp:cNvPr id="0" name=""/>
        <dsp:cNvSpPr/>
      </dsp:nvSpPr>
      <dsp:spPr>
        <a:xfrm>
          <a:off x="0" y="3754120"/>
          <a:ext cx="2937156" cy="397201"/>
        </a:xfrm>
        <a:prstGeom prst="round2SameRect">
          <a:avLst>
            <a:gd name="adj1" fmla="val 16670"/>
            <a:gd name="adj2" fmla="val 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Font typeface="+mj-lt"/>
            <a:buNone/>
          </a:pPr>
          <a:r>
            <a:rPr lang="de-DE" sz="1200" kern="1200" dirty="0"/>
            <a:t>Application Server Configuration</a:t>
          </a:r>
          <a:endParaRPr lang="en-US" sz="1200" kern="1200" dirty="0"/>
        </a:p>
      </dsp:txBody>
      <dsp:txXfrm>
        <a:off x="19393" y="3773513"/>
        <a:ext cx="2898370" cy="377808"/>
      </dsp:txXfrm>
    </dsp:sp>
    <dsp:sp modelId="{C8DEE523-B166-4372-B58A-57FFA0EE7F0B}">
      <dsp:nvSpPr>
        <dsp:cNvPr id="0" name=""/>
        <dsp:cNvSpPr/>
      </dsp:nvSpPr>
      <dsp:spPr>
        <a:xfrm>
          <a:off x="2937156" y="4171182"/>
          <a:ext cx="8359600" cy="3972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b" anchorCtr="0">
          <a:noAutofit/>
        </a:bodyPr>
        <a:lstStyle/>
        <a:p>
          <a:pPr marL="0" lvl="0" indent="0" algn="l" defTabSz="355600">
            <a:lnSpc>
              <a:spcPct val="90000"/>
            </a:lnSpc>
            <a:spcBef>
              <a:spcPct val="0"/>
            </a:spcBef>
            <a:spcAft>
              <a:spcPct val="35000"/>
            </a:spcAft>
            <a:buFont typeface="+mj-lt"/>
            <a:buNone/>
          </a:pPr>
          <a:r>
            <a:rPr lang="en-US" sz="800" kern="1200" dirty="0"/>
            <a:t>Specification of data types for data reporting of ANBR-based Network Assistance invocations and specification of data types for exposure of events relating to invocation of AF-based and ANBR-based Network Assistance. </a:t>
          </a:r>
        </a:p>
      </dsp:txBody>
      <dsp:txXfrm>
        <a:off x="2937156" y="4171182"/>
        <a:ext cx="8359600" cy="397201"/>
      </dsp:txXfrm>
    </dsp:sp>
    <dsp:sp modelId="{50C08B15-EC40-4051-B8CC-F71E52ACEDE5}">
      <dsp:nvSpPr>
        <dsp:cNvPr id="0" name=""/>
        <dsp:cNvSpPr/>
      </dsp:nvSpPr>
      <dsp:spPr>
        <a:xfrm>
          <a:off x="0" y="4171182"/>
          <a:ext cx="2937156" cy="397201"/>
        </a:xfrm>
        <a:prstGeom prst="round2SameRect">
          <a:avLst>
            <a:gd name="adj1" fmla="val 16670"/>
            <a:gd name="adj2" fmla="val 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US" sz="1200" kern="1200" dirty="0"/>
            <a:t>EVEX data types for ANBR-based Network Assistance</a:t>
          </a:r>
        </a:p>
      </dsp:txBody>
      <dsp:txXfrm>
        <a:off x="19393" y="4190575"/>
        <a:ext cx="2898370" cy="377808"/>
      </dsp:txXfrm>
    </dsp:sp>
    <dsp:sp modelId="{475F6768-403D-4925-9F28-BC112A3108C5}">
      <dsp:nvSpPr>
        <dsp:cNvPr id="0" name=""/>
        <dsp:cNvSpPr/>
      </dsp:nvSpPr>
      <dsp:spPr>
        <a:xfrm>
          <a:off x="2937156" y="4588244"/>
          <a:ext cx="8359600" cy="3972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b" anchorCtr="0">
          <a:noAutofit/>
        </a:bodyPr>
        <a:lstStyle/>
        <a:p>
          <a:pPr marL="0" lvl="0" indent="0" algn="l" defTabSz="355600">
            <a:lnSpc>
              <a:spcPct val="90000"/>
            </a:lnSpc>
            <a:spcBef>
              <a:spcPct val="0"/>
            </a:spcBef>
            <a:spcAft>
              <a:spcPct val="35000"/>
            </a:spcAft>
            <a:buFont typeface="+mj-lt"/>
            <a:buNone/>
          </a:pPr>
          <a:r>
            <a:rPr lang="en-US" sz="800" kern="1200" dirty="0"/>
            <a:t>Enhancements based on feedback from 5G-MAG Reference tool developments. The support of 5G-MAG reference tools created essential inputs to the spec development and continuous exchange will result in additional updates.</a:t>
          </a:r>
        </a:p>
      </dsp:txBody>
      <dsp:txXfrm>
        <a:off x="2937156" y="4588244"/>
        <a:ext cx="8359600" cy="397201"/>
      </dsp:txXfrm>
    </dsp:sp>
    <dsp:sp modelId="{A3268F80-9879-4C0E-B09F-9BA0A4566C95}">
      <dsp:nvSpPr>
        <dsp:cNvPr id="0" name=""/>
        <dsp:cNvSpPr/>
      </dsp:nvSpPr>
      <dsp:spPr>
        <a:xfrm>
          <a:off x="0" y="4588244"/>
          <a:ext cx="2937156" cy="397201"/>
        </a:xfrm>
        <a:prstGeom prst="round2SameRect">
          <a:avLst>
            <a:gd name="adj1" fmla="val 16670"/>
            <a:gd name="adj2" fmla="val 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Font typeface="+mj-lt"/>
            <a:buNone/>
          </a:pPr>
          <a:r>
            <a:rPr lang="de-DE" sz="1200" kern="1200" dirty="0"/>
            <a:t>Support for 5G-MAG Reference Tools</a:t>
          </a:r>
          <a:endParaRPr lang="en-US" sz="1200" kern="1200" dirty="0"/>
        </a:p>
      </dsp:txBody>
      <dsp:txXfrm>
        <a:off x="19393" y="4607637"/>
        <a:ext cx="2898370" cy="3778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ABFF94-7756-4B99-9516-292BC8E51479}">
      <dsp:nvSpPr>
        <dsp:cNvPr id="0" name=""/>
        <dsp:cNvSpPr/>
      </dsp:nvSpPr>
      <dsp:spPr>
        <a:xfrm>
          <a:off x="6281177" y="501990"/>
          <a:ext cx="1329789" cy="1330007"/>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A61EFD-59BA-46DB-839F-6FAA77A4B65A}">
      <dsp:nvSpPr>
        <dsp:cNvPr id="0" name=""/>
        <dsp:cNvSpPr/>
      </dsp:nvSpPr>
      <dsp:spPr>
        <a:xfrm>
          <a:off x="6325055" y="546332"/>
          <a:ext cx="1241325" cy="1241324"/>
        </a:xfrm>
        <a:prstGeom prst="ellipse">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kern="1200"/>
            <a:t>AI</a:t>
          </a:r>
          <a:r>
            <a:rPr lang="de-DE" sz="1500" kern="1200" dirty="0"/>
            <a:t>/ML for Media</a:t>
          </a:r>
          <a:endParaRPr lang="en-US" sz="1500" kern="1200" dirty="0"/>
        </a:p>
      </dsp:txBody>
      <dsp:txXfrm>
        <a:off x="6502691" y="723697"/>
        <a:ext cx="886762" cy="886593"/>
      </dsp:txXfrm>
    </dsp:sp>
    <dsp:sp modelId="{5BE1F523-7D00-4198-9F62-5465A707D54E}">
      <dsp:nvSpPr>
        <dsp:cNvPr id="0" name=""/>
        <dsp:cNvSpPr/>
      </dsp:nvSpPr>
      <dsp:spPr>
        <a:xfrm rot="2700000">
          <a:off x="4906170" y="502059"/>
          <a:ext cx="1329636" cy="1329636"/>
        </a:xfrm>
        <a:prstGeom prst="teardrop">
          <a:avLst>
            <a:gd name="adj" fmla="val 10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D6FB4EE-DE70-427C-90FB-4D161C1DD17E}">
      <dsp:nvSpPr>
        <dsp:cNvPr id="0" name=""/>
        <dsp:cNvSpPr/>
      </dsp:nvSpPr>
      <dsp:spPr>
        <a:xfrm>
          <a:off x="4951387" y="546332"/>
          <a:ext cx="1241325" cy="1241324"/>
        </a:xfrm>
        <a:prstGeom prst="ellipse">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kern="1200" dirty="0"/>
            <a:t>5GMS and MBS Extensions</a:t>
          </a:r>
          <a:endParaRPr lang="en-US" sz="1500" kern="1200" dirty="0"/>
        </a:p>
      </dsp:txBody>
      <dsp:txXfrm>
        <a:off x="5128315" y="723697"/>
        <a:ext cx="886762" cy="886593"/>
      </dsp:txXfrm>
    </dsp:sp>
    <dsp:sp modelId="{1C606156-432E-4C2F-B69F-FB1EF0E02685}">
      <dsp:nvSpPr>
        <dsp:cNvPr id="0" name=""/>
        <dsp:cNvSpPr/>
      </dsp:nvSpPr>
      <dsp:spPr>
        <a:xfrm rot="2700000">
          <a:off x="3532502" y="502059"/>
          <a:ext cx="1329636" cy="1329636"/>
        </a:xfrm>
        <a:prstGeom prst="teardrop">
          <a:avLst>
            <a:gd name="adj" fmla="val 10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1F2F3BD-34C9-4335-9B19-2A5FF9642F7B}">
      <dsp:nvSpPr>
        <dsp:cNvPr id="0" name=""/>
        <dsp:cNvSpPr/>
      </dsp:nvSpPr>
      <dsp:spPr>
        <a:xfrm>
          <a:off x="3577011" y="546332"/>
          <a:ext cx="1241325" cy="1241324"/>
        </a:xfrm>
        <a:prstGeom prst="ellipse">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kern="1200" dirty="0"/>
            <a:t>XR Extensions</a:t>
          </a:r>
          <a:endParaRPr lang="en-US" sz="1500" kern="1200" dirty="0"/>
        </a:p>
      </dsp:txBody>
      <dsp:txXfrm>
        <a:off x="3753939" y="723697"/>
        <a:ext cx="886762" cy="886593"/>
      </dsp:txXfrm>
    </dsp:sp>
    <dsp:sp modelId="{37557569-5747-4E52-B6E1-1439D3953AF2}">
      <dsp:nvSpPr>
        <dsp:cNvPr id="0" name=""/>
        <dsp:cNvSpPr/>
      </dsp:nvSpPr>
      <dsp:spPr>
        <a:xfrm rot="2700000">
          <a:off x="2158127" y="502059"/>
          <a:ext cx="1329636" cy="1329636"/>
        </a:xfrm>
        <a:prstGeom prst="teardrop">
          <a:avLst>
            <a:gd name="adj" fmla="val 10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DA6732D-BD0B-41A7-AEA8-40D9B937B9A1}">
      <dsp:nvSpPr>
        <dsp:cNvPr id="0" name=""/>
        <dsp:cNvSpPr/>
      </dsp:nvSpPr>
      <dsp:spPr>
        <a:xfrm>
          <a:off x="2202636" y="546332"/>
          <a:ext cx="1241325" cy="1241324"/>
        </a:xfrm>
        <a:prstGeom prst="ellipse">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kern="1200" dirty="0"/>
            <a:t>Avatars</a:t>
          </a:r>
          <a:endParaRPr lang="en-US" sz="1500" kern="1200" dirty="0"/>
        </a:p>
      </dsp:txBody>
      <dsp:txXfrm>
        <a:off x="2380271" y="723697"/>
        <a:ext cx="886762" cy="886593"/>
      </dsp:txXfrm>
    </dsp:sp>
    <dsp:sp modelId="{429064BF-60C1-4BE6-BB13-7B8D65D7ACCF}">
      <dsp:nvSpPr>
        <dsp:cNvPr id="0" name=""/>
        <dsp:cNvSpPr/>
      </dsp:nvSpPr>
      <dsp:spPr>
        <a:xfrm rot="2700000">
          <a:off x="783751" y="502059"/>
          <a:ext cx="1329636" cy="1329636"/>
        </a:xfrm>
        <a:prstGeom prst="teardrop">
          <a:avLst>
            <a:gd name="adj" fmla="val 10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A9549A2-4029-4C4B-92D8-07435729A391}">
      <dsp:nvSpPr>
        <dsp:cNvPr id="0" name=""/>
        <dsp:cNvSpPr/>
      </dsp:nvSpPr>
      <dsp:spPr>
        <a:xfrm>
          <a:off x="828260" y="546332"/>
          <a:ext cx="1241325" cy="1241324"/>
        </a:xfrm>
        <a:prstGeom prst="ellipse">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kern="1200" dirty="0"/>
            <a:t>New Video Codecs</a:t>
          </a:r>
          <a:endParaRPr lang="en-US" sz="1500" kern="1200" dirty="0"/>
        </a:p>
      </dsp:txBody>
      <dsp:txXfrm>
        <a:off x="1005895" y="723697"/>
        <a:ext cx="886762" cy="88659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CBDC07-598A-4C56-BAF8-8AE4837B086A}">
      <dsp:nvSpPr>
        <dsp:cNvPr id="0" name=""/>
        <dsp:cNvSpPr/>
      </dsp:nvSpPr>
      <dsp:spPr>
        <a:xfrm>
          <a:off x="0" y="571"/>
          <a:ext cx="11187112" cy="13373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DFA4A72-A277-4170-A39E-1B924B30FD2E}">
      <dsp:nvSpPr>
        <dsp:cNvPr id="0" name=""/>
        <dsp:cNvSpPr/>
      </dsp:nvSpPr>
      <dsp:spPr>
        <a:xfrm>
          <a:off x="404536" y="301466"/>
          <a:ext cx="735520" cy="73552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0FD0E2C-7423-4379-A45D-77127BB0F9DF}">
      <dsp:nvSpPr>
        <dsp:cNvPr id="0" name=""/>
        <dsp:cNvSpPr/>
      </dsp:nvSpPr>
      <dsp:spPr>
        <a:xfrm>
          <a:off x="1544592" y="571"/>
          <a:ext cx="9642519" cy="13373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532" tIns="141532" rIns="141532" bIns="141532" numCol="1" spcCol="1270" anchor="ctr" anchorCtr="0">
          <a:noAutofit/>
        </a:bodyPr>
        <a:lstStyle/>
        <a:p>
          <a:pPr marL="0" lvl="0" indent="0" algn="l" defTabSz="1111250">
            <a:lnSpc>
              <a:spcPct val="100000"/>
            </a:lnSpc>
            <a:spcBef>
              <a:spcPct val="0"/>
            </a:spcBef>
            <a:spcAft>
              <a:spcPct val="35000"/>
            </a:spcAft>
            <a:buNone/>
          </a:pPr>
          <a:r>
            <a:rPr lang="de-DE" sz="2500" kern="1200" baseline="0" dirty="0"/>
            <a:t>5G is a platform for Broadcasters and Content Providers with features including 5G broadcast, Public Warning and many others</a:t>
          </a:r>
          <a:endParaRPr lang="en-US" sz="2500" kern="1200" dirty="0"/>
        </a:p>
      </dsp:txBody>
      <dsp:txXfrm>
        <a:off x="1544592" y="571"/>
        <a:ext cx="9642519" cy="1337309"/>
      </dsp:txXfrm>
    </dsp:sp>
    <dsp:sp modelId="{D732F6AA-A7A1-47AE-BD1F-D9F2A43CEB91}">
      <dsp:nvSpPr>
        <dsp:cNvPr id="0" name=""/>
        <dsp:cNvSpPr/>
      </dsp:nvSpPr>
      <dsp:spPr>
        <a:xfrm>
          <a:off x="0" y="1672208"/>
          <a:ext cx="11187112" cy="13373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E1AD073-AEF7-44B4-96B1-574FF779DC64}">
      <dsp:nvSpPr>
        <dsp:cNvPr id="0" name=""/>
        <dsp:cNvSpPr/>
      </dsp:nvSpPr>
      <dsp:spPr>
        <a:xfrm>
          <a:off x="404536" y="1973103"/>
          <a:ext cx="735520" cy="73552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8ACA96B-EBC2-4B6C-85BD-FBB117650934}">
      <dsp:nvSpPr>
        <dsp:cNvPr id="0" name=""/>
        <dsp:cNvSpPr/>
      </dsp:nvSpPr>
      <dsp:spPr>
        <a:xfrm>
          <a:off x="1544592" y="1672208"/>
          <a:ext cx="9642519" cy="13373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532" tIns="141532" rIns="141532" bIns="141532" numCol="1" spcCol="1270" anchor="ctr" anchorCtr="0">
          <a:noAutofit/>
        </a:bodyPr>
        <a:lstStyle/>
        <a:p>
          <a:pPr marL="0" lvl="0" indent="0" algn="l" defTabSz="1111250">
            <a:lnSpc>
              <a:spcPct val="100000"/>
            </a:lnSpc>
            <a:spcBef>
              <a:spcPct val="0"/>
            </a:spcBef>
            <a:spcAft>
              <a:spcPct val="35000"/>
            </a:spcAft>
            <a:buNone/>
          </a:pPr>
          <a:r>
            <a:rPr lang="de-DE" sz="2500" kern="1200" baseline="0" dirty="0"/>
            <a:t>3GPP Standards are global and address billions of devices – from smart phones to many more verticals (automotive, IOT, etc.)</a:t>
          </a:r>
          <a:endParaRPr lang="en-US" sz="2500" kern="1200" dirty="0"/>
        </a:p>
      </dsp:txBody>
      <dsp:txXfrm>
        <a:off x="1544592" y="1672208"/>
        <a:ext cx="9642519" cy="1337309"/>
      </dsp:txXfrm>
    </dsp:sp>
    <dsp:sp modelId="{61E6B675-7331-423C-810C-59147D5B3826}">
      <dsp:nvSpPr>
        <dsp:cNvPr id="0" name=""/>
        <dsp:cNvSpPr/>
      </dsp:nvSpPr>
      <dsp:spPr>
        <a:xfrm>
          <a:off x="0" y="3343845"/>
          <a:ext cx="11187112" cy="13373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934A37-879F-43D7-9F01-B89735D19964}">
      <dsp:nvSpPr>
        <dsp:cNvPr id="0" name=""/>
        <dsp:cNvSpPr/>
      </dsp:nvSpPr>
      <dsp:spPr>
        <a:xfrm>
          <a:off x="404536" y="3644740"/>
          <a:ext cx="735520" cy="73552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7E8CF29-D3B5-44E4-8993-54AED8467FDE}">
      <dsp:nvSpPr>
        <dsp:cNvPr id="0" name=""/>
        <dsp:cNvSpPr/>
      </dsp:nvSpPr>
      <dsp:spPr>
        <a:xfrm>
          <a:off x="1544592" y="3343845"/>
          <a:ext cx="9642519" cy="13373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532" tIns="141532" rIns="141532" bIns="141532" numCol="1" spcCol="1270" anchor="ctr" anchorCtr="0">
          <a:noAutofit/>
        </a:bodyPr>
        <a:lstStyle/>
        <a:p>
          <a:pPr marL="0" lvl="0" indent="0" algn="l" defTabSz="1111250">
            <a:lnSpc>
              <a:spcPct val="100000"/>
            </a:lnSpc>
            <a:spcBef>
              <a:spcPct val="0"/>
            </a:spcBef>
            <a:spcAft>
              <a:spcPct val="35000"/>
            </a:spcAft>
            <a:buNone/>
          </a:pPr>
          <a:r>
            <a:rPr lang="de-DE" sz="2500" kern="1200"/>
            <a:t>We need to integrate new media topics: Content Steering, CMCD/CMSD, Media over QUIC, etc.</a:t>
          </a:r>
          <a:endParaRPr lang="en-US" sz="2500" kern="1200" dirty="0"/>
        </a:p>
      </dsp:txBody>
      <dsp:txXfrm>
        <a:off x="1544592" y="3343845"/>
        <a:ext cx="9642519" cy="1337309"/>
      </dsp:txXfrm>
    </dsp:sp>
  </dsp:spTree>
</dsp:drawing>
</file>

<file path=ppt/diagrams/layout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6T22:41:18.224"/>
    </inkml:context>
    <inkml:brush xml:id="br0">
      <inkml:brushProperty name="width" value="0.02" units="cm"/>
      <inkml:brushProperty name="height" value="0.02" units="cm"/>
    </inkml:brush>
  </inkml:definitions>
  <inkml:trace contextRef="#ctx0" brushRef="#br0">40954 27798 13713 0 0,'-12'12'7037'0'0,"12"-12"-5673"0"0,0 0-1364 0 0,-12 0-500 0 0,12 0 52 0 0,0 0-392 0 0,0 0-1448 0 0,12 0-3713 0 0,-12 0-2524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6T22:41:19.213"/>
    </inkml:context>
    <inkml:brush xml:id="br0">
      <inkml:brushProperty name="width" value="0.02" units="cm"/>
      <inkml:brushProperty name="height" value="0.02" units="cm"/>
    </inkml:brush>
  </inkml:definitions>
  <inkml:trace contextRef="#ctx0" brushRef="#br0">40974 27429 5961 0 0,'-12'0'6496'0'0,"12"0"-4572"0"0,0 0-1128 0 0,-13 0-608 0 0,13 0-188 0 0,0 0-88 0 0,0 0-380 0 0,0 0-1028 0 0,0 0-1068 0 0,0 0-556 0 0,0 0-973 0 0,13 0 1821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6T22:41:18.224"/>
    </inkml:context>
    <inkml:brush xml:id="br0">
      <inkml:brushProperty name="width" value="0.02" units="cm"/>
      <inkml:brushProperty name="height" value="0.02" units="cm"/>
    </inkml:brush>
  </inkml:definitions>
  <inkml:trace contextRef="#ctx0" brushRef="#br0">40954 27798 13713 0 0,'-12'12'7037'0'0,"12"-12"-5673"0"0,0 0-1364 0 0,-12 0-500 0 0,12 0 52 0 0,0 0-392 0 0,0 0-1448 0 0,12 0-3713 0 0,-12 0-2524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6T22:41:19.213"/>
    </inkml:context>
    <inkml:brush xml:id="br0">
      <inkml:brushProperty name="width" value="0.02" units="cm"/>
      <inkml:brushProperty name="height" value="0.02" units="cm"/>
    </inkml:brush>
  </inkml:definitions>
  <inkml:trace contextRef="#ctx0" brushRef="#br0">40974 27429 5961 0 0,'-12'0'6496'0'0,"12"0"-4572"0"0,0 0-1128 0 0,-13 0-608 0 0,13 0-188 0 0,0 0-88 0 0,0 0-380 0 0,0 0-1028 0 0,0 0-1068 0 0,0 0-556 0 0,0 0-973 0 0,13 0 1821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5BB0B3-964C-4CDE-9D3D-0BF955B8C425}" type="slidenum">
              <a:rPr kumimoji="0" lang="en-US" sz="1200" b="0" i="0" u="none" strike="noStrike" kern="1200" cap="none" spc="0" normalizeH="0" baseline="0" noProof="0" smtClean="0">
                <a:ln>
                  <a:noFill/>
                </a:ln>
                <a:solidFill>
                  <a:srgbClr val="0E2C3A"/>
                </a:solidFill>
                <a:effectLst/>
                <a:uLnTx/>
                <a:uFillTx/>
                <a:latin typeface="Microsoft Sans Serif"/>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srgbClr val="0E2C3A"/>
              </a:solidFill>
              <a:effectLst/>
              <a:uLnTx/>
              <a:uFillTx/>
              <a:latin typeface="Microsoft Sans Serif"/>
              <a:ea typeface="+mn-ea"/>
              <a:cs typeface="+mn-cs"/>
            </a:endParaRPr>
          </a:p>
        </p:txBody>
      </p:sp>
      <p:sp>
        <p:nvSpPr>
          <p:cNvPr id="6" name="Slide Image Placeholder 5">
            <a:extLst>
              <a:ext uri="{FF2B5EF4-FFF2-40B4-BE49-F238E27FC236}">
                <a16:creationId xmlns:a16="http://schemas.microsoft.com/office/drawing/2014/main" id="{659FEF80-577E-463D-9B2B-5911423DF878}"/>
              </a:ext>
            </a:extLst>
          </p:cNvPr>
          <p:cNvSpPr>
            <a:spLocks noGrp="1" noRot="1" noChangeAspect="1"/>
          </p:cNvSpPr>
          <p:nvPr>
            <p:ph type="sldImg"/>
          </p:nvPr>
        </p:nvSpPr>
        <p:spPr>
          <a:xfrm>
            <a:off x="946150" y="555625"/>
            <a:ext cx="4964113" cy="2792413"/>
          </a:xfrm>
        </p:spPr>
      </p:sp>
      <p:sp>
        <p:nvSpPr>
          <p:cNvPr id="7" name="Notes Placeholder 6">
            <a:extLst>
              <a:ext uri="{FF2B5EF4-FFF2-40B4-BE49-F238E27FC236}">
                <a16:creationId xmlns:a16="http://schemas.microsoft.com/office/drawing/2014/main" id="{34CBE358-5253-4FA0-8251-660F2DE1C87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88615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75E7E4-6857-4F03-A780-9887AA86825E}" type="slidenum">
              <a:rPr kumimoji="0" lang="de-DE" sz="1200" b="0" i="0" u="none" strike="noStrike" kern="1200" cap="none" spc="0" normalizeH="0" baseline="0" noProof="0" smtClean="0">
                <a:ln>
                  <a:noFill/>
                </a:ln>
                <a:solidFill>
                  <a:srgbClr val="0E2C3A"/>
                </a:solidFill>
                <a:effectLst/>
                <a:uLnTx/>
                <a:uFillTx/>
                <a:latin typeface="Microsoft Sans Serif"/>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srgbClr val="0E2C3A"/>
              </a:solidFill>
              <a:effectLst/>
              <a:uLnTx/>
              <a:uFillTx/>
              <a:latin typeface="Microsoft Sans Serif"/>
              <a:ea typeface="+mn-ea"/>
              <a:cs typeface="+mn-cs"/>
            </a:endParaRPr>
          </a:p>
        </p:txBody>
      </p:sp>
    </p:spTree>
    <p:extLst>
      <p:ext uri="{BB962C8B-B14F-4D97-AF65-F5344CB8AC3E}">
        <p14:creationId xmlns:p14="http://schemas.microsoft.com/office/powerpoint/2010/main" val="1172328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r>
              <a:rPr lang="de-DE" dirty="0"/>
              <a:t>5G-MAG was instrumental to deliver an open-source platform for 5G Broadcast. </a:t>
            </a:r>
          </a:p>
          <a:p>
            <a:endParaRPr lang="de-DE" dirty="0"/>
          </a:p>
          <a:p>
            <a:r>
              <a:rPr lang="de-DE" dirty="0"/>
              <a:t>For target 2023, we in Qualcomm support the next steps in 5G-MAG Reference Tools to integrate 5G Broadcast with 5G Media Streaming. </a:t>
            </a:r>
          </a:p>
          <a:p>
            <a:endParaRPr lang="de-DE" dirty="0"/>
          </a:p>
          <a:p>
            <a:r>
              <a:rPr lang="de-DE" dirty="0"/>
              <a:t>As our first contribution to this exiting new project, we implemented basic 5G Media Streaming UE functions, the Media Session Handler and the Media Player, and connected to BBC‘</a:t>
            </a:r>
            <a:r>
              <a:rPr lang="de-DE"/>
              <a:t>s 5GMS network. </a:t>
            </a:r>
            <a:endParaRPr lang="de-DE" dirty="0"/>
          </a:p>
          <a:p>
            <a:endParaRPr lang="de-DE" dirty="0"/>
          </a:p>
          <a:p>
            <a:r>
              <a:rPr lang="de-DE" dirty="0"/>
              <a:t>I hand over to my colleagues Weiyu and Shiling in China to explain more details..</a:t>
            </a:r>
            <a:endParaRPr lang="en-US" dirty="0"/>
          </a:p>
        </p:txBody>
      </p:sp>
      <p:sp>
        <p:nvSpPr>
          <p:cNvPr id="4" name="Slide Number Placeholder 3"/>
          <p:cNvSpPr>
            <a:spLocks noGrp="1"/>
          </p:cNvSpPr>
          <p:nvPr>
            <p:ph type="sldNum" sz="quarter" idx="5"/>
          </p:nvPr>
        </p:nvSpPr>
        <p:spPr/>
        <p:txBody>
          <a:bodyPr/>
          <a:lstStyle/>
          <a:p>
            <a:fld id="{BC75E7E4-6857-4F03-A780-9887AA86825E}" type="slidenum">
              <a:rPr lang="de-DE" smtClean="0"/>
              <a:t>5</a:t>
            </a:fld>
            <a:endParaRPr lang="de-DE"/>
          </a:p>
        </p:txBody>
      </p:sp>
    </p:spTree>
    <p:extLst>
      <p:ext uri="{BB962C8B-B14F-4D97-AF65-F5344CB8AC3E}">
        <p14:creationId xmlns:p14="http://schemas.microsoft.com/office/powerpoint/2010/main" val="871661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ello, my name is Weiyu from Qualcomm China. I explain you the first handshake we did just a few days ago with the BBC 5GMS Network components you saw earlier.</a:t>
            </a:r>
          </a:p>
          <a:p>
            <a:endParaRPr lang="de-DE" dirty="0"/>
          </a:p>
          <a:p>
            <a:r>
              <a:rPr lang="de-DE" dirty="0"/>
              <a:t>We implemented initial functions of Media Session Handler and Media Player. </a:t>
            </a:r>
          </a:p>
          <a:p>
            <a:endParaRPr lang="de-DE" dirty="0"/>
          </a:p>
          <a:p>
            <a:r>
              <a:rPr lang="de-DE" dirty="0"/>
              <a:t>Here is our test app. Let us check the BBC Christmas Greetings. </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Click] </a:t>
            </a:r>
          </a:p>
          <a:p>
            <a:endParaRPr lang="de-DE" dirty="0"/>
          </a:p>
          <a:p>
            <a:r>
              <a:rPr lang="de-DE" dirty="0"/>
              <a:t>We send a 5GMS RESTful API call to the AF and get a 5G conforming JSON response. </a:t>
            </a:r>
          </a:p>
          <a:p>
            <a:endParaRPr lang="de-DE" dirty="0"/>
          </a:p>
          <a:p>
            <a:r>
              <a:rPr lang="de-DE" dirty="0"/>
              <a:t>The Media Session Handler instructs the media player to play the video and the Media Player gets the MPD from the AS.</a:t>
            </a:r>
          </a:p>
          <a:p>
            <a:endParaRPr lang="de-DE" dirty="0"/>
          </a:p>
          <a:p>
            <a:r>
              <a:rPr lang="de-DE" dirty="0"/>
              <a:t>[Click]</a:t>
            </a:r>
            <a:endParaRPr lang="en-US" dirty="0"/>
          </a:p>
        </p:txBody>
      </p:sp>
      <p:sp>
        <p:nvSpPr>
          <p:cNvPr id="4" name="Slide Number Placeholder 3"/>
          <p:cNvSpPr>
            <a:spLocks noGrp="1"/>
          </p:cNvSpPr>
          <p:nvPr>
            <p:ph type="sldNum" sz="quarter" idx="5"/>
          </p:nvPr>
        </p:nvSpPr>
        <p:spPr/>
        <p:txBody>
          <a:bodyPr/>
          <a:lstStyle/>
          <a:p>
            <a:fld id="{BC75E7E4-6857-4F03-A780-9887AA86825E}" type="slidenum">
              <a:rPr lang="de-DE" smtClean="0"/>
              <a:t>6</a:t>
            </a:fld>
            <a:endParaRPr lang="de-DE"/>
          </a:p>
        </p:txBody>
      </p:sp>
    </p:spTree>
    <p:extLst>
      <p:ext uri="{BB962C8B-B14F-4D97-AF65-F5344CB8AC3E}">
        <p14:creationId xmlns:p14="http://schemas.microsoft.com/office/powerpoint/2010/main" val="18168644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So let‘s unpack our Christmas pres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Cli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We got a voucher for some Segments and we request those while 5GMS Control functions monitor the s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wait until the end of Richard‘s mess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hank you Richard</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END]</a:t>
            </a:r>
          </a:p>
          <a:p>
            <a:endParaRPr lang="en-US" dirty="0"/>
          </a:p>
        </p:txBody>
      </p:sp>
      <p:sp>
        <p:nvSpPr>
          <p:cNvPr id="4" name="Slide Number Placeholder 3"/>
          <p:cNvSpPr>
            <a:spLocks noGrp="1"/>
          </p:cNvSpPr>
          <p:nvPr>
            <p:ph type="sldNum" sz="quarter" idx="5"/>
          </p:nvPr>
        </p:nvSpPr>
        <p:spPr/>
        <p:txBody>
          <a:bodyPr/>
          <a:lstStyle/>
          <a:p>
            <a:fld id="{BC75E7E4-6857-4F03-A780-9887AA86825E}" type="slidenum">
              <a:rPr lang="de-DE" smtClean="0"/>
              <a:t>7</a:t>
            </a:fld>
            <a:endParaRPr lang="de-DE"/>
          </a:p>
        </p:txBody>
      </p:sp>
    </p:spTree>
    <p:extLst>
      <p:ext uri="{BB962C8B-B14F-4D97-AF65-F5344CB8AC3E}">
        <p14:creationId xmlns:p14="http://schemas.microsoft.com/office/powerpoint/2010/main" val="2924531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normAutofit fontScale="92500" lnSpcReduction="10000"/>
          </a:bodyPr>
          <a:lstStyle/>
          <a:p>
            <a:pPr marL="285750" indent="-285750">
              <a:buFont typeface="Arial" panose="020B0604020202020204" pitchFamily="34" charset="0"/>
              <a:buChar char="•"/>
            </a:pPr>
            <a:r>
              <a:rPr lang="en-US" dirty="0"/>
              <a:t>So how does all this work in reality?</a:t>
            </a:r>
          </a:p>
          <a:p>
            <a:pPr marL="285750" indent="-285750">
              <a:buFont typeface="Arial" panose="020B0604020202020204" pitchFamily="34" charset="0"/>
              <a:buChar char="•"/>
            </a:pPr>
            <a:r>
              <a:rPr lang="en-US" dirty="0"/>
              <a:t>The edge cloud will augment on-device processing for boundless photorealistic XR</a:t>
            </a:r>
          </a:p>
          <a:p>
            <a:pPr marL="285750" indent="-285750">
              <a:buFont typeface="Arial" panose="020B0604020202020204" pitchFamily="34" charset="0"/>
              <a:buChar char="•"/>
            </a:pPr>
            <a:r>
              <a:rPr lang="en-US" dirty="0"/>
              <a:t>Looking at the animation [CLICK]</a:t>
            </a:r>
          </a:p>
          <a:p>
            <a:pPr marL="285750" indent="-285750">
              <a:buFont typeface="Arial" panose="020B0604020202020204" pitchFamily="34" charset="0"/>
              <a:buChar char="•"/>
            </a:pPr>
            <a:r>
              <a:rPr lang="en-US" dirty="0"/>
              <a:t>When the XR user moves his head, the on-device processing will determine the 6-DoF head pose and send it to the edge cloud through a low latency and high quality of service 5G link.</a:t>
            </a:r>
          </a:p>
          <a:p>
            <a:pPr marL="285750" indent="-285750">
              <a:buFont typeface="Arial" panose="020B0604020202020204" pitchFamily="34" charset="0"/>
              <a:buChar char="•"/>
            </a:pPr>
            <a:r>
              <a:rPr lang="en-US" dirty="0"/>
              <a:t>The edge cloud will use the head pose to partially render the next frame. The edge cloud capabilities will vary based on investment, but it should have racks of compute/CPU/GPUs to do photorealistic rendering. After quickly rendering the frame, the edge cloud will send the encoded data back to the XR headset.</a:t>
            </a:r>
          </a:p>
          <a:p>
            <a:pPr marL="285750" indent="-285750">
              <a:buFont typeface="Arial" panose="020B0604020202020204" pitchFamily="34" charset="0"/>
              <a:buChar char="•"/>
            </a:pPr>
            <a:r>
              <a:rPr lang="en-US" dirty="0"/>
              <a:t>The XR headset will decode the data, and based on the latest 6-DoF pose, which is being generated at a high frequency, the on-device processing will do any further rendering and adjustment to minimize motion-to-photon latency. </a:t>
            </a:r>
          </a:p>
          <a:p>
            <a:pPr marL="285750" indent="-285750">
              <a:buFont typeface="Arial" panose="020B0604020202020204" pitchFamily="34" charset="0"/>
              <a:buChar char="•"/>
            </a:pPr>
            <a:r>
              <a:rPr lang="en-US" dirty="0"/>
              <a:t>As you can imagine, making the XR experience truly immersive will require a system solution that guarantees low latency and high reliability. 5G is crucial for this. Depending on the distance from the edge cloud, the amount of edge cloud investment, the number of users, etc., the service may vary, but consumers can rest assured that the on-device XR capabilities will always be available.</a:t>
            </a:r>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2</a:t>
            </a:fld>
            <a:endParaRPr lang="en-US"/>
          </a:p>
        </p:txBody>
      </p:sp>
    </p:spTree>
    <p:extLst>
      <p:ext uri="{BB962C8B-B14F-4D97-AF65-F5344CB8AC3E}">
        <p14:creationId xmlns:p14="http://schemas.microsoft.com/office/powerpoint/2010/main" val="3332312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75E7E4-6857-4F03-A780-9887AA86825E}" type="slidenum">
              <a:rPr lang="de-DE" smtClean="0"/>
              <a:t>15</a:t>
            </a:fld>
            <a:endParaRPr lang="de-DE"/>
          </a:p>
        </p:txBody>
      </p:sp>
    </p:spTree>
    <p:extLst>
      <p:ext uri="{BB962C8B-B14F-4D97-AF65-F5344CB8AC3E}">
        <p14:creationId xmlns:p14="http://schemas.microsoft.com/office/powerpoint/2010/main" val="2376714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75E7E4-6857-4F03-A780-9887AA86825E}" type="slidenum">
              <a:rPr lang="de-DE" smtClean="0"/>
              <a:t>31</a:t>
            </a:fld>
            <a:endParaRPr lang="de-DE"/>
          </a:p>
        </p:txBody>
      </p:sp>
    </p:spTree>
    <p:extLst>
      <p:ext uri="{BB962C8B-B14F-4D97-AF65-F5344CB8AC3E}">
        <p14:creationId xmlns:p14="http://schemas.microsoft.com/office/powerpoint/2010/main" val="16564057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3.xml"/></Relationships>
</file>

<file path=ppt/slideLayouts/_rels/slideLayout10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10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13.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18.svg"/></Relationships>
</file>

<file path=ppt/slideLayouts/_rels/slideLayout108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1.png"/><Relationship Id="rId1" Type="http://schemas.openxmlformats.org/officeDocument/2006/relationships/slideMaster" Target="../slideMasters/slideMaster13.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10.svg"/></Relationships>
</file>

<file path=ppt/slideLayouts/_rels/slideLayout108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1.png"/><Relationship Id="rId1" Type="http://schemas.openxmlformats.org/officeDocument/2006/relationships/slideMaster" Target="../slideMasters/slideMaster13.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10.svg"/></Relationships>
</file>

<file path=ppt/slideLayouts/_rels/slideLayout108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13.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18.svg"/></Relationships>
</file>

<file path=ppt/slideLayouts/_rels/slideLayout108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13.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18.svg"/></Relationships>
</file>

<file path=ppt/slideLayouts/_rels/slideLayout10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ustomXml" Target="../ink/ink1.xml"/><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customXml" Target="../ink/ink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ustomXml" Target="../ink/ink3.xml"/><Relationship Id="rId1" Type="http://schemas.openxmlformats.org/officeDocument/2006/relationships/slideMaster" Target="../slideMasters/slideMaster9.xml"/><Relationship Id="rId5" Type="http://schemas.openxmlformats.org/officeDocument/2006/relationships/image" Target="../media/image3.png"/><Relationship Id="rId4" Type="http://schemas.openxmlformats.org/officeDocument/2006/relationships/customXml" Target="../ink/ink4.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3.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93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9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3.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96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9.png"/><Relationship Id="rId1" Type="http://schemas.openxmlformats.org/officeDocument/2006/relationships/slideMaster" Target="../slideMasters/slideMaster13.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97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4.png"/><Relationship Id="rId1" Type="http://schemas.openxmlformats.org/officeDocument/2006/relationships/slideMaster" Target="../slideMasters/slideMaster13.xml"/><Relationship Id="rId5" Type="http://schemas.openxmlformats.org/officeDocument/2006/relationships/image" Target="../media/image19.svg"/><Relationship Id="rId4" Type="http://schemas.openxmlformats.org/officeDocument/2006/relationships/image" Target="../media/image16.png"/></Relationships>
</file>

<file path=ppt/slideLayouts/_rels/slideLayout97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4.png"/><Relationship Id="rId1" Type="http://schemas.openxmlformats.org/officeDocument/2006/relationships/slideMaster" Target="../slideMasters/slideMaster13.xml"/><Relationship Id="rId5" Type="http://schemas.openxmlformats.org/officeDocument/2006/relationships/image" Target="../media/image19.svg"/><Relationship Id="rId4" Type="http://schemas.openxmlformats.org/officeDocument/2006/relationships/image" Target="../media/image16.png"/></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9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E2F519A5-130D-4941-BEF9-DDD491D70F82}"/>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91928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SD Title and Subtitle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453A31F0-4DB5-457C-A903-35FF518AB4EA}"/>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r>
              <a:rPr lang="en-US"/>
              <a:t>Media Web Symposium 2023</a:t>
            </a:r>
            <a:endParaRPr lang="en-US" dirty="0"/>
          </a:p>
        </p:txBody>
      </p:sp>
      <p:sp>
        <p:nvSpPr>
          <p:cNvPr id="3" name="Title 3">
            <a:extLst>
              <a:ext uri="{FF2B5EF4-FFF2-40B4-BE49-F238E27FC236}">
                <a16:creationId xmlns:a16="http://schemas.microsoft.com/office/drawing/2014/main" id="{309C22E6-2FE0-490B-BAC5-88E5C6751D9E}"/>
              </a:ext>
            </a:extLst>
          </p:cNvPr>
          <p:cNvSpPr>
            <a:spLocks noGrp="1"/>
          </p:cNvSpPr>
          <p:nvPr>
            <p:ph type="title"/>
          </p:nvPr>
        </p:nvSpPr>
        <p:spPr>
          <a:xfrm>
            <a:off x="495300" y="642645"/>
            <a:ext cx="11187112" cy="361959"/>
          </a:xfrm>
        </p:spPr>
        <p:txBody>
          <a:bodyPr/>
          <a:lstStyle>
            <a:lvl1pPr>
              <a:defRPr>
                <a:solidFill>
                  <a:schemeClr val="tx2"/>
                </a:solidFill>
              </a:defRPr>
            </a:lvl1pPr>
          </a:lstStyle>
          <a:p>
            <a:r>
              <a:rPr lang="en-US"/>
              <a:t>Click to edit Master title style</a:t>
            </a:r>
          </a:p>
        </p:txBody>
      </p:sp>
      <p:sp>
        <p:nvSpPr>
          <p:cNvPr id="4" name="Subtitle">
            <a:extLst>
              <a:ext uri="{FF2B5EF4-FFF2-40B4-BE49-F238E27FC236}">
                <a16:creationId xmlns:a16="http://schemas.microsoft.com/office/drawing/2014/main" id="{8FF0793D-08C6-4F61-A423-730FEF5A6DBB}"/>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15782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1.xml><?xml version="1.0" encoding="utf-8"?>
<p:sldLayout xmlns:a="http://schemas.openxmlformats.org/drawingml/2006/main" xmlns:r="http://schemas.openxmlformats.org/officeDocument/2006/relationships" xmlns:p="http://schemas.openxmlformats.org/presentationml/2006/main" showMasterSp="0" preserve="1" userDrawn="1">
  <p:cSld name="SD Title and Subtitle Gunmetal">
    <p:bg>
      <p:bgPr>
        <a:solidFill>
          <a:schemeClr val="accent5"/>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AD80C37-2083-4D37-BD1B-FD58CA4160C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Media Web Symposium 2023</a:t>
            </a:r>
            <a:endParaRPr lang="en-US" dirty="0"/>
          </a:p>
        </p:txBody>
      </p:sp>
      <p:sp>
        <p:nvSpPr>
          <p:cNvPr id="5" name="Title 3">
            <a:extLst>
              <a:ext uri="{FF2B5EF4-FFF2-40B4-BE49-F238E27FC236}">
                <a16:creationId xmlns:a16="http://schemas.microsoft.com/office/drawing/2014/main" id="{C8663155-F71F-4E37-929E-734AA04A2137}"/>
              </a:ext>
            </a:extLst>
          </p:cNvPr>
          <p:cNvSpPr>
            <a:spLocks noGrp="1"/>
          </p:cNvSpPr>
          <p:nvPr>
            <p:ph type="title"/>
          </p:nvPr>
        </p:nvSpPr>
        <p:spPr>
          <a:xfrm>
            <a:off x="495300" y="642645"/>
            <a:ext cx="11187112" cy="361959"/>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1AA9D118-B949-48F9-8441-498DC3CA5E9F}"/>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F335D76E-32AD-4DEE-90A0-93ECEF4B0FF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9" name="TextBox 8">
            <a:extLst>
              <a:ext uri="{FF2B5EF4-FFF2-40B4-BE49-F238E27FC236}">
                <a16:creationId xmlns:a16="http://schemas.microsoft.com/office/drawing/2014/main" id="{AD838838-BE57-E34A-ABF5-2C0070416E0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15099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2.xml><?xml version="1.0" encoding="utf-8"?>
<p:sldLayout xmlns:a="http://schemas.openxmlformats.org/drawingml/2006/main" xmlns:r="http://schemas.openxmlformats.org/officeDocument/2006/relationships" xmlns:p="http://schemas.openxmlformats.org/presentationml/2006/main" showMasterSp="0" preserve="1" userDrawn="1">
  <p:cSld name="SD Title and Subtitle Midnight">
    <p:bg>
      <p:bgPr>
        <a:solidFill>
          <a:schemeClr val="tx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26824E5-24D4-439C-96E3-DE800C32FF7C}"/>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Media Web Symposium 2023</a:t>
            </a:r>
            <a:endParaRPr lang="en-US" dirty="0"/>
          </a:p>
        </p:txBody>
      </p:sp>
      <p:sp>
        <p:nvSpPr>
          <p:cNvPr id="5" name="Title 3">
            <a:extLst>
              <a:ext uri="{FF2B5EF4-FFF2-40B4-BE49-F238E27FC236}">
                <a16:creationId xmlns:a16="http://schemas.microsoft.com/office/drawing/2014/main" id="{0321B3C6-CCC0-410B-99D2-AF5F9DBD6269}"/>
              </a:ext>
            </a:extLst>
          </p:cNvPr>
          <p:cNvSpPr>
            <a:spLocks noGrp="1"/>
          </p:cNvSpPr>
          <p:nvPr>
            <p:ph type="title"/>
          </p:nvPr>
        </p:nvSpPr>
        <p:spPr>
          <a:xfrm>
            <a:off x="495300" y="642645"/>
            <a:ext cx="11187112" cy="361959"/>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7338B18C-2B89-4572-910C-EA1F43F15ABD}"/>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B5780F14-570B-4BDF-BDF0-3FE3F89E0B59}"/>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40000"/>
                  <a:lumOff val="60000"/>
                </a:schemeClr>
              </a:solidFill>
              <a:latin typeface="+mn-lt"/>
              <a:ea typeface="+mn-ea"/>
              <a:cs typeface="+mn-cs"/>
            </a:endParaRPr>
          </a:p>
        </p:txBody>
      </p:sp>
      <p:sp>
        <p:nvSpPr>
          <p:cNvPr id="7" name="TextBox 6">
            <a:extLst>
              <a:ext uri="{FF2B5EF4-FFF2-40B4-BE49-F238E27FC236}">
                <a16:creationId xmlns:a16="http://schemas.microsoft.com/office/drawing/2014/main" id="{BB07E57D-E08F-644F-934B-0835F92FB4B9}"/>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439780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3.xml><?xml version="1.0" encoding="utf-8"?>
<p:sldLayout xmlns:a="http://schemas.openxmlformats.org/drawingml/2006/main" xmlns:r="http://schemas.openxmlformats.org/officeDocument/2006/relationships" xmlns:p="http://schemas.openxmlformats.org/presentationml/2006/main" showMasterSp="0" preserve="1" userDrawn="1">
  <p:cSld name="SD Blank Fireball Red">
    <p:bg>
      <p:bgPr>
        <a:solidFill>
          <a:srgbClr val="CD111E"/>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4090C8C-59C5-42DB-9E6B-C8720D5DA406}"/>
              </a:ext>
            </a:extLst>
          </p:cNvPr>
          <p:cNvGrpSpPr/>
          <p:nvPr userDrawn="1"/>
        </p:nvGrpSpPr>
        <p:grpSpPr>
          <a:xfrm>
            <a:off x="1491431" y="-3822437"/>
            <a:ext cx="16383615" cy="16425346"/>
            <a:chOff x="-9345612" y="-3560784"/>
            <a:chExt cx="6856412" cy="6873876"/>
          </a:xfrm>
        </p:grpSpPr>
        <p:sp>
          <p:nvSpPr>
            <p:cNvPr id="5" name="Freeform 21">
              <a:extLst>
                <a:ext uri="{FF2B5EF4-FFF2-40B4-BE49-F238E27FC236}">
                  <a16:creationId xmlns:a16="http://schemas.microsoft.com/office/drawing/2014/main" id="{FB0191BC-557C-40E7-84D4-DD4F3F8AE5E7}"/>
                </a:ext>
              </a:extLst>
            </p:cNvPr>
            <p:cNvSpPr>
              <a:spLocks/>
            </p:cNvSpPr>
            <p:nvPr/>
          </p:nvSpPr>
          <p:spPr bwMode="auto">
            <a:xfrm>
              <a:off x="-9345612" y="-3560784"/>
              <a:ext cx="6856412" cy="6858000"/>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CD111E"/>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BFA37406-4A88-4EB6-983F-A50E2640DC60}"/>
                </a:ext>
              </a:extLst>
            </p:cNvPr>
            <p:cNvSpPr>
              <a:spLocks/>
            </p:cNvSpPr>
            <p:nvPr/>
          </p:nvSpPr>
          <p:spPr bwMode="auto">
            <a:xfrm>
              <a:off x="-9345612" y="-3560784"/>
              <a:ext cx="5151437" cy="6873875"/>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D81220"/>
            </a:solidFill>
            <a:ln>
              <a:noFill/>
            </a:ln>
            <a:effectLst>
              <a:outerShdw blurRad="304800" dist="304800" dir="8100000" algn="tr" rotWithShape="0">
                <a:srgbClr val="1F0306">
                  <a:alpha val="34902"/>
                </a:srgb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DEC153D6-5EE9-4268-A6CA-7DE8BDE9BB33}"/>
                </a:ext>
              </a:extLst>
            </p:cNvPr>
            <p:cNvSpPr>
              <a:spLocks/>
            </p:cNvSpPr>
            <p:nvPr/>
          </p:nvSpPr>
          <p:spPr bwMode="auto">
            <a:xfrm>
              <a:off x="-6992937" y="-3559196"/>
              <a:ext cx="4503737" cy="687228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outerShdw blurRad="304800" dist="304800" dir="8100000" algn="tr" rotWithShape="0">
                <a:srgbClr val="160204">
                  <a:alpha val="35000"/>
                </a:srgbClr>
              </a:outerShdw>
            </a:effec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94ED5EAF-78DC-43F8-94C6-0A3E845563B5}"/>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0" name="TextBox 9">
            <a:extLst>
              <a:ext uri="{FF2B5EF4-FFF2-40B4-BE49-F238E27FC236}">
                <a16:creationId xmlns:a16="http://schemas.microsoft.com/office/drawing/2014/main" id="{5E89D24C-C3C5-0B41-A42D-29F52EE22F9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
        <p:nvSpPr>
          <p:cNvPr id="12" name="Text Placeholder 2">
            <a:extLst>
              <a:ext uri="{FF2B5EF4-FFF2-40B4-BE49-F238E27FC236}">
                <a16:creationId xmlns:a16="http://schemas.microsoft.com/office/drawing/2014/main" id="{C464D679-1580-4DBB-A11D-DC62EB97446E}"/>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3" name="Text Placeholder 47">
            <a:extLst>
              <a:ext uri="{FF2B5EF4-FFF2-40B4-BE49-F238E27FC236}">
                <a16:creationId xmlns:a16="http://schemas.microsoft.com/office/drawing/2014/main" id="{158A983D-A462-49A3-A422-64FAFD233B98}"/>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4162271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4.xml><?xml version="1.0" encoding="utf-8"?>
<p:sldLayout xmlns:a="http://schemas.openxmlformats.org/drawingml/2006/main" xmlns:r="http://schemas.openxmlformats.org/officeDocument/2006/relationships" xmlns:p="http://schemas.openxmlformats.org/presentationml/2006/main" showMasterSp="0" preserve="1" userDrawn="1">
  <p:cSld name="SD Blank Fireball White">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4090C8C-59C5-42DB-9E6B-C8720D5DA406}"/>
              </a:ext>
            </a:extLst>
          </p:cNvPr>
          <p:cNvGrpSpPr/>
          <p:nvPr userDrawn="1"/>
        </p:nvGrpSpPr>
        <p:grpSpPr>
          <a:xfrm>
            <a:off x="1491431" y="-3822192"/>
            <a:ext cx="16383615" cy="16425346"/>
            <a:chOff x="-9345612" y="-3560784"/>
            <a:chExt cx="6856412" cy="6873876"/>
          </a:xfrm>
        </p:grpSpPr>
        <p:sp>
          <p:nvSpPr>
            <p:cNvPr id="5" name="Freeform 21">
              <a:extLst>
                <a:ext uri="{FF2B5EF4-FFF2-40B4-BE49-F238E27FC236}">
                  <a16:creationId xmlns:a16="http://schemas.microsoft.com/office/drawing/2014/main" id="{FB0191BC-557C-40E7-84D4-DD4F3F8AE5E7}"/>
                </a:ext>
              </a:extLst>
            </p:cNvPr>
            <p:cNvSpPr>
              <a:spLocks/>
            </p:cNvSpPr>
            <p:nvPr/>
          </p:nvSpPr>
          <p:spPr bwMode="auto">
            <a:xfrm>
              <a:off x="-9345612" y="-3560784"/>
              <a:ext cx="6856412" cy="6858000"/>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DEE3EC"/>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BFA37406-4A88-4EB6-983F-A50E2640DC60}"/>
                </a:ext>
              </a:extLst>
            </p:cNvPr>
            <p:cNvSpPr>
              <a:spLocks/>
            </p:cNvSpPr>
            <p:nvPr/>
          </p:nvSpPr>
          <p:spPr bwMode="auto">
            <a:xfrm>
              <a:off x="-9345612" y="-3560784"/>
              <a:ext cx="5151437" cy="6873875"/>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F1F2F5"/>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DEC153D6-5EE9-4268-A6CA-7DE8BDE9BB33}"/>
                </a:ext>
              </a:extLst>
            </p:cNvPr>
            <p:cNvSpPr>
              <a:spLocks/>
            </p:cNvSpPr>
            <p:nvPr/>
          </p:nvSpPr>
          <p:spPr bwMode="auto">
            <a:xfrm>
              <a:off x="-6992937" y="-3559196"/>
              <a:ext cx="4503737" cy="687228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6">
                <a:lumMod val="20000"/>
                <a:lumOff val="80000"/>
              </a:schemeClr>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24C35F18-0A18-4D40-939E-C1AFCB85CE44}"/>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0" name="TextBox 9">
            <a:extLst>
              <a:ext uri="{FF2B5EF4-FFF2-40B4-BE49-F238E27FC236}">
                <a16:creationId xmlns:a16="http://schemas.microsoft.com/office/drawing/2014/main" id="{4BE19A9C-A507-B142-B455-AA5933A548D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
        <p:nvSpPr>
          <p:cNvPr id="14" name="Text Placeholder 2">
            <a:extLst>
              <a:ext uri="{FF2B5EF4-FFF2-40B4-BE49-F238E27FC236}">
                <a16:creationId xmlns:a16="http://schemas.microsoft.com/office/drawing/2014/main" id="{5630368C-0CDF-411A-A191-49E899612FFC}"/>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5" name="Text Placeholder 47">
            <a:extLst>
              <a:ext uri="{FF2B5EF4-FFF2-40B4-BE49-F238E27FC236}">
                <a16:creationId xmlns:a16="http://schemas.microsoft.com/office/drawing/2014/main" id="{B94E9817-6E08-43A2-B39F-478908333721}"/>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tx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2514186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SD Blank Fireball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4090C8C-59C5-42DB-9E6B-C8720D5DA406}"/>
              </a:ext>
            </a:extLst>
          </p:cNvPr>
          <p:cNvGrpSpPr/>
          <p:nvPr userDrawn="1"/>
        </p:nvGrpSpPr>
        <p:grpSpPr>
          <a:xfrm>
            <a:off x="1491431" y="-3822192"/>
            <a:ext cx="16383615" cy="16425346"/>
            <a:chOff x="-9345612" y="-3560784"/>
            <a:chExt cx="6856412" cy="6873876"/>
          </a:xfrm>
        </p:grpSpPr>
        <p:sp>
          <p:nvSpPr>
            <p:cNvPr id="5" name="Freeform 21">
              <a:extLst>
                <a:ext uri="{FF2B5EF4-FFF2-40B4-BE49-F238E27FC236}">
                  <a16:creationId xmlns:a16="http://schemas.microsoft.com/office/drawing/2014/main" id="{FB0191BC-557C-40E7-84D4-DD4F3F8AE5E7}"/>
                </a:ext>
              </a:extLst>
            </p:cNvPr>
            <p:cNvSpPr>
              <a:spLocks/>
            </p:cNvSpPr>
            <p:nvPr/>
          </p:nvSpPr>
          <p:spPr bwMode="auto">
            <a:xfrm>
              <a:off x="-9345612" y="-3560784"/>
              <a:ext cx="6856412" cy="6858000"/>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DEE3EC"/>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BFA37406-4A88-4EB6-983F-A50E2640DC60}"/>
                </a:ext>
              </a:extLst>
            </p:cNvPr>
            <p:cNvSpPr>
              <a:spLocks/>
            </p:cNvSpPr>
            <p:nvPr/>
          </p:nvSpPr>
          <p:spPr bwMode="auto">
            <a:xfrm>
              <a:off x="-9345612" y="-3560784"/>
              <a:ext cx="5151437" cy="6873875"/>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E4E8F0"/>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DEC153D6-5EE9-4268-A6CA-7DE8BDE9BB33}"/>
                </a:ext>
              </a:extLst>
            </p:cNvPr>
            <p:cNvSpPr>
              <a:spLocks/>
            </p:cNvSpPr>
            <p:nvPr/>
          </p:nvSpPr>
          <p:spPr bwMode="auto">
            <a:xfrm>
              <a:off x="-6992937" y="-3559196"/>
              <a:ext cx="4503737" cy="687228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6">
                <a:lumMod val="40000"/>
                <a:lumOff val="60000"/>
              </a:schemeClr>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B61F5CC4-20B6-4766-B066-5E1E7E75F489}"/>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Enter a quote or big statement here</a:t>
            </a:r>
          </a:p>
        </p:txBody>
      </p:sp>
      <p:sp>
        <p:nvSpPr>
          <p:cNvPr id="10" name="TextBox 9">
            <a:extLst>
              <a:ext uri="{FF2B5EF4-FFF2-40B4-BE49-F238E27FC236}">
                <a16:creationId xmlns:a16="http://schemas.microsoft.com/office/drawing/2014/main" id="{C725D2C4-F421-3647-8C79-00B1B8E506D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
        <p:nvSpPr>
          <p:cNvPr id="14" name="Text Placeholder 2">
            <a:extLst>
              <a:ext uri="{FF2B5EF4-FFF2-40B4-BE49-F238E27FC236}">
                <a16:creationId xmlns:a16="http://schemas.microsoft.com/office/drawing/2014/main" id="{6F743B7C-8E05-4E60-8E43-6BB66F02C141}"/>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5" name="Text Placeholder 47">
            <a:extLst>
              <a:ext uri="{FF2B5EF4-FFF2-40B4-BE49-F238E27FC236}">
                <a16:creationId xmlns:a16="http://schemas.microsoft.com/office/drawing/2014/main" id="{260ECEE4-BC8D-4E89-980A-7DBC39D89E7A}"/>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tx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1131744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6.xml><?xml version="1.0" encoding="utf-8"?>
<p:sldLayout xmlns:a="http://schemas.openxmlformats.org/drawingml/2006/main" xmlns:r="http://schemas.openxmlformats.org/officeDocument/2006/relationships" xmlns:p="http://schemas.openxmlformats.org/presentationml/2006/main" showMasterSp="0" preserve="1" userDrawn="1">
  <p:cSld name="SD Blank Fireball Gunmetal">
    <p:bg>
      <p:bgPr>
        <a:solidFill>
          <a:srgbClr val="3D4A6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4090C8C-59C5-42DB-9E6B-C8720D5DA406}"/>
              </a:ext>
            </a:extLst>
          </p:cNvPr>
          <p:cNvGrpSpPr/>
          <p:nvPr userDrawn="1"/>
        </p:nvGrpSpPr>
        <p:grpSpPr>
          <a:xfrm>
            <a:off x="1491431" y="-3822192"/>
            <a:ext cx="16383615" cy="16425346"/>
            <a:chOff x="-9345612" y="-3560784"/>
            <a:chExt cx="6856412" cy="6873876"/>
          </a:xfrm>
        </p:grpSpPr>
        <p:sp>
          <p:nvSpPr>
            <p:cNvPr id="5" name="Freeform 21">
              <a:extLst>
                <a:ext uri="{FF2B5EF4-FFF2-40B4-BE49-F238E27FC236}">
                  <a16:creationId xmlns:a16="http://schemas.microsoft.com/office/drawing/2014/main" id="{FB0191BC-557C-40E7-84D4-DD4F3F8AE5E7}"/>
                </a:ext>
              </a:extLst>
            </p:cNvPr>
            <p:cNvSpPr>
              <a:spLocks/>
            </p:cNvSpPr>
            <p:nvPr/>
          </p:nvSpPr>
          <p:spPr bwMode="auto">
            <a:xfrm>
              <a:off x="-9345612" y="-3560784"/>
              <a:ext cx="6856412" cy="6858000"/>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3D4A61"/>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BFA37406-4A88-4EB6-983F-A50E2640DC60}"/>
                </a:ext>
              </a:extLst>
            </p:cNvPr>
            <p:cNvSpPr>
              <a:spLocks/>
            </p:cNvSpPr>
            <p:nvPr/>
          </p:nvSpPr>
          <p:spPr bwMode="auto">
            <a:xfrm>
              <a:off x="-9345612" y="-3560784"/>
              <a:ext cx="5151437" cy="6873875"/>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44536C"/>
            </a:solidFill>
            <a:ln>
              <a:noFill/>
            </a:ln>
            <a:effectLst>
              <a:outerShdw blurRad="304800" dist="304800" dir="8100000" algn="tr" rotWithShape="0">
                <a:srgbClr val="0C0E12">
                  <a:alpha val="34902"/>
                </a:srgb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DEC153D6-5EE9-4268-A6CA-7DE8BDE9BB33}"/>
                </a:ext>
              </a:extLst>
            </p:cNvPr>
            <p:cNvSpPr>
              <a:spLocks/>
            </p:cNvSpPr>
            <p:nvPr/>
          </p:nvSpPr>
          <p:spPr bwMode="auto">
            <a:xfrm>
              <a:off x="-6992937" y="-3559196"/>
              <a:ext cx="4503737" cy="687228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outerShdw blurRad="304800" dist="304800" dir="8100000" algn="tr" rotWithShape="0">
                <a:srgbClr val="0C0E12">
                  <a:alpha val="35000"/>
                </a:srgbClr>
              </a:outerShdw>
            </a:effec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0964E06C-5CDC-4DD2-949B-419EC57E3AAB}"/>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0" name="TextBox 9">
            <a:extLst>
              <a:ext uri="{FF2B5EF4-FFF2-40B4-BE49-F238E27FC236}">
                <a16:creationId xmlns:a16="http://schemas.microsoft.com/office/drawing/2014/main" id="{5A74494B-FB0A-7644-BDB3-59749D99E35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4" name="Text Placeholder 2">
            <a:extLst>
              <a:ext uri="{FF2B5EF4-FFF2-40B4-BE49-F238E27FC236}">
                <a16:creationId xmlns:a16="http://schemas.microsoft.com/office/drawing/2014/main" id="{F88459E5-FD06-4889-9EE1-4D29E262FC04}"/>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5" name="Text Placeholder 47">
            <a:extLst>
              <a:ext uri="{FF2B5EF4-FFF2-40B4-BE49-F238E27FC236}">
                <a16:creationId xmlns:a16="http://schemas.microsoft.com/office/drawing/2014/main" id="{B30E4199-8597-44AB-B6EC-4497BD09E8D3}"/>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2382929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7.xml><?xml version="1.0" encoding="utf-8"?>
<p:sldLayout xmlns:a="http://schemas.openxmlformats.org/drawingml/2006/main" xmlns:r="http://schemas.openxmlformats.org/officeDocument/2006/relationships" xmlns:p="http://schemas.openxmlformats.org/presentationml/2006/main" showMasterSp="0" preserve="1" userDrawn="1">
  <p:cSld name="SD Blank Fireball Midnight">
    <p:bg>
      <p:bgPr>
        <a:solidFill>
          <a:srgbClr val="081D32"/>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4090C8C-59C5-42DB-9E6B-C8720D5DA406}"/>
              </a:ext>
            </a:extLst>
          </p:cNvPr>
          <p:cNvGrpSpPr/>
          <p:nvPr userDrawn="1"/>
        </p:nvGrpSpPr>
        <p:grpSpPr>
          <a:xfrm>
            <a:off x="1491431" y="-3822192"/>
            <a:ext cx="16383615" cy="16425346"/>
            <a:chOff x="-9345612" y="-3560784"/>
            <a:chExt cx="6856412" cy="6873876"/>
          </a:xfrm>
        </p:grpSpPr>
        <p:sp>
          <p:nvSpPr>
            <p:cNvPr id="5" name="Freeform 21">
              <a:extLst>
                <a:ext uri="{FF2B5EF4-FFF2-40B4-BE49-F238E27FC236}">
                  <a16:creationId xmlns:a16="http://schemas.microsoft.com/office/drawing/2014/main" id="{FB0191BC-557C-40E7-84D4-DD4F3F8AE5E7}"/>
                </a:ext>
              </a:extLst>
            </p:cNvPr>
            <p:cNvSpPr>
              <a:spLocks/>
            </p:cNvSpPr>
            <p:nvPr/>
          </p:nvSpPr>
          <p:spPr bwMode="auto">
            <a:xfrm>
              <a:off x="-9345612" y="-3560784"/>
              <a:ext cx="6856412" cy="6858000"/>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071B2F"/>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BFA37406-4A88-4EB6-983F-A50E2640DC60}"/>
                </a:ext>
              </a:extLst>
            </p:cNvPr>
            <p:cNvSpPr>
              <a:spLocks/>
            </p:cNvSpPr>
            <p:nvPr/>
          </p:nvSpPr>
          <p:spPr bwMode="auto">
            <a:xfrm>
              <a:off x="-9345612" y="-3560784"/>
              <a:ext cx="5151437" cy="6873875"/>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0A233C"/>
            </a:solidFill>
            <a:ln>
              <a:noFill/>
            </a:ln>
            <a:effectLst>
              <a:outerShdw blurRad="304800" dist="304800" dir="8100000" algn="tr" rotWithShape="0">
                <a:srgbClr val="050D13">
                  <a:alpha val="35000"/>
                </a:srgb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DEC153D6-5EE9-4268-A6CA-7DE8BDE9BB33}"/>
                </a:ext>
              </a:extLst>
            </p:cNvPr>
            <p:cNvSpPr>
              <a:spLocks/>
            </p:cNvSpPr>
            <p:nvPr/>
          </p:nvSpPr>
          <p:spPr bwMode="auto">
            <a:xfrm>
              <a:off x="-6992937" y="-3559196"/>
              <a:ext cx="4503737" cy="687228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outerShdw blurRad="304800" dist="304800" dir="8100000" algn="tr" rotWithShape="0">
                <a:srgbClr val="050D13">
                  <a:alpha val="34902"/>
                </a:srgbClr>
              </a:outerShdw>
            </a:effec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C8C2CAAF-CDDA-4C4A-89EC-D1913727AD10}"/>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0" name="TextBox 9">
            <a:extLst>
              <a:ext uri="{FF2B5EF4-FFF2-40B4-BE49-F238E27FC236}">
                <a16:creationId xmlns:a16="http://schemas.microsoft.com/office/drawing/2014/main" id="{5F53FCEE-0955-084E-8D70-8129C635A40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
        <p:nvSpPr>
          <p:cNvPr id="14" name="Text Placeholder 2">
            <a:extLst>
              <a:ext uri="{FF2B5EF4-FFF2-40B4-BE49-F238E27FC236}">
                <a16:creationId xmlns:a16="http://schemas.microsoft.com/office/drawing/2014/main" id="{14B69B5A-BF88-4025-B43F-F44CE934321E}"/>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5" name="Text Placeholder 47">
            <a:extLst>
              <a:ext uri="{FF2B5EF4-FFF2-40B4-BE49-F238E27FC236}">
                <a16:creationId xmlns:a16="http://schemas.microsoft.com/office/drawing/2014/main" id="{34BF50B9-4029-41B5-9009-27DD98516CC4}"/>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153725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8.xml><?xml version="1.0" encoding="utf-8"?>
<p:sldLayout xmlns:a="http://schemas.openxmlformats.org/drawingml/2006/main" xmlns:r="http://schemas.openxmlformats.org/officeDocument/2006/relationships" xmlns:p="http://schemas.openxmlformats.org/presentationml/2006/main" showMasterSp="0" preserve="1" userDrawn="1">
  <p:cSld name="SD Blank Fireball 2 Red">
    <p:bg>
      <p:bgPr>
        <a:solidFill>
          <a:schemeClr val="bg2"/>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A00C3292-75D1-4DA8-82E9-9A4CB6D8CFC8}"/>
              </a:ext>
            </a:extLst>
          </p:cNvPr>
          <p:cNvGrpSpPr/>
          <p:nvPr userDrawn="1"/>
        </p:nvGrpSpPr>
        <p:grpSpPr>
          <a:xfrm>
            <a:off x="2118610" y="-558521"/>
            <a:ext cx="7954780" cy="7975042"/>
            <a:chOff x="2118610" y="-558521"/>
            <a:chExt cx="7954780" cy="7975042"/>
          </a:xfrm>
        </p:grpSpPr>
        <p:sp>
          <p:nvSpPr>
            <p:cNvPr id="5" name="Freeform 21">
              <a:extLst>
                <a:ext uri="{FF2B5EF4-FFF2-40B4-BE49-F238E27FC236}">
                  <a16:creationId xmlns:a16="http://schemas.microsoft.com/office/drawing/2014/main" id="{C909BC99-2790-4BD1-9E25-7C807A3692CD}"/>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CD111E"/>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4CA3B432-5549-4D32-A518-E58B9A955625}"/>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D81220"/>
            </a:solidFill>
            <a:ln>
              <a:noFill/>
            </a:ln>
            <a:effectLst>
              <a:outerShdw blurRad="304800" dist="304800" dir="8100000" algn="tr" rotWithShape="0">
                <a:srgbClr val="1F0306">
                  <a:alpha val="34902"/>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7" name="Freeform 23">
              <a:extLst>
                <a:ext uri="{FF2B5EF4-FFF2-40B4-BE49-F238E27FC236}">
                  <a16:creationId xmlns:a16="http://schemas.microsoft.com/office/drawing/2014/main" id="{F3A4D887-8F37-423F-BD6E-FD99771BB430}"/>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outerShdw blurRad="304800" dist="304800" dir="8100000" algn="tr" rotWithShape="0">
                <a:srgbClr val="160204">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8" name="Freeform 23">
              <a:extLst>
                <a:ext uri="{FF2B5EF4-FFF2-40B4-BE49-F238E27FC236}">
                  <a16:creationId xmlns:a16="http://schemas.microsoft.com/office/drawing/2014/main" id="{D8062B03-6029-45BE-9236-AEA57932BB6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innerShdw blurRad="304800" dist="304800">
                <a:srgbClr val="180204">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9" name="Text Placeholder 2">
            <a:extLst>
              <a:ext uri="{FF2B5EF4-FFF2-40B4-BE49-F238E27FC236}">
                <a16:creationId xmlns:a16="http://schemas.microsoft.com/office/drawing/2014/main" id="{EDDDDD52-8A68-4B86-A9C6-F0B2044B4DE6}"/>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2" name="TextBox 11">
            <a:extLst>
              <a:ext uri="{FF2B5EF4-FFF2-40B4-BE49-F238E27FC236}">
                <a16:creationId xmlns:a16="http://schemas.microsoft.com/office/drawing/2014/main" id="{EA7A73CF-3EA7-E444-8AC7-9CA650E8702C}"/>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
        <p:nvSpPr>
          <p:cNvPr id="17" name="Text Placeholder 2">
            <a:extLst>
              <a:ext uri="{FF2B5EF4-FFF2-40B4-BE49-F238E27FC236}">
                <a16:creationId xmlns:a16="http://schemas.microsoft.com/office/drawing/2014/main" id="{2F67DEC8-5B82-45EB-9E1C-1797E01FC933}"/>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8" name="Text Placeholder 47">
            <a:extLst>
              <a:ext uri="{FF2B5EF4-FFF2-40B4-BE49-F238E27FC236}">
                <a16:creationId xmlns:a16="http://schemas.microsoft.com/office/drawing/2014/main" id="{CED15783-97E6-4593-B718-789CCD8E42A3}"/>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449936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9.xml><?xml version="1.0" encoding="utf-8"?>
<p:sldLayout xmlns:a="http://schemas.openxmlformats.org/drawingml/2006/main" xmlns:r="http://schemas.openxmlformats.org/officeDocument/2006/relationships" xmlns:p="http://schemas.openxmlformats.org/presentationml/2006/main" showMasterSp="0" preserve="1" userDrawn="1">
  <p:cSld name="SD Blank Fireball 2 White">
    <p:bg>
      <p:bgPr>
        <a:solidFill>
          <a:srgbClr val="FFFFFF"/>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B19B0ED-B474-4D33-836E-D2CDA79C5449}"/>
              </a:ext>
            </a:extLst>
          </p:cNvPr>
          <p:cNvGrpSpPr/>
          <p:nvPr userDrawn="1"/>
        </p:nvGrpSpPr>
        <p:grpSpPr>
          <a:xfrm>
            <a:off x="2118610" y="-558521"/>
            <a:ext cx="7954780" cy="7975042"/>
            <a:chOff x="2118610" y="-558521"/>
            <a:chExt cx="7954780" cy="7975042"/>
          </a:xfrm>
        </p:grpSpPr>
        <p:sp>
          <p:nvSpPr>
            <p:cNvPr id="5" name="Freeform 21">
              <a:extLst>
                <a:ext uri="{FF2B5EF4-FFF2-40B4-BE49-F238E27FC236}">
                  <a16:creationId xmlns:a16="http://schemas.microsoft.com/office/drawing/2014/main" id="{C909BC99-2790-4BD1-9E25-7C807A3692CD}"/>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EEF1F5"/>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4CA3B432-5549-4D32-A518-E58B9A955625}"/>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chemeClr val="bg1"/>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7" name="Freeform 23">
              <a:extLst>
                <a:ext uri="{FF2B5EF4-FFF2-40B4-BE49-F238E27FC236}">
                  <a16:creationId xmlns:a16="http://schemas.microsoft.com/office/drawing/2014/main" id="{F3A4D887-8F37-423F-BD6E-FD99771BB430}"/>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8" name="Freeform 23">
              <a:extLst>
                <a:ext uri="{FF2B5EF4-FFF2-40B4-BE49-F238E27FC236}">
                  <a16:creationId xmlns:a16="http://schemas.microsoft.com/office/drawing/2014/main" id="{D8062B03-6029-45BE-9236-AEA57932BB6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AFBFC"/>
            </a:solidFill>
            <a:ln>
              <a:noFill/>
            </a:ln>
            <a:effectLst>
              <a:innerShdw blurRad="304800" dist="228600">
                <a:schemeClr val="accent5">
                  <a:lumMod val="50000"/>
                  <a:alpha val="35000"/>
                </a:scheme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9" name="Text Placeholder 2">
            <a:extLst>
              <a:ext uri="{FF2B5EF4-FFF2-40B4-BE49-F238E27FC236}">
                <a16:creationId xmlns:a16="http://schemas.microsoft.com/office/drawing/2014/main" id="{64807E53-98A7-46DD-A808-B562A7449FC4}"/>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0" name="TextBox 9">
            <a:extLst>
              <a:ext uri="{FF2B5EF4-FFF2-40B4-BE49-F238E27FC236}">
                <a16:creationId xmlns:a16="http://schemas.microsoft.com/office/drawing/2014/main" id="{DAAB8A5D-AC60-C84A-A928-281A9137C12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
        <p:nvSpPr>
          <p:cNvPr id="16" name="Text Placeholder 2">
            <a:extLst>
              <a:ext uri="{FF2B5EF4-FFF2-40B4-BE49-F238E27FC236}">
                <a16:creationId xmlns:a16="http://schemas.microsoft.com/office/drawing/2014/main" id="{16B8C3E4-9F3D-4C8D-A8D1-1D949A9D31EA}"/>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7" name="Text Placeholder 47">
            <a:extLst>
              <a:ext uri="{FF2B5EF4-FFF2-40B4-BE49-F238E27FC236}">
                <a16:creationId xmlns:a16="http://schemas.microsoft.com/office/drawing/2014/main" id="{3F709CA9-7ECB-4967-B989-FFF289471B0B}"/>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tx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2360417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3448726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0.xml><?xml version="1.0" encoding="utf-8"?>
<p:sldLayout xmlns:a="http://schemas.openxmlformats.org/drawingml/2006/main" xmlns:r="http://schemas.openxmlformats.org/officeDocument/2006/relationships" xmlns:p="http://schemas.openxmlformats.org/presentationml/2006/main" showMasterSp="0" preserve="1" userDrawn="1">
  <p:cSld name="SD Blank Fireball 2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B19B0ED-B474-4D33-836E-D2CDA79C5449}"/>
              </a:ext>
            </a:extLst>
          </p:cNvPr>
          <p:cNvGrpSpPr/>
          <p:nvPr userDrawn="1"/>
        </p:nvGrpSpPr>
        <p:grpSpPr>
          <a:xfrm>
            <a:off x="2118610" y="-558521"/>
            <a:ext cx="7954780" cy="7975042"/>
            <a:chOff x="2118610" y="-558521"/>
            <a:chExt cx="7954780" cy="7975042"/>
          </a:xfrm>
        </p:grpSpPr>
        <p:sp>
          <p:nvSpPr>
            <p:cNvPr id="5" name="Freeform 21">
              <a:extLst>
                <a:ext uri="{FF2B5EF4-FFF2-40B4-BE49-F238E27FC236}">
                  <a16:creationId xmlns:a16="http://schemas.microsoft.com/office/drawing/2014/main" id="{C909BC99-2790-4BD1-9E25-7C807A3692CD}"/>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EEF1F5"/>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4CA3B432-5549-4D32-A518-E58B9A955625}"/>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E4E8F0"/>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7" name="Freeform 23">
              <a:extLst>
                <a:ext uri="{FF2B5EF4-FFF2-40B4-BE49-F238E27FC236}">
                  <a16:creationId xmlns:a16="http://schemas.microsoft.com/office/drawing/2014/main" id="{F3A4D887-8F37-423F-BD6E-FD99771BB430}"/>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outerShdw blurRad="304800" dist="304800" dir="8100000" algn="tr" rotWithShape="0">
                <a:schemeClr val="accent5">
                  <a:lumMod val="50000"/>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8" name="Freeform 23">
              <a:extLst>
                <a:ext uri="{FF2B5EF4-FFF2-40B4-BE49-F238E27FC236}">
                  <a16:creationId xmlns:a16="http://schemas.microsoft.com/office/drawing/2014/main" id="{D8062B03-6029-45BE-9236-AEA57932BB6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6">
                <a:lumMod val="40000"/>
                <a:lumOff val="60000"/>
              </a:schemeClr>
            </a:solidFill>
            <a:ln>
              <a:noFill/>
            </a:ln>
            <a:effectLst>
              <a:innerShdw blurRad="304800" dist="228600">
                <a:schemeClr val="accent5">
                  <a:lumMod val="50000"/>
                  <a:alpha val="35000"/>
                </a:scheme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0" name="Text Placeholder 2">
            <a:extLst>
              <a:ext uri="{FF2B5EF4-FFF2-40B4-BE49-F238E27FC236}">
                <a16:creationId xmlns:a16="http://schemas.microsoft.com/office/drawing/2014/main" id="{1B2798E6-6971-4C62-B298-8434FE939355}"/>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3" name="TextBox 12">
            <a:extLst>
              <a:ext uri="{FF2B5EF4-FFF2-40B4-BE49-F238E27FC236}">
                <a16:creationId xmlns:a16="http://schemas.microsoft.com/office/drawing/2014/main" id="{92ED7BC6-7327-5148-BD05-DC8203396EC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
        <p:nvSpPr>
          <p:cNvPr id="17" name="Text Placeholder 2">
            <a:extLst>
              <a:ext uri="{FF2B5EF4-FFF2-40B4-BE49-F238E27FC236}">
                <a16:creationId xmlns:a16="http://schemas.microsoft.com/office/drawing/2014/main" id="{1D37783B-92BD-45E0-A8C1-A8EEF709C22E}"/>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8" name="Text Placeholder 47">
            <a:extLst>
              <a:ext uri="{FF2B5EF4-FFF2-40B4-BE49-F238E27FC236}">
                <a16:creationId xmlns:a16="http://schemas.microsoft.com/office/drawing/2014/main" id="{7DD45AE6-5FFF-448D-8664-D0A2D9421437}"/>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tx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207171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1.xml><?xml version="1.0" encoding="utf-8"?>
<p:sldLayout xmlns:a="http://schemas.openxmlformats.org/drawingml/2006/main" xmlns:r="http://schemas.openxmlformats.org/officeDocument/2006/relationships" xmlns:p="http://schemas.openxmlformats.org/presentationml/2006/main" showMasterSp="0" preserve="1" userDrawn="1">
  <p:cSld name="SD Blank Fireball 2 Gunmetal">
    <p:bg>
      <p:bgPr>
        <a:solidFill>
          <a:schemeClr val="accent5"/>
        </a:solidFill>
        <a:effectLst/>
      </p:bgPr>
    </p:bg>
    <p:spTree>
      <p:nvGrpSpPr>
        <p:cNvPr id="1" name=""/>
        <p:cNvGrpSpPr/>
        <p:nvPr/>
      </p:nvGrpSpPr>
      <p:grpSpPr>
        <a:xfrm>
          <a:off x="0" y="0"/>
          <a:ext cx="0" cy="0"/>
          <a:chOff x="0" y="0"/>
          <a:chExt cx="0" cy="0"/>
        </a:xfrm>
      </p:grpSpPr>
      <p:sp>
        <p:nvSpPr>
          <p:cNvPr id="5" name="Freeform 21">
            <a:extLst>
              <a:ext uri="{FF2B5EF4-FFF2-40B4-BE49-F238E27FC236}">
                <a16:creationId xmlns:a16="http://schemas.microsoft.com/office/drawing/2014/main" id="{C909BC99-2790-4BD1-9E25-7C807A3692CD}"/>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3F4D65"/>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4CA3B432-5549-4D32-A518-E58B9A955625}"/>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4E5F7A"/>
          </a:solidFill>
          <a:ln>
            <a:noFill/>
          </a:ln>
          <a:effectLst>
            <a:outerShdw blurRad="304800" dist="304800" dir="8100000" algn="tr" rotWithShape="0">
              <a:srgbClr val="0A0C10">
                <a:alpha val="34902"/>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7" name="Freeform 23">
            <a:extLst>
              <a:ext uri="{FF2B5EF4-FFF2-40B4-BE49-F238E27FC236}">
                <a16:creationId xmlns:a16="http://schemas.microsoft.com/office/drawing/2014/main" id="{F3A4D887-8F37-423F-BD6E-FD99771BB430}"/>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outerShdw blurRad="304800" dist="304800" dir="8100000" algn="tr" rotWithShape="0">
              <a:srgbClr val="090B0F">
                <a:alpha val="34902"/>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8" name="Freeform 23">
            <a:extLst>
              <a:ext uri="{FF2B5EF4-FFF2-40B4-BE49-F238E27FC236}">
                <a16:creationId xmlns:a16="http://schemas.microsoft.com/office/drawing/2014/main" id="{D8062B03-6029-45BE-9236-AEA57932BB6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innerShdw blurRad="304800" dist="304800">
              <a:srgbClr val="080A0C">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sp>
        <p:nvSpPr>
          <p:cNvPr id="10" name="Text Placeholder 2">
            <a:extLst>
              <a:ext uri="{FF2B5EF4-FFF2-40B4-BE49-F238E27FC236}">
                <a16:creationId xmlns:a16="http://schemas.microsoft.com/office/drawing/2014/main" id="{11733D67-8F17-48E5-8721-648A321CB617}"/>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9" name="TextBox 8">
            <a:extLst>
              <a:ext uri="{FF2B5EF4-FFF2-40B4-BE49-F238E27FC236}">
                <a16:creationId xmlns:a16="http://schemas.microsoft.com/office/drawing/2014/main" id="{2C995166-EB53-2842-BADE-906F0C8250D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6" name="Text Placeholder 2">
            <a:extLst>
              <a:ext uri="{FF2B5EF4-FFF2-40B4-BE49-F238E27FC236}">
                <a16:creationId xmlns:a16="http://schemas.microsoft.com/office/drawing/2014/main" id="{56E69B2D-39C4-485E-868E-0BCAED86F1F6}"/>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7" name="Text Placeholder 47">
            <a:extLst>
              <a:ext uri="{FF2B5EF4-FFF2-40B4-BE49-F238E27FC236}">
                <a16:creationId xmlns:a16="http://schemas.microsoft.com/office/drawing/2014/main" id="{BA50C9A3-5C39-479C-A785-3A1A86CD75EE}"/>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2176277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2.xml><?xml version="1.0" encoding="utf-8"?>
<p:sldLayout xmlns:a="http://schemas.openxmlformats.org/drawingml/2006/main" xmlns:r="http://schemas.openxmlformats.org/officeDocument/2006/relationships" xmlns:p="http://schemas.openxmlformats.org/presentationml/2006/main" showMasterSp="0" preserve="1" userDrawn="1">
  <p:cSld name="SD Blank Fireball 2 Midnight">
    <p:bg>
      <p:bgPr>
        <a:solidFill>
          <a:schemeClr val="tx2"/>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A5DDF63-EA9F-4B09-AD38-3CF158117D3F}"/>
              </a:ext>
            </a:extLst>
          </p:cNvPr>
          <p:cNvGrpSpPr/>
          <p:nvPr userDrawn="1"/>
        </p:nvGrpSpPr>
        <p:grpSpPr>
          <a:xfrm>
            <a:off x="2118610" y="-558521"/>
            <a:ext cx="7954780" cy="7975042"/>
            <a:chOff x="2801769" y="126378"/>
            <a:chExt cx="6588462" cy="6605244"/>
          </a:xfrm>
        </p:grpSpPr>
        <p:sp>
          <p:nvSpPr>
            <p:cNvPr id="5" name="Freeform 21">
              <a:extLst>
                <a:ext uri="{FF2B5EF4-FFF2-40B4-BE49-F238E27FC236}">
                  <a16:creationId xmlns:a16="http://schemas.microsoft.com/office/drawing/2014/main" id="{C909BC99-2790-4BD1-9E25-7C807A3692CD}"/>
                </a:ext>
              </a:extLst>
            </p:cNvPr>
            <p:cNvSpPr>
              <a:spLocks/>
            </p:cNvSpPr>
            <p:nvPr/>
          </p:nvSpPr>
          <p:spPr bwMode="auto">
            <a:xfrm>
              <a:off x="2801769" y="126378"/>
              <a:ext cx="6588462" cy="6589988"/>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6" name="Freeform 22">
              <a:extLst>
                <a:ext uri="{FF2B5EF4-FFF2-40B4-BE49-F238E27FC236}">
                  <a16:creationId xmlns:a16="http://schemas.microsoft.com/office/drawing/2014/main" id="{4CA3B432-5549-4D32-A518-E58B9A955625}"/>
                </a:ext>
              </a:extLst>
            </p:cNvPr>
            <p:cNvSpPr>
              <a:spLocks/>
            </p:cNvSpPr>
            <p:nvPr/>
          </p:nvSpPr>
          <p:spPr bwMode="auto">
            <a:xfrm>
              <a:off x="2801769" y="126378"/>
              <a:ext cx="4950118" cy="6605243"/>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0D2C4B"/>
            </a:solidFill>
            <a:ln>
              <a:noFill/>
            </a:ln>
            <a:effectLst>
              <a:outerShdw blurRad="304800" dist="304800" dir="10800000" algn="r" rotWithShape="0">
                <a:srgbClr val="02080E">
                  <a:alpha val="34902"/>
                </a:srgbClr>
              </a:outerShdw>
            </a:effectLst>
          </p:spPr>
          <p:txBody>
            <a:bodyPr vert="horz" wrap="square" lIns="91440" tIns="45720" rIns="91440" bIns="45720" numCol="1" anchor="t" anchorCtr="0" compatLnSpc="1">
              <a:prstTxWarp prst="textNoShape">
                <a:avLst/>
              </a:prstTxWarp>
            </a:bodyPr>
            <a:lstStyle/>
            <a:p>
              <a:endParaRPr lang="en-US"/>
            </a:p>
          </p:txBody>
        </p:sp>
        <p:sp>
          <p:nvSpPr>
            <p:cNvPr id="7" name="Freeform 23">
              <a:extLst>
                <a:ext uri="{FF2B5EF4-FFF2-40B4-BE49-F238E27FC236}">
                  <a16:creationId xmlns:a16="http://schemas.microsoft.com/office/drawing/2014/main" id="{F3A4D887-8F37-423F-BD6E-FD99771BB430}"/>
                </a:ext>
              </a:extLst>
            </p:cNvPr>
            <p:cNvSpPr>
              <a:spLocks/>
            </p:cNvSpPr>
            <p:nvPr/>
          </p:nvSpPr>
          <p:spPr bwMode="auto">
            <a:xfrm>
              <a:off x="5062501" y="127904"/>
              <a:ext cx="4327730" cy="660371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outerShdw blurRad="304800" dist="304800" dir="8100000" algn="tr" rotWithShape="0">
                <a:srgbClr val="050D13">
                  <a:alpha val="34902"/>
                </a:srgbClr>
              </a:outerShdw>
            </a:effectLst>
          </p:spPr>
          <p:txBody>
            <a:bodyPr vert="horz" wrap="square" lIns="91440" tIns="45720" rIns="91440" bIns="45720" numCol="1" anchor="t" anchorCtr="0" compatLnSpc="1">
              <a:prstTxWarp prst="textNoShape">
                <a:avLst/>
              </a:prstTxWarp>
            </a:bodyPr>
            <a:lstStyle/>
            <a:p>
              <a:endParaRPr lang="en-US"/>
            </a:p>
          </p:txBody>
        </p:sp>
        <p:sp>
          <p:nvSpPr>
            <p:cNvPr id="8" name="Freeform 23">
              <a:extLst>
                <a:ext uri="{FF2B5EF4-FFF2-40B4-BE49-F238E27FC236}">
                  <a16:creationId xmlns:a16="http://schemas.microsoft.com/office/drawing/2014/main" id="{D8062B03-6029-45BE-9236-AEA57932BB6E}"/>
                </a:ext>
              </a:extLst>
            </p:cNvPr>
            <p:cNvSpPr>
              <a:spLocks/>
            </p:cNvSpPr>
            <p:nvPr/>
          </p:nvSpPr>
          <p:spPr bwMode="auto">
            <a:xfrm>
              <a:off x="5062501" y="127904"/>
              <a:ext cx="4327730" cy="6603718"/>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0D2C4B"/>
            </a:solidFill>
            <a:ln>
              <a:noFill/>
            </a:ln>
            <a:effectLst>
              <a:innerShdw blurRad="304800" dist="304800" dir="18900000">
                <a:srgbClr val="050D13">
                  <a:alpha val="50000"/>
                </a:srgbClr>
              </a:innerShdw>
            </a:effectLst>
          </p:spPr>
          <p:txBody>
            <a:bodyPr vert="horz" wrap="square" lIns="91440" tIns="45720" rIns="91440" bIns="45720" numCol="1" anchor="t" anchorCtr="0" compatLnSpc="1">
              <a:prstTxWarp prst="textNoShape">
                <a:avLst/>
              </a:prstTxWarp>
            </a:bodyPr>
            <a:lstStyle/>
            <a:p>
              <a:endParaRPr lang="en-US"/>
            </a:p>
          </p:txBody>
        </p:sp>
      </p:grpSp>
      <p:sp>
        <p:nvSpPr>
          <p:cNvPr id="10" name="Text Placeholder 2">
            <a:extLst>
              <a:ext uri="{FF2B5EF4-FFF2-40B4-BE49-F238E27FC236}">
                <a16:creationId xmlns:a16="http://schemas.microsoft.com/office/drawing/2014/main" id="{82BF70D1-2372-4B77-B2A2-31833C33D018}"/>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13" name="TextBox 12">
            <a:extLst>
              <a:ext uri="{FF2B5EF4-FFF2-40B4-BE49-F238E27FC236}">
                <a16:creationId xmlns:a16="http://schemas.microsoft.com/office/drawing/2014/main" id="{C5058962-74F8-A743-AD5E-27A4A90189B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
        <p:nvSpPr>
          <p:cNvPr id="15" name="Text Placeholder 2">
            <a:extLst>
              <a:ext uri="{FF2B5EF4-FFF2-40B4-BE49-F238E27FC236}">
                <a16:creationId xmlns:a16="http://schemas.microsoft.com/office/drawing/2014/main" id="{BE8555D9-AA6D-4C69-9ACF-93F32F5DB89A}"/>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6" name="Text Placeholder 47">
            <a:extLst>
              <a:ext uri="{FF2B5EF4-FFF2-40B4-BE49-F238E27FC236}">
                <a16:creationId xmlns:a16="http://schemas.microsoft.com/office/drawing/2014/main" id="{550A8FB1-A866-4D28-BA93-A8493FF075EA}"/>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1185998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SD Shelf Red">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C92B453A-5E12-4F44-BB8F-D65CF49A9122}"/>
              </a:ext>
            </a:extLst>
          </p:cNvPr>
          <p:cNvSpPr/>
          <p:nvPr userDrawn="1"/>
        </p:nvSpPr>
        <p:spPr bwMode="gray">
          <a:xfrm>
            <a:off x="481013" y="5312740"/>
            <a:ext cx="11856130" cy="1697660"/>
          </a:xfrm>
          <a:prstGeom prst="roundRect">
            <a:avLst>
              <a:gd name="adj" fmla="val 4848"/>
            </a:avLst>
          </a:prstGeom>
          <a:solidFill>
            <a:schemeClr val="bg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6">
                    <a:lumMod val="75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42BA5A4B-EF02-4E2D-8046-A008C6824853}"/>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TextBox 9">
            <a:extLst>
              <a:ext uri="{FF2B5EF4-FFF2-40B4-BE49-F238E27FC236}">
                <a16:creationId xmlns:a16="http://schemas.microsoft.com/office/drawing/2014/main" id="{5C7CD035-E3AE-094C-9116-E763D4650A7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350339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SD Shelf Whit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bg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6">
                    <a:lumMod val="75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03CF40E9-DEAF-493C-B475-895B049DB0F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0" name="TextBox 9">
            <a:extLst>
              <a:ext uri="{FF2B5EF4-FFF2-40B4-BE49-F238E27FC236}">
                <a16:creationId xmlns:a16="http://schemas.microsoft.com/office/drawing/2014/main" id="{CF84B7E2-7102-7249-878F-AE7424E637F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693711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SD Shelf Nicke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1C775F73-24E3-4EFE-81CC-0A42D0DB0585}"/>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0" name="TextBox 9">
            <a:extLst>
              <a:ext uri="{FF2B5EF4-FFF2-40B4-BE49-F238E27FC236}">
                <a16:creationId xmlns:a16="http://schemas.microsoft.com/office/drawing/2014/main" id="{11923F10-D7DD-9C42-B84B-BC4F192B70B4}"/>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164974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userDrawn="1">
  <p:cSld name="SD Shelf Gun Metal">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69505E91-7C68-D541-9803-812E1EBF74DF}"/>
              </a:ext>
            </a:extLst>
          </p:cNvPr>
          <p:cNvSpPr/>
          <p:nvPr userDrawn="1"/>
        </p:nvSpPr>
        <p:spPr bwMode="gray">
          <a:xfrm>
            <a:off x="481013" y="5312740"/>
            <a:ext cx="11856130" cy="1697660"/>
          </a:xfrm>
          <a:prstGeom prst="roundRect">
            <a:avLst>
              <a:gd name="adj" fmla="val 4848"/>
            </a:avLst>
          </a:prstGeom>
          <a:solidFill>
            <a:schemeClr val="accent5"/>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6">
                    <a:lumMod val="75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5C13B54D-96FE-401E-9628-2EE14ED88006}"/>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C4DA8D7E-8B55-4949-9258-214A3F27320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30635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SD Shelf Midnight">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C92B453A-5E12-4F44-BB8F-D65CF49A9122}"/>
              </a:ext>
            </a:extLst>
          </p:cNvPr>
          <p:cNvSpPr/>
          <p:nvPr userDrawn="1"/>
        </p:nvSpPr>
        <p:spPr bwMode="gray">
          <a:xfrm>
            <a:off x="481013" y="5312740"/>
            <a:ext cx="11856130" cy="1697660"/>
          </a:xfrm>
          <a:prstGeom prst="roundRect">
            <a:avLst>
              <a:gd name="adj" fmla="val 4848"/>
            </a:avLst>
          </a:prstGeom>
          <a:solidFill>
            <a:schemeClr val="tx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6">
                    <a:lumMod val="75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EAB4FB2F-9AB9-432F-93E7-DA8BC9D85FA0}"/>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5">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2FE1FE39-599B-8149-8E95-00D55D065F79}"/>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502649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userDrawn="1">
  <p:cSld name="SD Fifty Fifty Red">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bg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25645"/>
            <a:ext cx="5103876" cy="878959"/>
          </a:xfrm>
        </p:spPr>
        <p:txBody>
          <a:bodyPr>
            <a:spAutoFit/>
          </a:bodyPr>
          <a:lstStyle>
            <a:lvl1pPr>
              <a:defRPr>
                <a:solidFill>
                  <a:schemeClr val="tx2"/>
                </a:solidFill>
              </a:defRPr>
            </a:lvl1pPr>
          </a:lstStyle>
          <a:p>
            <a:r>
              <a:rPr lang="en-US"/>
              <a:t>Click to edit Master title style</a:t>
            </a:r>
            <a:endParaRPr lang="en-US" dirty="0"/>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ext Placeholder 5">
            <a:extLst>
              <a:ext uri="{FF2B5EF4-FFF2-40B4-BE49-F238E27FC236}">
                <a16:creationId xmlns:a16="http://schemas.microsoft.com/office/drawing/2014/main" id="{100245D1-05D8-FA4A-82B9-661F4B47B008}"/>
              </a:ext>
            </a:extLst>
          </p:cNvPr>
          <p:cNvSpPr>
            <a:spLocks noGrp="1"/>
          </p:cNvSpPr>
          <p:nvPr>
            <p:ph type="body" sz="quarter" idx="15"/>
          </p:nvPr>
        </p:nvSpPr>
        <p:spPr bwMode="gray">
          <a:xfrm>
            <a:off x="6583680" y="1719072"/>
            <a:ext cx="5111496" cy="4270248"/>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4">
            <a:extLst>
              <a:ext uri="{FF2B5EF4-FFF2-40B4-BE49-F238E27FC236}">
                <a16:creationId xmlns:a16="http://schemas.microsoft.com/office/drawing/2014/main" id="{E0B79BE6-91A0-FD43-99F8-8A2888FCA52B}"/>
              </a:ext>
            </a:extLst>
          </p:cNvPr>
          <p:cNvSpPr>
            <a:spLocks noGrp="1"/>
          </p:cNvSpPr>
          <p:nvPr>
            <p:ph sz="quarter" idx="17"/>
          </p:nvPr>
        </p:nvSpPr>
        <p:spPr>
          <a:xfrm>
            <a:off x="495300" y="1719072"/>
            <a:ext cx="5111495"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606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SD Fifty Fifty White">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25645"/>
            <a:ext cx="5103876" cy="878959"/>
          </a:xfrm>
        </p:spPr>
        <p:txBody>
          <a:bodyPr>
            <a:spAutoFit/>
          </a:bodyPr>
          <a:lstStyle>
            <a:lvl1pPr>
              <a:defRPr>
                <a:solidFill>
                  <a:schemeClr val="tx2"/>
                </a:solidFill>
              </a:defRPr>
            </a:lvl1pPr>
          </a:lstStyle>
          <a:p>
            <a:r>
              <a:rPr lang="en-US"/>
              <a:t>Click to edit Master title style</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ext Placeholder 5">
            <a:extLst>
              <a:ext uri="{FF2B5EF4-FFF2-40B4-BE49-F238E27FC236}">
                <a16:creationId xmlns:a16="http://schemas.microsoft.com/office/drawing/2014/main" id="{100245D1-05D8-FA4A-82B9-661F4B47B008}"/>
              </a:ext>
            </a:extLst>
          </p:cNvPr>
          <p:cNvSpPr>
            <a:spLocks noGrp="1"/>
          </p:cNvSpPr>
          <p:nvPr>
            <p:ph type="body" sz="quarter" idx="15"/>
          </p:nvPr>
        </p:nvSpPr>
        <p:spPr bwMode="gray">
          <a:xfrm>
            <a:off x="6583680" y="1719072"/>
            <a:ext cx="5111496" cy="4270248"/>
          </a:xfrm>
          <a:prstGeom prst="rect">
            <a:avLst/>
          </a:prstGeom>
        </p:spPr>
        <p:txBody>
          <a:bodyPr/>
          <a:lstStyle>
            <a:lvl1pPr>
              <a:buClrTx/>
              <a:defRPr>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4">
            <a:extLst>
              <a:ext uri="{FF2B5EF4-FFF2-40B4-BE49-F238E27FC236}">
                <a16:creationId xmlns:a16="http://schemas.microsoft.com/office/drawing/2014/main" id="{E0B79BE6-91A0-FD43-99F8-8A2888FCA52B}"/>
              </a:ext>
            </a:extLst>
          </p:cNvPr>
          <p:cNvSpPr>
            <a:spLocks noGrp="1"/>
          </p:cNvSpPr>
          <p:nvPr>
            <p:ph sz="quarter" idx="17"/>
          </p:nvPr>
        </p:nvSpPr>
        <p:spPr>
          <a:xfrm>
            <a:off x="495300" y="1719072"/>
            <a:ext cx="5111495"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5747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9075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SD Fifty Fifty Nickel">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25645"/>
            <a:ext cx="5103876" cy="878959"/>
          </a:xfrm>
        </p:spPr>
        <p:txBody>
          <a:bodyPr>
            <a:spAutoFit/>
          </a:bodyPr>
          <a:lstStyle>
            <a:lvl1pPr>
              <a:defRPr>
                <a:solidFill>
                  <a:schemeClr val="tx2"/>
                </a:solidFill>
              </a:defRPr>
            </a:lvl1pPr>
          </a:lstStyle>
          <a:p>
            <a:r>
              <a:rPr lang="en-US"/>
              <a:t>Click to edit Master title style</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ext Placeholder 5">
            <a:extLst>
              <a:ext uri="{FF2B5EF4-FFF2-40B4-BE49-F238E27FC236}">
                <a16:creationId xmlns:a16="http://schemas.microsoft.com/office/drawing/2014/main" id="{100245D1-05D8-FA4A-82B9-661F4B47B008}"/>
              </a:ext>
            </a:extLst>
          </p:cNvPr>
          <p:cNvSpPr>
            <a:spLocks noGrp="1"/>
          </p:cNvSpPr>
          <p:nvPr>
            <p:ph type="body" sz="quarter" idx="15"/>
          </p:nvPr>
        </p:nvSpPr>
        <p:spPr bwMode="gray">
          <a:xfrm>
            <a:off x="6583680" y="1719072"/>
            <a:ext cx="5111496" cy="4270248"/>
          </a:xfrm>
          <a:prstGeom prst="rect">
            <a:avLst/>
          </a:prstGeom>
        </p:spPr>
        <p:txBody>
          <a:bodyPr/>
          <a:lstStyle>
            <a:lvl1pPr>
              <a:buClrTx/>
              <a:defRPr>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4">
            <a:extLst>
              <a:ext uri="{FF2B5EF4-FFF2-40B4-BE49-F238E27FC236}">
                <a16:creationId xmlns:a16="http://schemas.microsoft.com/office/drawing/2014/main" id="{E0B79BE6-91A0-FD43-99F8-8A2888FCA52B}"/>
              </a:ext>
            </a:extLst>
          </p:cNvPr>
          <p:cNvSpPr>
            <a:spLocks noGrp="1"/>
          </p:cNvSpPr>
          <p:nvPr>
            <p:ph sz="quarter" idx="17"/>
          </p:nvPr>
        </p:nvSpPr>
        <p:spPr>
          <a:xfrm>
            <a:off x="495300" y="1719072"/>
            <a:ext cx="5111495"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33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SD Fifty Fifty Gun Metal">
    <p:spTree>
      <p:nvGrpSpPr>
        <p:cNvPr id="1" name=""/>
        <p:cNvGrpSpPr/>
        <p:nvPr/>
      </p:nvGrpSpPr>
      <p:grpSpPr>
        <a:xfrm>
          <a:off x="0" y="0"/>
          <a:ext cx="0" cy="0"/>
          <a:chOff x="0" y="0"/>
          <a:chExt cx="0" cy="0"/>
        </a:xfrm>
      </p:grpSpPr>
      <p:sp>
        <p:nvSpPr>
          <p:cNvPr id="21" name="Rectangle: Rounded Corners 19">
            <a:extLst>
              <a:ext uri="{FF2B5EF4-FFF2-40B4-BE49-F238E27FC236}">
                <a16:creationId xmlns:a16="http://schemas.microsoft.com/office/drawing/2014/main" id="{F87F1BE8-1C87-7140-8D96-5BAA105664DE}"/>
              </a:ext>
            </a:extLst>
          </p:cNvPr>
          <p:cNvSpPr/>
          <p:nvPr userDrawn="1"/>
        </p:nvSpPr>
        <p:spPr bwMode="gray">
          <a:xfrm>
            <a:off x="6093390" y="-159655"/>
            <a:ext cx="6272784" cy="6519672"/>
          </a:xfrm>
          <a:prstGeom prst="roundRect">
            <a:avLst>
              <a:gd name="adj" fmla="val 1350"/>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25645"/>
            <a:ext cx="5111495" cy="878959"/>
          </a:xfrm>
        </p:spPr>
        <p:txBody>
          <a:bodyPr>
            <a:spAutoFit/>
          </a:bodyPr>
          <a:lstStyle>
            <a:lvl1pPr>
              <a:defRPr>
                <a:solidFill>
                  <a:schemeClr val="tx2"/>
                </a:solidFill>
              </a:defRPr>
            </a:lvl1pPr>
          </a:lstStyle>
          <a:p>
            <a:r>
              <a:rPr lang="en-US"/>
              <a:t>Click to edit Master title style</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5">
            <a:extLst>
              <a:ext uri="{FF2B5EF4-FFF2-40B4-BE49-F238E27FC236}">
                <a16:creationId xmlns:a16="http://schemas.microsoft.com/office/drawing/2014/main" id="{EB6F6D38-8378-8946-AE37-D76813BE4ED1}"/>
              </a:ext>
            </a:extLst>
          </p:cNvPr>
          <p:cNvSpPr>
            <a:spLocks noGrp="1"/>
          </p:cNvSpPr>
          <p:nvPr>
            <p:ph type="body" sz="quarter" idx="15"/>
          </p:nvPr>
        </p:nvSpPr>
        <p:spPr bwMode="gray">
          <a:xfrm>
            <a:off x="6583680" y="1719072"/>
            <a:ext cx="5111496" cy="4270248"/>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4">
            <a:extLst>
              <a:ext uri="{FF2B5EF4-FFF2-40B4-BE49-F238E27FC236}">
                <a16:creationId xmlns:a16="http://schemas.microsoft.com/office/drawing/2014/main" id="{D808691C-4519-914E-8F02-AF2542CE6739}"/>
              </a:ext>
            </a:extLst>
          </p:cNvPr>
          <p:cNvSpPr>
            <a:spLocks noGrp="1"/>
          </p:cNvSpPr>
          <p:nvPr>
            <p:ph sz="quarter" idx="17"/>
          </p:nvPr>
        </p:nvSpPr>
        <p:spPr>
          <a:xfrm>
            <a:off x="495300" y="1719072"/>
            <a:ext cx="5111495"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8902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2.xml><?xml version="1.0" encoding="utf-8"?>
<p:sldLayout xmlns:a="http://schemas.openxmlformats.org/drawingml/2006/main" xmlns:r="http://schemas.openxmlformats.org/officeDocument/2006/relationships" xmlns:p="http://schemas.openxmlformats.org/presentationml/2006/main" preserve="1" userDrawn="1">
  <p:cSld name="SD Fifty Fifty Midnight">
    <p:spTree>
      <p:nvGrpSpPr>
        <p:cNvPr id="1" name=""/>
        <p:cNvGrpSpPr/>
        <p:nvPr/>
      </p:nvGrpSpPr>
      <p:grpSpPr>
        <a:xfrm>
          <a:off x="0" y="0"/>
          <a:ext cx="0" cy="0"/>
          <a:chOff x="0" y="0"/>
          <a:chExt cx="0" cy="0"/>
        </a:xfrm>
      </p:grpSpPr>
      <p:sp>
        <p:nvSpPr>
          <p:cNvPr id="22" name="Rectangle: Rounded Corners 19">
            <a:extLst>
              <a:ext uri="{FF2B5EF4-FFF2-40B4-BE49-F238E27FC236}">
                <a16:creationId xmlns:a16="http://schemas.microsoft.com/office/drawing/2014/main" id="{93B00248-C527-3D45-83C9-6F26343EC0C4}"/>
              </a:ext>
            </a:extLst>
          </p:cNvPr>
          <p:cNvSpPr/>
          <p:nvPr userDrawn="1"/>
        </p:nvSpPr>
        <p:spPr bwMode="gray">
          <a:xfrm>
            <a:off x="6093390" y="-159655"/>
            <a:ext cx="6272784" cy="6519672"/>
          </a:xfrm>
          <a:prstGeom prst="roundRect">
            <a:avLst>
              <a:gd name="adj" fmla="val 1350"/>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25645"/>
            <a:ext cx="5111495" cy="878959"/>
          </a:xfrm>
        </p:spPr>
        <p:txBody>
          <a:bodyPr>
            <a:spAutoFit/>
          </a:bodyPr>
          <a:lstStyle>
            <a:lvl1pPr>
              <a:defRPr>
                <a:solidFill>
                  <a:schemeClr val="tx2"/>
                </a:solidFill>
              </a:defRPr>
            </a:lvl1pPr>
          </a:lstStyle>
          <a:p>
            <a:r>
              <a:rPr lang="en-US"/>
              <a:t>Click to edit Master title style</a:t>
            </a:r>
            <a:endParaRPr lang="en-US" dirty="0"/>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5">
            <a:extLst>
              <a:ext uri="{FF2B5EF4-FFF2-40B4-BE49-F238E27FC236}">
                <a16:creationId xmlns:a16="http://schemas.microsoft.com/office/drawing/2014/main" id="{CE187649-C2CF-3048-88B5-038E7AE26350}"/>
              </a:ext>
            </a:extLst>
          </p:cNvPr>
          <p:cNvSpPr>
            <a:spLocks noGrp="1"/>
          </p:cNvSpPr>
          <p:nvPr>
            <p:ph type="body" sz="quarter" idx="15"/>
          </p:nvPr>
        </p:nvSpPr>
        <p:spPr bwMode="gray">
          <a:xfrm>
            <a:off x="6583680" y="1719072"/>
            <a:ext cx="5111496" cy="4270248"/>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4">
            <a:extLst>
              <a:ext uri="{FF2B5EF4-FFF2-40B4-BE49-F238E27FC236}">
                <a16:creationId xmlns:a16="http://schemas.microsoft.com/office/drawing/2014/main" id="{82F18929-5BBB-5E40-B967-9F715090FFDF}"/>
              </a:ext>
            </a:extLst>
          </p:cNvPr>
          <p:cNvSpPr>
            <a:spLocks noGrp="1"/>
          </p:cNvSpPr>
          <p:nvPr>
            <p:ph sz="quarter" idx="17"/>
          </p:nvPr>
        </p:nvSpPr>
        <p:spPr>
          <a:xfrm>
            <a:off x="495300" y="1719072"/>
            <a:ext cx="5111495"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486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3.xml><?xml version="1.0" encoding="utf-8"?>
<p:sldLayout xmlns:a="http://schemas.openxmlformats.org/drawingml/2006/main" xmlns:r="http://schemas.openxmlformats.org/officeDocument/2006/relationships" xmlns:p="http://schemas.openxmlformats.org/presentationml/2006/main" preserve="1" userDrawn="1">
  <p:cSld name="SD_Cutaway 1/3 Right Red">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bg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65125"/>
            <a:ext cx="6426200" cy="439479"/>
          </a:xfrm>
        </p:spPr>
        <p:txBody>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2">
            <a:extLst>
              <a:ext uri="{FF2B5EF4-FFF2-40B4-BE49-F238E27FC236}">
                <a16:creationId xmlns:a16="http://schemas.microsoft.com/office/drawing/2014/main" id="{4356B5D2-CD05-40B9-A218-4AB869EE2A47}"/>
              </a:ext>
            </a:extLst>
          </p:cNvPr>
          <p:cNvSpPr>
            <a:spLocks noGrp="1"/>
          </p:cNvSpPr>
          <p:nvPr>
            <p:ph type="body" sz="quarter" idx="17"/>
          </p:nvPr>
        </p:nvSpPr>
        <p:spPr>
          <a:xfrm>
            <a:off x="8829674" y="2058988"/>
            <a:ext cx="2867026" cy="411162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9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4.xml><?xml version="1.0" encoding="utf-8"?>
<p:sldLayout xmlns:a="http://schemas.openxmlformats.org/drawingml/2006/main" xmlns:r="http://schemas.openxmlformats.org/officeDocument/2006/relationships" xmlns:p="http://schemas.openxmlformats.org/presentationml/2006/main" preserve="1" userDrawn="1">
  <p:cSld name="SD_Cutaway 1/3 Right White">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65125"/>
            <a:ext cx="6426200" cy="439479"/>
          </a:xfrm>
        </p:spPr>
        <p:txBody>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2">
            <a:extLst>
              <a:ext uri="{FF2B5EF4-FFF2-40B4-BE49-F238E27FC236}">
                <a16:creationId xmlns:a16="http://schemas.microsoft.com/office/drawing/2014/main" id="{4356B5D2-CD05-40B9-A218-4AB869EE2A47}"/>
              </a:ext>
            </a:extLst>
          </p:cNvPr>
          <p:cNvSpPr>
            <a:spLocks noGrp="1"/>
          </p:cNvSpPr>
          <p:nvPr>
            <p:ph type="body" sz="quarter" idx="17"/>
          </p:nvPr>
        </p:nvSpPr>
        <p:spPr>
          <a:xfrm>
            <a:off x="8829674" y="2058988"/>
            <a:ext cx="2867026" cy="41116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8017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5.xml><?xml version="1.0" encoding="utf-8"?>
<p:sldLayout xmlns:a="http://schemas.openxmlformats.org/drawingml/2006/main" xmlns:r="http://schemas.openxmlformats.org/officeDocument/2006/relationships" xmlns:p="http://schemas.openxmlformats.org/presentationml/2006/main" preserve="1" userDrawn="1">
  <p:cSld name="SD_Cutaway 1/3 Right Nickel">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65125"/>
            <a:ext cx="6426200" cy="439479"/>
          </a:xfrm>
        </p:spPr>
        <p:txBody>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2">
            <a:extLst>
              <a:ext uri="{FF2B5EF4-FFF2-40B4-BE49-F238E27FC236}">
                <a16:creationId xmlns:a16="http://schemas.microsoft.com/office/drawing/2014/main" id="{4356B5D2-CD05-40B9-A218-4AB869EE2A47}"/>
              </a:ext>
            </a:extLst>
          </p:cNvPr>
          <p:cNvSpPr>
            <a:spLocks noGrp="1"/>
          </p:cNvSpPr>
          <p:nvPr>
            <p:ph type="body" sz="quarter" idx="17"/>
          </p:nvPr>
        </p:nvSpPr>
        <p:spPr>
          <a:xfrm>
            <a:off x="8829674" y="2058988"/>
            <a:ext cx="2867026" cy="41116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42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6.xml><?xml version="1.0" encoding="utf-8"?>
<p:sldLayout xmlns:a="http://schemas.openxmlformats.org/drawingml/2006/main" xmlns:r="http://schemas.openxmlformats.org/officeDocument/2006/relationships" xmlns:p="http://schemas.openxmlformats.org/presentationml/2006/main" preserve="1" userDrawn="1">
  <p:cSld name="SD_Cutaway 1/3 Right Gun Metal">
    <p:spTree>
      <p:nvGrpSpPr>
        <p:cNvPr id="1" name=""/>
        <p:cNvGrpSpPr/>
        <p:nvPr/>
      </p:nvGrpSpPr>
      <p:grpSpPr>
        <a:xfrm>
          <a:off x="0" y="0"/>
          <a:ext cx="0" cy="0"/>
          <a:chOff x="0" y="0"/>
          <a:chExt cx="0" cy="0"/>
        </a:xfrm>
      </p:grpSpPr>
      <p:sp>
        <p:nvSpPr>
          <p:cNvPr id="9" name="Rectangle: Rounded Corners 18">
            <a:extLst>
              <a:ext uri="{FF2B5EF4-FFF2-40B4-BE49-F238E27FC236}">
                <a16:creationId xmlns:a16="http://schemas.microsoft.com/office/drawing/2014/main" id="{4D80D427-68E5-9F42-B2B3-61C71D73B8B7}"/>
              </a:ext>
            </a:extLst>
          </p:cNvPr>
          <p:cNvSpPr/>
          <p:nvPr userDrawn="1"/>
        </p:nvSpPr>
        <p:spPr bwMode="gray">
          <a:xfrm>
            <a:off x="8460293" y="-139701"/>
            <a:ext cx="3871407" cy="6499717"/>
          </a:xfrm>
          <a:prstGeom prst="roundRect">
            <a:avLst>
              <a:gd name="adj" fmla="val 1715"/>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65125"/>
            <a:ext cx="6426200" cy="439479"/>
          </a:xfrm>
        </p:spPr>
        <p:txBody>
          <a:bodyPr/>
          <a:lstStyle>
            <a:lvl1pPr>
              <a:defRPr>
                <a:solidFill>
                  <a:schemeClr val="tx2"/>
                </a:solidFill>
              </a:defRPr>
            </a:lvl1pPr>
          </a:lstStyle>
          <a:p>
            <a:r>
              <a:rPr lang="en-US"/>
              <a:t>Click to edit Master title style</a:t>
            </a:r>
          </a:p>
        </p:txBody>
      </p:sp>
      <p:sp>
        <p:nvSpPr>
          <p:cNvPr id="8" name="Text Placeholder 2">
            <a:extLst>
              <a:ext uri="{FF2B5EF4-FFF2-40B4-BE49-F238E27FC236}">
                <a16:creationId xmlns:a16="http://schemas.microsoft.com/office/drawing/2014/main" id="{6509945B-0089-450C-B2CD-0E4FBC97B735}"/>
              </a:ext>
            </a:extLst>
          </p:cNvPr>
          <p:cNvSpPr>
            <a:spLocks noGrp="1"/>
          </p:cNvSpPr>
          <p:nvPr>
            <p:ph type="body" sz="quarter" idx="17"/>
          </p:nvPr>
        </p:nvSpPr>
        <p:spPr>
          <a:xfrm>
            <a:off x="8829674" y="2058988"/>
            <a:ext cx="2867026" cy="411162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0EB14AB7-C8B4-422F-A4E4-26D7174B5D21}"/>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282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7.xml><?xml version="1.0" encoding="utf-8"?>
<p:sldLayout xmlns:a="http://schemas.openxmlformats.org/drawingml/2006/main" xmlns:r="http://schemas.openxmlformats.org/officeDocument/2006/relationships" xmlns:p="http://schemas.openxmlformats.org/presentationml/2006/main" preserve="1" userDrawn="1">
  <p:cSld name="SD_Cutaway 1/3 Right Midnight">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896A7325-403F-0A42-A6FF-B47615E6303B}"/>
              </a:ext>
            </a:extLst>
          </p:cNvPr>
          <p:cNvSpPr/>
          <p:nvPr userDrawn="1"/>
        </p:nvSpPr>
        <p:spPr bwMode="gray">
          <a:xfrm>
            <a:off x="8460293" y="-139701"/>
            <a:ext cx="3871407" cy="6499717"/>
          </a:xfrm>
          <a:prstGeom prst="roundRect">
            <a:avLst>
              <a:gd name="adj" fmla="val 1715"/>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65125"/>
            <a:ext cx="6426200" cy="439479"/>
          </a:xfrm>
        </p:spPr>
        <p:txBody>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2">
            <a:extLst>
              <a:ext uri="{FF2B5EF4-FFF2-40B4-BE49-F238E27FC236}">
                <a16:creationId xmlns:a16="http://schemas.microsoft.com/office/drawing/2014/main" id="{470BE114-8BEC-41B2-BDBA-3BB922CC597F}"/>
              </a:ext>
            </a:extLst>
          </p:cNvPr>
          <p:cNvSpPr>
            <a:spLocks noGrp="1"/>
          </p:cNvSpPr>
          <p:nvPr>
            <p:ph type="body" sz="quarter" idx="17"/>
          </p:nvPr>
        </p:nvSpPr>
        <p:spPr>
          <a:xfrm>
            <a:off x="8829674" y="2058988"/>
            <a:ext cx="2867026" cy="411162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344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8.xml><?xml version="1.0" encoding="utf-8"?>
<p:sldLayout xmlns:a="http://schemas.openxmlformats.org/drawingml/2006/main" xmlns:r="http://schemas.openxmlformats.org/officeDocument/2006/relationships" xmlns:p="http://schemas.openxmlformats.org/presentationml/2006/main" showMasterSp="0" preserve="1" userDrawn="1">
  <p:cSld name="SD_Full Image, Title R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9069388" y="2557766"/>
            <a:ext cx="2627314" cy="1657338"/>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F2F733F4-FDC8-4D30-B7CF-F12D90AFBE39}"/>
              </a:ext>
            </a:extLst>
          </p:cNvPr>
          <p:cNvSpPr>
            <a:spLocks noGrp="1"/>
          </p:cNvSpPr>
          <p:nvPr>
            <p:ph type="title"/>
          </p:nvPr>
        </p:nvSpPr>
        <p:spPr bwMode="gray">
          <a:xfrm>
            <a:off x="9074292" y="1649323"/>
            <a:ext cx="2627313"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7" name="Footer Placeholder 2">
            <a:extLst>
              <a:ext uri="{FF2B5EF4-FFF2-40B4-BE49-F238E27FC236}">
                <a16:creationId xmlns:a16="http://schemas.microsoft.com/office/drawing/2014/main" id="{3D22F37A-B6B9-9C47-B70D-23AE6BE4CB02}"/>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9" name="TextBox 8">
            <a:extLst>
              <a:ext uri="{FF2B5EF4-FFF2-40B4-BE49-F238E27FC236}">
                <a16:creationId xmlns:a16="http://schemas.microsoft.com/office/drawing/2014/main" id="{C6B6FB58-AA0E-DC15-AACC-6F08F21FD312}"/>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065934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9.xml><?xml version="1.0" encoding="utf-8"?>
<p:sldLayout xmlns:a="http://schemas.openxmlformats.org/drawingml/2006/main" xmlns:r="http://schemas.openxmlformats.org/officeDocument/2006/relationships" xmlns:p="http://schemas.openxmlformats.org/presentationml/2006/main" showMasterSp="0" preserve="1" userDrawn="1">
  <p:cSld name="SD_Full Image, Title Lef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2608263" cy="1657338"/>
          </a:xfrm>
          <a:prstGeom prst="rect">
            <a:avLst/>
          </a:prstGeom>
        </p:spPr>
        <p:txBody>
          <a:bodyPr anchor="t">
            <a:normAutofit/>
          </a:bodyPr>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495300" y="6532895"/>
            <a:ext cx="260826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a:defRPr/>
            </a:pPr>
            <a:r>
              <a:rPr lang="en-US"/>
              <a:t>Media Web Symposium 2023</a:t>
            </a:r>
            <a:endParaRPr lang="en-US" dirty="0"/>
          </a:p>
        </p:txBody>
      </p:sp>
      <p:sp>
        <p:nvSpPr>
          <p:cNvPr id="2" name="Title 1">
            <a:extLst>
              <a:ext uri="{FF2B5EF4-FFF2-40B4-BE49-F238E27FC236}">
                <a16:creationId xmlns:a16="http://schemas.microsoft.com/office/drawing/2014/main" id="{32122FCF-2444-4089-9E65-51687ED4C279}"/>
              </a:ext>
            </a:extLst>
          </p:cNvPr>
          <p:cNvSpPr>
            <a:spLocks noGrp="1"/>
          </p:cNvSpPr>
          <p:nvPr>
            <p:ph type="title"/>
          </p:nvPr>
        </p:nvSpPr>
        <p:spPr>
          <a:xfrm>
            <a:off x="495300" y="3835007"/>
            <a:ext cx="2608262"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F688A1DC-6E2A-57AD-266E-351F71C2D9E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561707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1455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0.xml><?xml version="1.0" encoding="utf-8"?>
<p:sldLayout xmlns:a="http://schemas.openxmlformats.org/drawingml/2006/main" xmlns:r="http://schemas.openxmlformats.org/officeDocument/2006/relationships" xmlns:p="http://schemas.openxmlformats.org/presentationml/2006/main" showMasterSp="0" preserve="1" userDrawn="1">
  <p:cSld name="SD_Full Image with Titl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defRPr/>
            </a:pPr>
            <a:r>
              <a:rPr lang="en-US"/>
              <a:t>Media Web Symposium 2023</a:t>
            </a:r>
            <a:endParaRPr lang="en-US" dirty="0"/>
          </a:p>
        </p:txBody>
      </p:sp>
      <p:sp>
        <p:nvSpPr>
          <p:cNvPr id="5" name="Title 3">
            <a:extLst>
              <a:ext uri="{FF2B5EF4-FFF2-40B4-BE49-F238E27FC236}">
                <a16:creationId xmlns:a16="http://schemas.microsoft.com/office/drawing/2014/main" id="{FD4297B3-BF9D-4941-8E72-F600F3133AED}"/>
              </a:ext>
            </a:extLst>
          </p:cNvPr>
          <p:cNvSpPr>
            <a:spLocks noGrp="1"/>
          </p:cNvSpPr>
          <p:nvPr>
            <p:ph type="title"/>
          </p:nvPr>
        </p:nvSpPr>
        <p:spPr>
          <a:xfrm>
            <a:off x="495300" y="549415"/>
            <a:ext cx="11187112" cy="455189"/>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D3929FBC-1F16-4E08-85F8-A3FA3A68AE87}"/>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02FB666D-3907-0AF7-AF5D-C7344D39F19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751413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1.xml><?xml version="1.0" encoding="utf-8"?>
<p:sldLayout xmlns:a="http://schemas.openxmlformats.org/drawingml/2006/main" xmlns:r="http://schemas.openxmlformats.org/officeDocument/2006/relationships" xmlns:p="http://schemas.openxmlformats.org/presentationml/2006/main" showMasterSp="0" preserve="1" userDrawn="1">
  <p:cSld name="SD_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defRPr/>
            </a:pPr>
            <a:r>
              <a:rPr lang="en-US"/>
              <a:t>Media Web Symposium 2023</a:t>
            </a:r>
            <a:endParaRPr lang="en-US" dirty="0"/>
          </a:p>
        </p:txBody>
      </p:sp>
      <p:sp>
        <p:nvSpPr>
          <p:cNvPr id="5" name="TextBox 4">
            <a:extLst>
              <a:ext uri="{FF2B5EF4-FFF2-40B4-BE49-F238E27FC236}">
                <a16:creationId xmlns:a16="http://schemas.microsoft.com/office/drawing/2014/main" id="{69EC8DBE-004F-FE4A-8441-FB8D26CB029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32535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SD Full Image with Takeaway_Blu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bg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bg1"/>
                </a:solidFill>
                <a:latin typeface="+mn-lt"/>
                <a:ea typeface="+mn-ea"/>
                <a:cs typeface="+mn-cs"/>
              </a:defRPr>
            </a:lvl1pPr>
          </a:lstStyle>
          <a:p>
            <a:r>
              <a:rPr lang="en-US"/>
              <a:t>Media Web Symposium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6E88897A-387B-264D-9522-9C3B1FF1F3A4}"/>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176067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userDrawn="1">
  <p:cSld name="SD Full Image with Takeaway_Whit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bg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BD3313CA-8613-B249-821B-0584EDEB883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51234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userDrawn="1">
  <p:cSld name="SD Full Image with Takeaway_Nicke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6">
              <a:lumMod val="40000"/>
              <a:lumOff val="60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r>
              <a:rPr lang="en-US"/>
              <a:t>Media Web Symposium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AD2B00E6-D523-6C40-8C3C-EA1A6C03A58C}"/>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115700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SD Full Image with Takeaway_Gunmeta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5"/>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Media Web Symposium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5E00948D-7B2D-714B-8E6D-4A37ADA6CC92}"/>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69751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SD Full Image with Takeaway_Midn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Media Web Symposium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0DE5A83F-9153-3C44-8957-2EC27B94572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16440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SD Showcase Circle Dar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5A86694-1ECC-42EC-BE07-600F1C0BC6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525" y="858"/>
            <a:ext cx="12188951" cy="6856285"/>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Media Web Symposium 2023</a:t>
            </a:r>
            <a:endParaRPr lang="en-US" dirty="0"/>
          </a:p>
        </p:txBody>
      </p:sp>
      <p:sp>
        <p:nvSpPr>
          <p:cNvPr id="5" name="Text Placeholder 4">
            <a:extLst>
              <a:ext uri="{FF2B5EF4-FFF2-40B4-BE49-F238E27FC236}">
                <a16:creationId xmlns:a16="http://schemas.microsoft.com/office/drawing/2014/main" id="{4AB9CF9E-9175-450B-AB3E-7D31F994FD23}"/>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6" name="Picture Placeholder 5">
            <a:extLst>
              <a:ext uri="{FF2B5EF4-FFF2-40B4-BE49-F238E27FC236}">
                <a16:creationId xmlns:a16="http://schemas.microsoft.com/office/drawing/2014/main" id="{9A18C914-9D69-0546-A1C6-6F41BB990E49}"/>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lumMod val="50000"/>
                  </a:schemeClr>
                </a:solidFill>
              </a:defRPr>
            </a:lvl1pPr>
          </a:lstStyle>
          <a:p>
            <a:r>
              <a:rPr lang="en-US" dirty="0"/>
              <a:t>Drop in showcase</a:t>
            </a:r>
            <a:br>
              <a:rPr lang="en-US" dirty="0"/>
            </a:br>
            <a:r>
              <a:rPr lang="en-US" dirty="0"/>
              <a:t>object here</a:t>
            </a:r>
          </a:p>
        </p:txBody>
      </p:sp>
      <p:sp>
        <p:nvSpPr>
          <p:cNvPr id="7" name="TextBox 6">
            <a:extLst>
              <a:ext uri="{FF2B5EF4-FFF2-40B4-BE49-F238E27FC236}">
                <a16:creationId xmlns:a16="http://schemas.microsoft.com/office/drawing/2014/main" id="{39C70112-9A84-A446-8F7F-6CF61C9967B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960474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SD Showcase Square Dar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C510F42-9E8C-443B-8354-231F3450AD6C}"/>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Media Web Symposium 2023</a:t>
            </a:r>
            <a:endParaRPr lang="en-US" dirty="0"/>
          </a:p>
        </p:txBody>
      </p:sp>
      <p:sp>
        <p:nvSpPr>
          <p:cNvPr id="6" name="Text Placeholder 4">
            <a:extLst>
              <a:ext uri="{FF2B5EF4-FFF2-40B4-BE49-F238E27FC236}">
                <a16:creationId xmlns:a16="http://schemas.microsoft.com/office/drawing/2014/main" id="{09292DE0-26C7-4618-80C9-C8186C225E2F}"/>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5" name="Picture Placeholder 5">
            <a:extLst>
              <a:ext uri="{FF2B5EF4-FFF2-40B4-BE49-F238E27FC236}">
                <a16:creationId xmlns:a16="http://schemas.microsoft.com/office/drawing/2014/main" id="{30B38128-2D95-E941-B2BF-A15CAAB123C0}"/>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lumMod val="50000"/>
                  </a:schemeClr>
                </a:solidFill>
              </a:defRPr>
            </a:lvl1pPr>
          </a:lstStyle>
          <a:p>
            <a:r>
              <a:rPr lang="en-US" dirty="0"/>
              <a:t>Drop in showcase</a:t>
            </a:r>
            <a:br>
              <a:rPr lang="en-US" dirty="0"/>
            </a:br>
            <a:r>
              <a:rPr lang="en-US" dirty="0"/>
              <a:t>object here</a:t>
            </a:r>
          </a:p>
        </p:txBody>
      </p:sp>
      <p:sp>
        <p:nvSpPr>
          <p:cNvPr id="7" name="TextBox 6">
            <a:extLst>
              <a:ext uri="{FF2B5EF4-FFF2-40B4-BE49-F238E27FC236}">
                <a16:creationId xmlns:a16="http://schemas.microsoft.com/office/drawing/2014/main" id="{6097F0B3-929E-A344-8B69-23BC6D52B50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4221741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SD Showcase Circle L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647107-E37C-47BD-B11C-44982B708CDD}"/>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Media Web Symposium 2023</a:t>
            </a:r>
            <a:endParaRPr lang="en-US" dirty="0"/>
          </a:p>
        </p:txBody>
      </p:sp>
      <p:sp>
        <p:nvSpPr>
          <p:cNvPr id="7" name="Text Placeholder 4">
            <a:extLst>
              <a:ext uri="{FF2B5EF4-FFF2-40B4-BE49-F238E27FC236}">
                <a16:creationId xmlns:a16="http://schemas.microsoft.com/office/drawing/2014/main" id="{562BC7C7-95C8-4A62-9ABD-E4235BE30AC6}"/>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6" name="Picture Placeholder 5">
            <a:extLst>
              <a:ext uri="{FF2B5EF4-FFF2-40B4-BE49-F238E27FC236}">
                <a16:creationId xmlns:a16="http://schemas.microsoft.com/office/drawing/2014/main" id="{86C5B809-3E12-0A40-A02B-B0EE8552A096}"/>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solidFill>
              </a:defRPr>
            </a:lvl1pPr>
          </a:lstStyle>
          <a:p>
            <a:r>
              <a:rPr lang="en-US" dirty="0"/>
              <a:t>Drop in showcase</a:t>
            </a:r>
            <a:br>
              <a:rPr lang="en-US" dirty="0"/>
            </a:br>
            <a:r>
              <a:rPr lang="en-US" dirty="0"/>
              <a:t>object here</a:t>
            </a:r>
          </a:p>
        </p:txBody>
      </p:sp>
      <p:sp>
        <p:nvSpPr>
          <p:cNvPr id="9" name="TextBox 8">
            <a:extLst>
              <a:ext uri="{FF2B5EF4-FFF2-40B4-BE49-F238E27FC236}">
                <a16:creationId xmlns:a16="http://schemas.microsoft.com/office/drawing/2014/main" id="{CD189F20-8729-2444-981C-23DCC2E2BBB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08846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39429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SD Showcase Square L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E8CA6EA-4EC4-42A8-B386-C241EF115F9A}"/>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Media Web Symposium 2023</a:t>
            </a:r>
            <a:endParaRPr lang="en-US" dirty="0"/>
          </a:p>
        </p:txBody>
      </p:sp>
      <p:sp>
        <p:nvSpPr>
          <p:cNvPr id="7" name="Text Placeholder 4">
            <a:extLst>
              <a:ext uri="{FF2B5EF4-FFF2-40B4-BE49-F238E27FC236}">
                <a16:creationId xmlns:a16="http://schemas.microsoft.com/office/drawing/2014/main" id="{6490BB97-1EFB-4144-9135-DB96B5FD7F51}"/>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6" name="Picture Placeholder 5">
            <a:extLst>
              <a:ext uri="{FF2B5EF4-FFF2-40B4-BE49-F238E27FC236}">
                <a16:creationId xmlns:a16="http://schemas.microsoft.com/office/drawing/2014/main" id="{68CF800F-AA02-1B49-B224-9A06208DF3BE}"/>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solidFill>
              </a:defRPr>
            </a:lvl1pPr>
          </a:lstStyle>
          <a:p>
            <a:r>
              <a:rPr lang="en-US" dirty="0"/>
              <a:t>Drop in showcase</a:t>
            </a:r>
            <a:br>
              <a:rPr lang="en-US" dirty="0"/>
            </a:br>
            <a:r>
              <a:rPr lang="en-US" dirty="0"/>
              <a:t>object here</a:t>
            </a:r>
          </a:p>
        </p:txBody>
      </p:sp>
      <p:sp>
        <p:nvSpPr>
          <p:cNvPr id="9" name="TextBox 8">
            <a:extLst>
              <a:ext uri="{FF2B5EF4-FFF2-40B4-BE49-F238E27FC236}">
                <a16:creationId xmlns:a16="http://schemas.microsoft.com/office/drawing/2014/main" id="{19FE6D94-B327-084F-BDAB-3298CA78BE5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16783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1.xml><?xml version="1.0" encoding="utf-8"?>
<p:sldLayout xmlns:a="http://schemas.openxmlformats.org/drawingml/2006/main" xmlns:r="http://schemas.openxmlformats.org/officeDocument/2006/relationships" xmlns:p="http://schemas.openxmlformats.org/presentationml/2006/main" showMasterSp="0" preserve="1" userDrawn="1">
  <p:cSld name="SD_Image Left Re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75DD4A-EECC-C547-8F7C-C486D588CEFC}"/>
              </a:ext>
            </a:extLst>
          </p:cNvPr>
          <p:cNvSpPr/>
          <p:nvPr userDrawn="1"/>
        </p:nvSpPr>
        <p:spPr>
          <a:xfrm>
            <a:off x="6609347" y="6546206"/>
            <a:ext cx="1299411" cy="1474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6" y="-130877"/>
            <a:ext cx="4772673" cy="7115877"/>
          </a:xfrm>
          <a:prstGeom prst="roundRect">
            <a:avLst>
              <a:gd name="adj" fmla="val 2032"/>
            </a:avLst>
          </a:prstGeom>
          <a:solidFill>
            <a:schemeClr val="bg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5C316BB8-9221-4CF5-A3AC-97DB385C7210}"/>
              </a:ext>
            </a:extLst>
          </p:cNvPr>
          <p:cNvSpPr>
            <a:spLocks noGrp="1"/>
          </p:cNvSpPr>
          <p:nvPr>
            <p:ph type="ftr" sz="quarter" idx="16"/>
          </p:nvPr>
        </p:nvSpPr>
        <p:spPr>
          <a:xfrm>
            <a:off x="8103394" y="608990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bg1"/>
                </a:solidFill>
              </a:defRPr>
            </a:lvl1pPr>
          </a:lstStyle>
          <a:p>
            <a:r>
              <a:rPr lang="en-US"/>
              <a:t>Media Web Symposium 2023</a:t>
            </a:r>
            <a:endParaRPr lang="en-US" dirty="0"/>
          </a:p>
        </p:txBody>
      </p:sp>
      <p:sp>
        <p:nvSpPr>
          <p:cNvPr id="11" name="TextBox 10">
            <a:extLst>
              <a:ext uri="{FF2B5EF4-FFF2-40B4-BE49-F238E27FC236}">
                <a16:creationId xmlns:a16="http://schemas.microsoft.com/office/drawing/2014/main" id="{B9D51157-61E2-4FBA-93B6-79B4052F1A17}"/>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TextBox 12">
            <a:extLst>
              <a:ext uri="{FF2B5EF4-FFF2-40B4-BE49-F238E27FC236}">
                <a16:creationId xmlns:a16="http://schemas.microsoft.com/office/drawing/2014/main" id="{BE6B4DBC-D544-C040-A8B4-3C5F9841AC80}"/>
              </a:ext>
            </a:extLst>
          </p:cNvPr>
          <p:cNvSpPr txBox="1"/>
          <p:nvPr userDrawn="1"/>
        </p:nvSpPr>
        <p:spPr>
          <a:xfrm>
            <a:off x="8091774" y="6296283"/>
            <a:ext cx="358584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3205657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2.xml><?xml version="1.0" encoding="utf-8"?>
<p:sldLayout xmlns:a="http://schemas.openxmlformats.org/drawingml/2006/main" xmlns:r="http://schemas.openxmlformats.org/officeDocument/2006/relationships" xmlns:p="http://schemas.openxmlformats.org/presentationml/2006/main" showMasterSp="0" preserve="1" userDrawn="1">
  <p:cSld name="SD_Image Left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DE128B-1DB8-554E-8F04-4D9ED492F91E}"/>
              </a:ext>
            </a:extLst>
          </p:cNvPr>
          <p:cNvSpPr/>
          <p:nvPr userDrawn="1"/>
        </p:nvSpPr>
        <p:spPr>
          <a:xfrm>
            <a:off x="6609347" y="6546206"/>
            <a:ext cx="1299411" cy="1474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6" y="-130877"/>
            <a:ext cx="4772673" cy="7115877"/>
          </a:xfrm>
          <a:prstGeom prst="roundRect">
            <a:avLst>
              <a:gd name="adj" fmla="val 2032"/>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0A0B53BA-FA9B-40BF-9ADE-676B5C4BE42A}"/>
              </a:ext>
            </a:extLst>
          </p:cNvPr>
          <p:cNvSpPr>
            <a:spLocks noGrp="1"/>
          </p:cNvSpPr>
          <p:nvPr>
            <p:ph type="ftr" sz="quarter" idx="16"/>
          </p:nvPr>
        </p:nvSpPr>
        <p:spPr>
          <a:xfrm>
            <a:off x="8103394" y="608990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endParaRPr lang="en-US" dirty="0"/>
          </a:p>
        </p:txBody>
      </p:sp>
      <p:sp>
        <p:nvSpPr>
          <p:cNvPr id="11" name="TextBox 10">
            <a:extLst>
              <a:ext uri="{FF2B5EF4-FFF2-40B4-BE49-F238E27FC236}">
                <a16:creationId xmlns:a16="http://schemas.microsoft.com/office/drawing/2014/main" id="{B2BB9067-ED8A-4D94-9B00-8410EEA9CFEB}"/>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3" name="TextBox 12">
            <a:extLst>
              <a:ext uri="{FF2B5EF4-FFF2-40B4-BE49-F238E27FC236}">
                <a16:creationId xmlns:a16="http://schemas.microsoft.com/office/drawing/2014/main" id="{4C60EE0F-8B28-E747-AB44-F8BE2D093FDC}"/>
              </a:ext>
            </a:extLst>
          </p:cNvPr>
          <p:cNvSpPr txBox="1"/>
          <p:nvPr userDrawn="1"/>
        </p:nvSpPr>
        <p:spPr>
          <a:xfrm>
            <a:off x="8091774" y="6296283"/>
            <a:ext cx="358584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493498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3.xml><?xml version="1.0" encoding="utf-8"?>
<p:sldLayout xmlns:a="http://schemas.openxmlformats.org/drawingml/2006/main" xmlns:r="http://schemas.openxmlformats.org/officeDocument/2006/relationships" xmlns:p="http://schemas.openxmlformats.org/presentationml/2006/main" showMasterSp="0" preserve="1" userDrawn="1">
  <p:cSld name="SD_Image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0931E04-3D83-0A42-B203-58F7D87856D9}"/>
              </a:ext>
            </a:extLst>
          </p:cNvPr>
          <p:cNvSpPr/>
          <p:nvPr userDrawn="1"/>
        </p:nvSpPr>
        <p:spPr>
          <a:xfrm>
            <a:off x="6609347" y="6546206"/>
            <a:ext cx="1299411" cy="1474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6" y="-130877"/>
            <a:ext cx="4772673" cy="7115877"/>
          </a:xfrm>
          <a:prstGeom prst="roundRect">
            <a:avLst>
              <a:gd name="adj" fmla="val 2032"/>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812EEBE7-6B5F-4C1C-9CF1-59A95FAC8066}"/>
              </a:ext>
            </a:extLst>
          </p:cNvPr>
          <p:cNvSpPr>
            <a:spLocks noGrp="1"/>
          </p:cNvSpPr>
          <p:nvPr>
            <p:ph type="ftr" sz="quarter" idx="16"/>
          </p:nvPr>
        </p:nvSpPr>
        <p:spPr>
          <a:xfrm>
            <a:off x="8103394" y="6089904"/>
            <a:ext cx="357422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3</a:t>
            </a:r>
            <a:endParaRPr lang="en-US" dirty="0"/>
          </a:p>
        </p:txBody>
      </p:sp>
      <p:sp>
        <p:nvSpPr>
          <p:cNvPr id="11" name="TextBox 10">
            <a:extLst>
              <a:ext uri="{FF2B5EF4-FFF2-40B4-BE49-F238E27FC236}">
                <a16:creationId xmlns:a16="http://schemas.microsoft.com/office/drawing/2014/main" id="{C4C9C04D-8F5D-42CA-8F1F-DE23A6DD948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3" name="TextBox 12">
            <a:extLst>
              <a:ext uri="{FF2B5EF4-FFF2-40B4-BE49-F238E27FC236}">
                <a16:creationId xmlns:a16="http://schemas.microsoft.com/office/drawing/2014/main" id="{76C493A7-E235-4249-944C-8CC5F6857D03}"/>
              </a:ext>
            </a:extLst>
          </p:cNvPr>
          <p:cNvSpPr txBox="1"/>
          <p:nvPr userDrawn="1"/>
        </p:nvSpPr>
        <p:spPr>
          <a:xfrm>
            <a:off x="8091774" y="6296283"/>
            <a:ext cx="358584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375870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4.xml><?xml version="1.0" encoding="utf-8"?>
<p:sldLayout xmlns:a="http://schemas.openxmlformats.org/drawingml/2006/main" xmlns:r="http://schemas.openxmlformats.org/officeDocument/2006/relationships" xmlns:p="http://schemas.openxmlformats.org/presentationml/2006/main" showMasterSp="0" preserve="1" userDrawn="1">
  <p:cSld name="SD_Image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9774562-B6FE-C54A-A445-E945FBC13204}"/>
              </a:ext>
            </a:extLst>
          </p:cNvPr>
          <p:cNvSpPr/>
          <p:nvPr userDrawn="1"/>
        </p:nvSpPr>
        <p:spPr>
          <a:xfrm>
            <a:off x="6609347" y="6546206"/>
            <a:ext cx="1299411" cy="1474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F94A11C6-9E7D-344C-A93D-5B21026B69C0}"/>
              </a:ext>
            </a:extLst>
          </p:cNvPr>
          <p:cNvSpPr/>
          <p:nvPr userDrawn="1"/>
        </p:nvSpPr>
        <p:spPr bwMode="gray">
          <a:xfrm>
            <a:off x="7531546" y="-130877"/>
            <a:ext cx="4772673" cy="7115877"/>
          </a:xfrm>
          <a:prstGeom prst="roundRect">
            <a:avLst>
              <a:gd name="adj" fmla="val 2032"/>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B2EE45F7-538F-4FC9-ADF8-A824AC4DAF1B}"/>
              </a:ext>
            </a:extLst>
          </p:cNvPr>
          <p:cNvSpPr>
            <a:spLocks noGrp="1"/>
          </p:cNvSpPr>
          <p:nvPr>
            <p:ph type="ftr" sz="quarter" idx="16"/>
          </p:nvPr>
        </p:nvSpPr>
        <p:spPr>
          <a:xfrm>
            <a:off x="8103394" y="608990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endParaRPr lang="en-US" dirty="0"/>
          </a:p>
        </p:txBody>
      </p:sp>
      <p:sp>
        <p:nvSpPr>
          <p:cNvPr id="11" name="TextBox 10">
            <a:extLst>
              <a:ext uri="{FF2B5EF4-FFF2-40B4-BE49-F238E27FC236}">
                <a16:creationId xmlns:a16="http://schemas.microsoft.com/office/drawing/2014/main" id="{90905DD8-9532-4B5B-8D68-64EE4A78F59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3" name="TextBox 12">
            <a:extLst>
              <a:ext uri="{FF2B5EF4-FFF2-40B4-BE49-F238E27FC236}">
                <a16:creationId xmlns:a16="http://schemas.microsoft.com/office/drawing/2014/main" id="{BBB2E7B5-124A-3D42-9E7D-712CCC9B139F}"/>
              </a:ext>
            </a:extLst>
          </p:cNvPr>
          <p:cNvSpPr txBox="1"/>
          <p:nvPr userDrawn="1"/>
        </p:nvSpPr>
        <p:spPr>
          <a:xfrm>
            <a:off x="8091774" y="6296283"/>
            <a:ext cx="358584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869920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5.xml><?xml version="1.0" encoding="utf-8"?>
<p:sldLayout xmlns:a="http://schemas.openxmlformats.org/drawingml/2006/main" xmlns:r="http://schemas.openxmlformats.org/officeDocument/2006/relationships" xmlns:p="http://schemas.openxmlformats.org/presentationml/2006/main" showMasterSp="0" preserve="1" userDrawn="1">
  <p:cSld name="SD_Image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FBDE2E1-92E6-7343-A97E-8F2BD34E3496}"/>
              </a:ext>
            </a:extLst>
          </p:cNvPr>
          <p:cNvSpPr/>
          <p:nvPr userDrawn="1"/>
        </p:nvSpPr>
        <p:spPr>
          <a:xfrm>
            <a:off x="6609347" y="6546206"/>
            <a:ext cx="1299411" cy="1474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3" name="Rectangle: Rounded Corners 4">
            <a:extLst>
              <a:ext uri="{FF2B5EF4-FFF2-40B4-BE49-F238E27FC236}">
                <a16:creationId xmlns:a16="http://schemas.microsoft.com/office/drawing/2014/main" id="{57AE534B-214E-4D43-850B-177FC0B91999}"/>
              </a:ext>
            </a:extLst>
          </p:cNvPr>
          <p:cNvSpPr/>
          <p:nvPr userDrawn="1"/>
        </p:nvSpPr>
        <p:spPr bwMode="gray">
          <a:xfrm>
            <a:off x="7531546" y="-130877"/>
            <a:ext cx="4772673" cy="7115877"/>
          </a:xfrm>
          <a:prstGeom prst="roundRect">
            <a:avLst>
              <a:gd name="adj" fmla="val 2032"/>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5F9FDB7F-4DC9-4EA1-9ED7-C137E1F9B8DF}"/>
              </a:ext>
            </a:extLst>
          </p:cNvPr>
          <p:cNvSpPr>
            <a:spLocks noGrp="1"/>
          </p:cNvSpPr>
          <p:nvPr>
            <p:ph type="ftr" sz="quarter" idx="16"/>
          </p:nvPr>
        </p:nvSpPr>
        <p:spPr>
          <a:xfrm>
            <a:off x="8103394" y="608990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endParaRPr lang="en-US" dirty="0"/>
          </a:p>
        </p:txBody>
      </p:sp>
      <p:sp>
        <p:nvSpPr>
          <p:cNvPr id="11" name="TextBox 10">
            <a:extLst>
              <a:ext uri="{FF2B5EF4-FFF2-40B4-BE49-F238E27FC236}">
                <a16:creationId xmlns:a16="http://schemas.microsoft.com/office/drawing/2014/main" id="{9F7F8BFB-AEE8-498D-9E43-0D01F53CA53D}"/>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2" name="TextBox 11">
            <a:extLst>
              <a:ext uri="{FF2B5EF4-FFF2-40B4-BE49-F238E27FC236}">
                <a16:creationId xmlns:a16="http://schemas.microsoft.com/office/drawing/2014/main" id="{15673EF2-F010-6A45-B5DE-07FD51C42857}"/>
              </a:ext>
            </a:extLst>
          </p:cNvPr>
          <p:cNvSpPr txBox="1"/>
          <p:nvPr userDrawn="1"/>
        </p:nvSpPr>
        <p:spPr>
          <a:xfrm>
            <a:off x="8091774" y="6296283"/>
            <a:ext cx="358584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966891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6.xml><?xml version="1.0" encoding="utf-8"?>
<p:sldLayout xmlns:a="http://schemas.openxmlformats.org/drawingml/2006/main" xmlns:r="http://schemas.openxmlformats.org/officeDocument/2006/relationships" xmlns:p="http://schemas.openxmlformats.org/presentationml/2006/main" showMasterSp="0" preserve="1" userDrawn="1">
  <p:cSld name="SD_Image Right 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bg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bg1"/>
                </a:solidFill>
              </a:defRPr>
            </a:lvl1pPr>
          </a:lstStyle>
          <a:p>
            <a:pPr>
              <a:defRPr/>
            </a:pPr>
            <a:r>
              <a:rPr lang="en-US"/>
              <a:t>Media Web Symposium 2023</a:t>
            </a:r>
            <a:endParaRPr lang="en-US" dirty="0"/>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7" name="TextBox 6">
            <a:extLst>
              <a:ext uri="{FF2B5EF4-FFF2-40B4-BE49-F238E27FC236}">
                <a16:creationId xmlns:a16="http://schemas.microsoft.com/office/drawing/2014/main" id="{B89CA83A-45CB-F251-159E-F280BAB204B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25785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7.xml><?xml version="1.0" encoding="utf-8"?>
<p:sldLayout xmlns:a="http://schemas.openxmlformats.org/drawingml/2006/main" xmlns:r="http://schemas.openxmlformats.org/officeDocument/2006/relationships" xmlns:p="http://schemas.openxmlformats.org/presentationml/2006/main" showMasterSp="0" preserve="1" userDrawn="1">
  <p:cSld name="SD_Image Right Whit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7" name="TextBox 6">
            <a:extLst>
              <a:ext uri="{FF2B5EF4-FFF2-40B4-BE49-F238E27FC236}">
                <a16:creationId xmlns:a16="http://schemas.microsoft.com/office/drawing/2014/main" id="{B9F45113-68D9-B2FC-F747-BE9A8646A049}"/>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976950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8.xml><?xml version="1.0" encoding="utf-8"?>
<p:sldLayout xmlns:a="http://schemas.openxmlformats.org/drawingml/2006/main" xmlns:r="http://schemas.openxmlformats.org/officeDocument/2006/relationships" xmlns:p="http://schemas.openxmlformats.org/presentationml/2006/main" showMasterSp="0" preserve="1" userDrawn="1">
  <p:cSld name="SD_Image Righ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pPr>
              <a:defRPr/>
            </a:pPr>
            <a:r>
              <a:rPr lang="en-US"/>
              <a:t>Media Web Symposium 2023</a:t>
            </a:r>
            <a:endParaRPr lang="en-US" dirty="0"/>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7" name="TextBox 6">
            <a:extLst>
              <a:ext uri="{FF2B5EF4-FFF2-40B4-BE49-F238E27FC236}">
                <a16:creationId xmlns:a16="http://schemas.microsoft.com/office/drawing/2014/main" id="{17D643E7-2A99-2F12-C4D2-7ACAA412F5F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994822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9.xml><?xml version="1.0" encoding="utf-8"?>
<p:sldLayout xmlns:a="http://schemas.openxmlformats.org/drawingml/2006/main" xmlns:r="http://schemas.openxmlformats.org/officeDocument/2006/relationships" xmlns:p="http://schemas.openxmlformats.org/presentationml/2006/main" showMasterSp="0" preserve="1" userDrawn="1">
  <p:cSld name="SD_Image Righ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585D67CF-1E31-BE4A-A4CA-ED13AC837827}"/>
              </a:ext>
            </a:extLst>
          </p:cNvPr>
          <p:cNvSpPr/>
          <p:nvPr userDrawn="1"/>
        </p:nvSpPr>
        <p:spPr bwMode="gray">
          <a:xfrm>
            <a:off x="-152400" y="-139700"/>
            <a:ext cx="4810774" cy="7150100"/>
          </a:xfrm>
          <a:prstGeom prst="roundRect">
            <a:avLst>
              <a:gd name="adj" fmla="val 1711"/>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a:defRPr/>
            </a:pPr>
            <a:r>
              <a:rPr lang="en-US"/>
              <a:t>Media Web Symposium 2023</a:t>
            </a:r>
            <a:endParaRPr lang="en-US" dirty="0"/>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7" name="TextBox 6">
            <a:extLst>
              <a:ext uri="{FF2B5EF4-FFF2-40B4-BE49-F238E27FC236}">
                <a16:creationId xmlns:a16="http://schemas.microsoft.com/office/drawing/2014/main" id="{BFC8033F-2F88-6505-E202-4B8D75B2149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927119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13662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0.xml><?xml version="1.0" encoding="utf-8"?>
<p:sldLayout xmlns:a="http://schemas.openxmlformats.org/drawingml/2006/main" xmlns:r="http://schemas.openxmlformats.org/officeDocument/2006/relationships" xmlns:p="http://schemas.openxmlformats.org/presentationml/2006/main" showMasterSp="0" preserve="1" userDrawn="1">
  <p:cSld name="SD_Image Righ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Rectangle: Rounded Corners 13">
            <a:extLst>
              <a:ext uri="{FF2B5EF4-FFF2-40B4-BE49-F238E27FC236}">
                <a16:creationId xmlns:a16="http://schemas.microsoft.com/office/drawing/2014/main" id="{41816CD1-1BB7-B443-8FFC-B0DBA0DF4495}"/>
              </a:ext>
            </a:extLst>
          </p:cNvPr>
          <p:cNvSpPr/>
          <p:nvPr userDrawn="1"/>
        </p:nvSpPr>
        <p:spPr bwMode="gray">
          <a:xfrm>
            <a:off x="-152400" y="-139700"/>
            <a:ext cx="4810774" cy="7150100"/>
          </a:xfrm>
          <a:prstGeom prst="roundRect">
            <a:avLst>
              <a:gd name="adj" fmla="val 1711"/>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a:defRPr/>
            </a:pPr>
            <a:r>
              <a:rPr lang="en-US"/>
              <a:t>Media Web Symposium 2023</a:t>
            </a:r>
            <a:endParaRPr lang="en-US" dirty="0"/>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7" name="TextBox 6">
            <a:extLst>
              <a:ext uri="{FF2B5EF4-FFF2-40B4-BE49-F238E27FC236}">
                <a16:creationId xmlns:a16="http://schemas.microsoft.com/office/drawing/2014/main" id="{7D76EA51-5C9D-DC12-4F45-AA693CB163B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66755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1.xml><?xml version="1.0" encoding="utf-8"?>
<p:sldLayout xmlns:a="http://schemas.openxmlformats.org/drawingml/2006/main" xmlns:r="http://schemas.openxmlformats.org/officeDocument/2006/relationships" xmlns:p="http://schemas.openxmlformats.org/presentationml/2006/main" preserve="1" userDrawn="1">
  <p:cSld name="SD_Cutaway 1/4 Left Red">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bg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2">
            <a:extLst>
              <a:ext uri="{FF2B5EF4-FFF2-40B4-BE49-F238E27FC236}">
                <a16:creationId xmlns:a16="http://schemas.microsoft.com/office/drawing/2014/main" id="{AB342928-9634-4372-9445-809C2EE93D28}"/>
              </a:ext>
            </a:extLst>
          </p:cNvPr>
          <p:cNvSpPr>
            <a:spLocks noGrp="1"/>
          </p:cNvSpPr>
          <p:nvPr>
            <p:ph type="body" sz="quarter" idx="17"/>
          </p:nvPr>
        </p:nvSpPr>
        <p:spPr>
          <a:xfrm>
            <a:off x="493713" y="2673350"/>
            <a:ext cx="2605088" cy="349726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7535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2.xml><?xml version="1.0" encoding="utf-8"?>
<p:sldLayout xmlns:a="http://schemas.openxmlformats.org/drawingml/2006/main" xmlns:r="http://schemas.openxmlformats.org/officeDocument/2006/relationships" xmlns:p="http://schemas.openxmlformats.org/presentationml/2006/main" preserve="1" userDrawn="1">
  <p:cSld name="SD_Cutaway 1/4 Left White">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2">
            <a:extLst>
              <a:ext uri="{FF2B5EF4-FFF2-40B4-BE49-F238E27FC236}">
                <a16:creationId xmlns:a16="http://schemas.microsoft.com/office/drawing/2014/main" id="{AB342928-9634-4372-9445-809C2EE93D28}"/>
              </a:ext>
            </a:extLst>
          </p:cNvPr>
          <p:cNvSpPr>
            <a:spLocks noGrp="1"/>
          </p:cNvSpPr>
          <p:nvPr>
            <p:ph type="body" sz="quarter" idx="17"/>
          </p:nvPr>
        </p:nvSpPr>
        <p:spPr>
          <a:xfrm>
            <a:off x="493713" y="2673350"/>
            <a:ext cx="2605088" cy="349726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0658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userDrawn="1">
  <p:cSld name="SD_Cutaway 1/4 Left Nicke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2">
            <a:extLst>
              <a:ext uri="{FF2B5EF4-FFF2-40B4-BE49-F238E27FC236}">
                <a16:creationId xmlns:a16="http://schemas.microsoft.com/office/drawing/2014/main" id="{AB342928-9634-4372-9445-809C2EE93D28}"/>
              </a:ext>
            </a:extLst>
          </p:cNvPr>
          <p:cNvSpPr>
            <a:spLocks noGrp="1"/>
          </p:cNvSpPr>
          <p:nvPr>
            <p:ph type="body" sz="quarter" idx="17"/>
          </p:nvPr>
        </p:nvSpPr>
        <p:spPr>
          <a:xfrm>
            <a:off x="493713" y="2673350"/>
            <a:ext cx="2605088" cy="349726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874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4.xml><?xml version="1.0" encoding="utf-8"?>
<p:sldLayout xmlns:a="http://schemas.openxmlformats.org/drawingml/2006/main" xmlns:r="http://schemas.openxmlformats.org/officeDocument/2006/relationships" xmlns:p="http://schemas.openxmlformats.org/presentationml/2006/main" preserve="1" userDrawn="1">
  <p:cSld name="SD_Cutaway 1/4 Left Gun Meta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62DD8169-03BE-4545-AB75-752CFCB9BD19}"/>
              </a:ext>
            </a:extLst>
          </p:cNvPr>
          <p:cNvSpPr/>
          <p:nvPr userDrawn="1"/>
        </p:nvSpPr>
        <p:spPr bwMode="gray">
          <a:xfrm>
            <a:off x="-165100" y="-152400"/>
            <a:ext cx="3871407" cy="6553184"/>
          </a:xfrm>
          <a:prstGeom prst="roundRect">
            <a:avLst>
              <a:gd name="adj" fmla="val 2097"/>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2">
            <a:extLst>
              <a:ext uri="{FF2B5EF4-FFF2-40B4-BE49-F238E27FC236}">
                <a16:creationId xmlns:a16="http://schemas.microsoft.com/office/drawing/2014/main" id="{D68A6C0B-0BF9-4A22-B90D-608F5EE40908}"/>
              </a:ext>
            </a:extLst>
          </p:cNvPr>
          <p:cNvSpPr>
            <a:spLocks noGrp="1"/>
          </p:cNvSpPr>
          <p:nvPr>
            <p:ph type="body" sz="quarter" idx="17"/>
          </p:nvPr>
        </p:nvSpPr>
        <p:spPr>
          <a:xfrm>
            <a:off x="493713" y="2673350"/>
            <a:ext cx="2605088" cy="349726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5F2E0DD2-6F9C-4113-8407-BCBE8A4B1CA9}"/>
              </a:ext>
            </a:extLst>
          </p:cNvPr>
          <p:cNvSpPr>
            <a:spLocks noGrp="1"/>
          </p:cNvSpPr>
          <p:nvPr>
            <p:ph type="ftr" sz="quarter" idx="16"/>
          </p:nvPr>
        </p:nvSpPr>
        <p:spPr>
          <a:xfrm>
            <a:off x="495300"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Tree>
    <p:extLst>
      <p:ext uri="{BB962C8B-B14F-4D97-AF65-F5344CB8AC3E}">
        <p14:creationId xmlns:p14="http://schemas.microsoft.com/office/powerpoint/2010/main" val="1234123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5.xml><?xml version="1.0" encoding="utf-8"?>
<p:sldLayout xmlns:a="http://schemas.openxmlformats.org/drawingml/2006/main" xmlns:r="http://schemas.openxmlformats.org/officeDocument/2006/relationships" xmlns:p="http://schemas.openxmlformats.org/presentationml/2006/main" preserve="1" userDrawn="1">
  <p:cSld name="SD_Cutaway 1/4 Left Midnight">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3E9455E2-DBA5-444B-983B-338104922F0B}"/>
              </a:ext>
            </a:extLst>
          </p:cNvPr>
          <p:cNvSpPr/>
          <p:nvPr userDrawn="1"/>
        </p:nvSpPr>
        <p:spPr bwMode="gray">
          <a:xfrm>
            <a:off x="-165100" y="-152400"/>
            <a:ext cx="3871407" cy="6553184"/>
          </a:xfrm>
          <a:prstGeom prst="roundRect">
            <a:avLst>
              <a:gd name="adj" fmla="val 2097"/>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2">
            <a:extLst>
              <a:ext uri="{FF2B5EF4-FFF2-40B4-BE49-F238E27FC236}">
                <a16:creationId xmlns:a16="http://schemas.microsoft.com/office/drawing/2014/main" id="{6086602B-AA9B-4FB3-83AD-F5FB2BC55128}"/>
              </a:ext>
            </a:extLst>
          </p:cNvPr>
          <p:cNvSpPr>
            <a:spLocks noGrp="1"/>
          </p:cNvSpPr>
          <p:nvPr>
            <p:ph type="body" sz="quarter" idx="17"/>
          </p:nvPr>
        </p:nvSpPr>
        <p:spPr>
          <a:xfrm>
            <a:off x="493713" y="2673350"/>
            <a:ext cx="2605088" cy="349726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8588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6.xml><?xml version="1.0" encoding="utf-8"?>
<p:sldLayout xmlns:a="http://schemas.openxmlformats.org/drawingml/2006/main" xmlns:r="http://schemas.openxmlformats.org/officeDocument/2006/relationships" xmlns:p="http://schemas.openxmlformats.org/presentationml/2006/main" showMasterSp="0" preserve="1" userDrawn="1">
  <p:cSld name="SD_Large Circle Red 2">
    <p:bg>
      <p:bgPr>
        <a:solidFill>
          <a:schemeClr val="bg2"/>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rgbClr val="D1111F"/>
          </a:solidFill>
          <a:ln w="10795" cap="flat" cmpd="sng" algn="ctr">
            <a:noFill/>
            <a:prstDash val="solid"/>
          </a:ln>
          <a:effectLst>
            <a:innerShdw blurRad="63500" dist="50800" dir="135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872"/>
          </a:xfrm>
        </p:spPr>
        <p:txBody>
          <a:bodyPr/>
          <a:lstStyle>
            <a:lvl1pPr defTabSz="685800">
              <a:lnSpc>
                <a:spcPct val="96000"/>
              </a:lnSpc>
              <a:spcBef>
                <a:spcPts val="0"/>
              </a:spcBef>
              <a:buClr>
                <a:srgbClr val="3253DC"/>
              </a:buClr>
              <a:buFont typeface="Arial" panose="020B0604020202020204" pitchFamily="34" charset="0"/>
              <a:buNone/>
              <a:defRPr>
                <a:solidFill>
                  <a:schemeClr val="bg1"/>
                </a:solidFill>
              </a:defRPr>
            </a:lvl1pPr>
          </a:lstStyle>
          <a:p>
            <a:pPr>
              <a:defRPr/>
            </a:pPr>
            <a:r>
              <a:rPr lang="en-US"/>
              <a:t>Media Web Symposium 2023</a:t>
            </a:r>
            <a:endParaRPr lang="en-US" dirty="0"/>
          </a:p>
        </p:txBody>
      </p:sp>
      <p:sp>
        <p:nvSpPr>
          <p:cNvPr id="20" name="Title 2">
            <a:extLst>
              <a:ext uri="{FF2B5EF4-FFF2-40B4-BE49-F238E27FC236}">
                <a16:creationId xmlns:a16="http://schemas.microsoft.com/office/drawing/2014/main" id="{93599206-992C-D847-B719-FBA798CA5DBF}"/>
              </a:ext>
            </a:extLst>
          </p:cNvPr>
          <p:cNvSpPr>
            <a:spLocks noGrp="1"/>
          </p:cNvSpPr>
          <p:nvPr>
            <p:ph type="title"/>
          </p:nvPr>
        </p:nvSpPr>
        <p:spPr>
          <a:xfrm>
            <a:off x="495300" y="642645"/>
            <a:ext cx="6423978" cy="361959"/>
          </a:xfrm>
        </p:spPr>
        <p:txBody>
          <a:bodyPr wrap="square">
            <a:spAutoFit/>
          </a:bodyPr>
          <a:lstStyle>
            <a:lvl1pPr>
              <a:defRPr>
                <a:solidFill>
                  <a:schemeClr val="bg1"/>
                </a:solidFill>
              </a:defRPr>
            </a:lvl1pPr>
          </a:lstStyle>
          <a:p>
            <a:r>
              <a:rPr lang="en-US"/>
              <a:t>Click to edit Master title style</a:t>
            </a:r>
          </a:p>
        </p:txBody>
      </p:sp>
      <p:sp>
        <p:nvSpPr>
          <p:cNvPr id="21" name="Subtitle">
            <a:extLst>
              <a:ext uri="{FF2B5EF4-FFF2-40B4-BE49-F238E27FC236}">
                <a16:creationId xmlns:a16="http://schemas.microsoft.com/office/drawing/2014/main" id="{2A9AEF52-D7A8-C64F-814D-4E9298CD62D9}"/>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Content Placeholder 4">
            <a:extLst>
              <a:ext uri="{FF2B5EF4-FFF2-40B4-BE49-F238E27FC236}">
                <a16:creationId xmlns:a16="http://schemas.microsoft.com/office/drawing/2014/main" id="{0129E7C8-AC10-8847-915D-92B5501FC00F}"/>
              </a:ext>
            </a:extLst>
          </p:cNvPr>
          <p:cNvSpPr>
            <a:spLocks noGrp="1"/>
          </p:cNvSpPr>
          <p:nvPr>
            <p:ph sz="quarter" idx="17"/>
          </p:nvPr>
        </p:nvSpPr>
        <p:spPr>
          <a:xfrm>
            <a:off x="495300" y="1719072"/>
            <a:ext cx="6425089" cy="4451541"/>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9">
            <a:extLst>
              <a:ext uri="{FF2B5EF4-FFF2-40B4-BE49-F238E27FC236}">
                <a16:creationId xmlns:a16="http://schemas.microsoft.com/office/drawing/2014/main" id="{038D6095-BEBE-BB4F-96AD-F9747306CB0A}"/>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3" name="TextBox 12">
            <a:extLst>
              <a:ext uri="{FF2B5EF4-FFF2-40B4-BE49-F238E27FC236}">
                <a16:creationId xmlns:a16="http://schemas.microsoft.com/office/drawing/2014/main" id="{51666D16-72E8-4EFF-8DCE-432DA7CA2C35}"/>
              </a:ext>
            </a:extLst>
          </p:cNvPr>
          <p:cNvSpPr txBox="1"/>
          <p:nvPr userDrawn="1"/>
        </p:nvSpPr>
        <p:spPr>
          <a:xfrm>
            <a:off x="9379392" y="6417160"/>
            <a:ext cx="2812608"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bg1"/>
                </a:solidFill>
              </a:rPr>
              <a:t>Confidential – Qualcomm Technologies, Inc.</a:t>
            </a:r>
            <a:br>
              <a:rPr lang="en-US" dirty="0">
                <a:solidFill>
                  <a:schemeClr val="bg1"/>
                </a:solidFill>
              </a:rPr>
            </a:br>
            <a:r>
              <a:rPr lang="en-US" dirty="0">
                <a:solidFill>
                  <a:schemeClr val="bg1"/>
                </a:solidFill>
              </a:rPr>
              <a:t>and/or its affiliated companies – May Contain Trade Secrets</a:t>
            </a:r>
          </a:p>
        </p:txBody>
      </p:sp>
    </p:spTree>
    <p:extLst>
      <p:ext uri="{BB962C8B-B14F-4D97-AF65-F5344CB8AC3E}">
        <p14:creationId xmlns:p14="http://schemas.microsoft.com/office/powerpoint/2010/main" val="3260418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7.xml><?xml version="1.0" encoding="utf-8"?>
<p:sldLayout xmlns:a="http://schemas.openxmlformats.org/drawingml/2006/main" xmlns:r="http://schemas.openxmlformats.org/officeDocument/2006/relationships" xmlns:p="http://schemas.openxmlformats.org/presentationml/2006/main" showMasterSp="0" preserve="1" userDrawn="1">
  <p:cSld name="SD_Large Circle White 2">
    <p:bg>
      <p:bgPr>
        <a:solidFill>
          <a:schemeClr val="bg1"/>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rgbClr val="EAEDF2"/>
          </a:solidFill>
          <a:ln w="10795" cap="flat" cmpd="sng" algn="ctr">
            <a:noFill/>
            <a:prstDash val="solid"/>
          </a:ln>
          <a:effectLst>
            <a:innerShdw blurRad="63500" dist="50800" dir="135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16" name="Title 2">
            <a:extLst>
              <a:ext uri="{FF2B5EF4-FFF2-40B4-BE49-F238E27FC236}">
                <a16:creationId xmlns:a16="http://schemas.microsoft.com/office/drawing/2014/main" id="{215FF207-7D54-4440-A7D5-DC52EC3959F1}"/>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7" name="Subtitle">
            <a:extLst>
              <a:ext uri="{FF2B5EF4-FFF2-40B4-BE49-F238E27FC236}">
                <a16:creationId xmlns:a16="http://schemas.microsoft.com/office/drawing/2014/main" id="{F1478138-6A62-7B4B-BACB-244F3E956827}"/>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8" name="Content Placeholder 4">
            <a:extLst>
              <a:ext uri="{FF2B5EF4-FFF2-40B4-BE49-F238E27FC236}">
                <a16:creationId xmlns:a16="http://schemas.microsoft.com/office/drawing/2014/main" id="{E60FE8FC-8E72-2842-906A-77D42E2B258F}"/>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9">
            <a:extLst>
              <a:ext uri="{FF2B5EF4-FFF2-40B4-BE49-F238E27FC236}">
                <a16:creationId xmlns:a16="http://schemas.microsoft.com/office/drawing/2014/main" id="{C214789A-742D-3A44-93B4-05AE6682ED45}"/>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3" name="TextBox 12">
            <a:extLst>
              <a:ext uri="{FF2B5EF4-FFF2-40B4-BE49-F238E27FC236}">
                <a16:creationId xmlns:a16="http://schemas.microsoft.com/office/drawing/2014/main" id="{6DE0EA69-353A-4377-9420-BAD85996AF96}"/>
              </a:ext>
            </a:extLst>
          </p:cNvPr>
          <p:cNvSpPr txBox="1"/>
          <p:nvPr userDrawn="1"/>
        </p:nvSpPr>
        <p:spPr>
          <a:xfrm>
            <a:off x="9379392" y="6417160"/>
            <a:ext cx="2812608"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6">
                    <a:lumMod val="75000"/>
                  </a:schemeClr>
                </a:solidFill>
              </a:rPr>
              <a:t>Confidential – Qualcomm Technologies, Inc.</a:t>
            </a:r>
            <a:br>
              <a:rPr lang="en-US" dirty="0">
                <a:solidFill>
                  <a:schemeClr val="accent6">
                    <a:lumMod val="75000"/>
                  </a:schemeClr>
                </a:solidFill>
              </a:rPr>
            </a:br>
            <a:r>
              <a:rPr lang="en-US" dirty="0">
                <a:solidFill>
                  <a:schemeClr val="accent6">
                    <a:lumMod val="75000"/>
                  </a:schemeClr>
                </a:solidFill>
              </a:rPr>
              <a:t>and/or its affiliated companies – May Contain Trade Secrets</a:t>
            </a:r>
          </a:p>
        </p:txBody>
      </p:sp>
    </p:spTree>
    <p:extLst>
      <p:ext uri="{BB962C8B-B14F-4D97-AF65-F5344CB8AC3E}">
        <p14:creationId xmlns:p14="http://schemas.microsoft.com/office/powerpoint/2010/main" val="3988500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8.xml><?xml version="1.0" encoding="utf-8"?>
<p:sldLayout xmlns:a="http://schemas.openxmlformats.org/drawingml/2006/main" xmlns:r="http://schemas.openxmlformats.org/officeDocument/2006/relationships" xmlns:p="http://schemas.openxmlformats.org/presentationml/2006/main" showMasterSp="0" preserve="1" userDrawn="1">
  <p:cSld name="SD_Large Circle Nickel 2">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rgbClr val="D3DAE5"/>
          </a:solidFill>
          <a:ln w="10795" cap="flat" cmpd="sng" algn="ctr">
            <a:noFill/>
            <a:prstDash val="solid"/>
          </a:ln>
          <a:effectLst>
            <a:innerShdw blurRad="63500" dist="50800" dir="135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pPr>
              <a:defRPr/>
            </a:pPr>
            <a:r>
              <a:rPr lang="en-US"/>
              <a:t>Media Web Symposium 2023</a:t>
            </a:r>
            <a:endParaRPr lang="en-US" dirty="0"/>
          </a:p>
        </p:txBody>
      </p:sp>
      <p:sp>
        <p:nvSpPr>
          <p:cNvPr id="13" name="Title 2">
            <a:extLst>
              <a:ext uri="{FF2B5EF4-FFF2-40B4-BE49-F238E27FC236}">
                <a16:creationId xmlns:a16="http://schemas.microsoft.com/office/drawing/2014/main" id="{A88E3116-BFC5-1841-9418-761CF03241DC}"/>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8A2C3CB4-6003-1C42-A155-F977A899CED7}"/>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Content Placeholder 4">
            <a:extLst>
              <a:ext uri="{FF2B5EF4-FFF2-40B4-BE49-F238E27FC236}">
                <a16:creationId xmlns:a16="http://schemas.microsoft.com/office/drawing/2014/main" id="{2BD9774F-06C2-FC47-8791-39A0CF387E4C}"/>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9">
            <a:extLst>
              <a:ext uri="{FF2B5EF4-FFF2-40B4-BE49-F238E27FC236}">
                <a16:creationId xmlns:a16="http://schemas.microsoft.com/office/drawing/2014/main" id="{A3B88A5A-3F4A-4142-8EC3-A5DE5D094E5C}"/>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6" name="TextBox 15">
            <a:extLst>
              <a:ext uri="{FF2B5EF4-FFF2-40B4-BE49-F238E27FC236}">
                <a16:creationId xmlns:a16="http://schemas.microsoft.com/office/drawing/2014/main" id="{16F9DABE-F471-456C-A562-07765D13BFBA}"/>
              </a:ext>
            </a:extLst>
          </p:cNvPr>
          <p:cNvSpPr txBox="1"/>
          <p:nvPr userDrawn="1"/>
        </p:nvSpPr>
        <p:spPr>
          <a:xfrm>
            <a:off x="9379392" y="6417160"/>
            <a:ext cx="2812608"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6">
                    <a:lumMod val="75000"/>
                  </a:schemeClr>
                </a:solidFill>
              </a:rPr>
              <a:t>Confidential – Qualcomm Technologies, Inc.</a:t>
            </a:r>
            <a:br>
              <a:rPr lang="en-US" dirty="0">
                <a:solidFill>
                  <a:schemeClr val="accent6">
                    <a:lumMod val="75000"/>
                  </a:schemeClr>
                </a:solidFill>
              </a:rPr>
            </a:br>
            <a:r>
              <a:rPr lang="en-US" dirty="0">
                <a:solidFill>
                  <a:schemeClr val="accent6">
                    <a:lumMod val="75000"/>
                  </a:schemeClr>
                </a:solidFill>
              </a:rPr>
              <a:t>and/or its affiliated companies – May Contain Trade Secrets</a:t>
            </a:r>
          </a:p>
        </p:txBody>
      </p:sp>
    </p:spTree>
    <p:extLst>
      <p:ext uri="{BB962C8B-B14F-4D97-AF65-F5344CB8AC3E}">
        <p14:creationId xmlns:p14="http://schemas.microsoft.com/office/powerpoint/2010/main" val="189576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9.xml><?xml version="1.0" encoding="utf-8"?>
<p:sldLayout xmlns:a="http://schemas.openxmlformats.org/drawingml/2006/main" xmlns:r="http://schemas.openxmlformats.org/officeDocument/2006/relationships" xmlns:p="http://schemas.openxmlformats.org/presentationml/2006/main" showMasterSp="0" preserve="1" userDrawn="1">
  <p:cSld name="SD_Large Circle Gun Metal 2">
    <p:bg>
      <p:bgPr>
        <a:solidFill>
          <a:schemeClr val="accent5"/>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826177F-FC3F-2F42-98BC-69EF3FD7FC45}"/>
              </a:ext>
            </a:extLst>
          </p:cNvPr>
          <p:cNvSpPr>
            <a:spLocks/>
          </p:cNvSpPr>
          <p:nvPr userDrawn="1"/>
        </p:nvSpPr>
        <p:spPr bwMode="ltGray">
          <a:xfrm>
            <a:off x="7517108" y="-857339"/>
            <a:ext cx="8359183" cy="8572678"/>
          </a:xfrm>
          <a:prstGeom prst="ellipse">
            <a:avLst/>
          </a:prstGeom>
          <a:solidFill>
            <a:srgbClr val="44536C"/>
          </a:solidFill>
          <a:ln w="10795" cap="flat" cmpd="sng" algn="ctr">
            <a:noFill/>
            <a:prstDash val="solid"/>
          </a:ln>
          <a:effectLst>
            <a:innerShdw blurRad="63500" dist="50800" dir="135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ooter Placeholder 2">
            <a:extLst>
              <a:ext uri="{FF2B5EF4-FFF2-40B4-BE49-F238E27FC236}">
                <a16:creationId xmlns:a16="http://schemas.microsoft.com/office/drawing/2014/main" id="{D5CEE6F9-1E4B-4C9A-946F-D83A264DC746}"/>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a:defRPr/>
            </a:pPr>
            <a:r>
              <a:rPr lang="en-US"/>
              <a:t>Media Web Symposium 2023</a:t>
            </a:r>
            <a:endParaRPr lang="en-US" dirty="0"/>
          </a:p>
        </p:txBody>
      </p:sp>
      <p:sp>
        <p:nvSpPr>
          <p:cNvPr id="13" name="Title 2">
            <a:extLst>
              <a:ext uri="{FF2B5EF4-FFF2-40B4-BE49-F238E27FC236}">
                <a16:creationId xmlns:a16="http://schemas.microsoft.com/office/drawing/2014/main" id="{B36D15F6-7DE5-6443-9613-C4B2FBC1F848}"/>
              </a:ext>
            </a:extLst>
          </p:cNvPr>
          <p:cNvSpPr>
            <a:spLocks noGrp="1"/>
          </p:cNvSpPr>
          <p:nvPr>
            <p:ph type="title"/>
          </p:nvPr>
        </p:nvSpPr>
        <p:spPr>
          <a:xfrm>
            <a:off x="495300" y="642645"/>
            <a:ext cx="6423978" cy="361959"/>
          </a:xfrm>
        </p:spPr>
        <p:txBody>
          <a:bodyPr wrap="square">
            <a:spAutoFit/>
          </a:bodyPr>
          <a:lstStyle>
            <a:lvl1pPr>
              <a:defRPr>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CBEB3E5-81CA-814D-ADF5-BF5AC22CC9CB}"/>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Content Placeholder 4">
            <a:extLst>
              <a:ext uri="{FF2B5EF4-FFF2-40B4-BE49-F238E27FC236}">
                <a16:creationId xmlns:a16="http://schemas.microsoft.com/office/drawing/2014/main" id="{19189C48-4D09-6448-9A16-6C4D04527AD6}"/>
              </a:ext>
            </a:extLst>
          </p:cNvPr>
          <p:cNvSpPr>
            <a:spLocks noGrp="1"/>
          </p:cNvSpPr>
          <p:nvPr>
            <p:ph sz="quarter" idx="17"/>
          </p:nvPr>
        </p:nvSpPr>
        <p:spPr>
          <a:xfrm>
            <a:off x="495300" y="1719072"/>
            <a:ext cx="6425089" cy="4451541"/>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9">
            <a:extLst>
              <a:ext uri="{FF2B5EF4-FFF2-40B4-BE49-F238E27FC236}">
                <a16:creationId xmlns:a16="http://schemas.microsoft.com/office/drawing/2014/main" id="{E11DFE3E-54AF-B840-B32E-6EC908B58E66}"/>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6" name="TextBox 15">
            <a:extLst>
              <a:ext uri="{FF2B5EF4-FFF2-40B4-BE49-F238E27FC236}">
                <a16:creationId xmlns:a16="http://schemas.microsoft.com/office/drawing/2014/main" id="{F38CC6BF-4FF8-4D6D-B41B-0D91B3088BFF}"/>
              </a:ext>
            </a:extLst>
          </p:cNvPr>
          <p:cNvSpPr txBox="1"/>
          <p:nvPr userDrawn="1"/>
        </p:nvSpPr>
        <p:spPr>
          <a:xfrm>
            <a:off x="9379392" y="6417160"/>
            <a:ext cx="2812608"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5">
                    <a:lumMod val="40000"/>
                    <a:lumOff val="60000"/>
                  </a:schemeClr>
                </a:solidFill>
              </a:rPr>
              <a:t>Confidential – Qualcomm Technologies, Inc.</a:t>
            </a:r>
            <a:br>
              <a:rPr lang="en-US" dirty="0">
                <a:solidFill>
                  <a:schemeClr val="accent5">
                    <a:lumMod val="40000"/>
                    <a:lumOff val="60000"/>
                  </a:schemeClr>
                </a:solidFill>
              </a:rPr>
            </a:br>
            <a:r>
              <a:rPr lang="en-US" dirty="0">
                <a:solidFill>
                  <a:schemeClr val="accent5">
                    <a:lumMod val="40000"/>
                    <a:lumOff val="60000"/>
                  </a:schemeClr>
                </a:solidFill>
              </a:rPr>
              <a:t>and/or its affiliated companies – May Contain Trade Secrets</a:t>
            </a:r>
          </a:p>
        </p:txBody>
      </p:sp>
    </p:spTree>
    <p:extLst>
      <p:ext uri="{BB962C8B-B14F-4D97-AF65-F5344CB8AC3E}">
        <p14:creationId xmlns:p14="http://schemas.microsoft.com/office/powerpoint/2010/main" val="3019942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69335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0.xml><?xml version="1.0" encoding="utf-8"?>
<p:sldLayout xmlns:a="http://schemas.openxmlformats.org/drawingml/2006/main" xmlns:r="http://schemas.openxmlformats.org/officeDocument/2006/relationships" xmlns:p="http://schemas.openxmlformats.org/presentationml/2006/main" showMasterSp="0" preserve="1" userDrawn="1">
  <p:cSld name="SD_Large Circle Midnight 2">
    <p:bg>
      <p:bgPr>
        <a:solidFill>
          <a:schemeClr val="tx2"/>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AE47188-2E65-7E46-B32C-E78D883C6DCA}"/>
              </a:ext>
            </a:extLst>
          </p:cNvPr>
          <p:cNvSpPr>
            <a:spLocks/>
          </p:cNvSpPr>
          <p:nvPr userDrawn="1"/>
        </p:nvSpPr>
        <p:spPr bwMode="ltGray">
          <a:xfrm>
            <a:off x="7517108" y="-857339"/>
            <a:ext cx="8359183" cy="8572678"/>
          </a:xfrm>
          <a:prstGeom prst="ellipse">
            <a:avLst/>
          </a:prstGeom>
          <a:solidFill>
            <a:srgbClr val="092139"/>
          </a:solidFill>
          <a:ln w="10795" cap="flat" cmpd="sng" algn="ctr">
            <a:noFill/>
            <a:prstDash val="solid"/>
          </a:ln>
          <a:effectLst>
            <a:innerShdw blurRad="63500" dist="50800" dir="135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ooter Placeholder 2">
            <a:extLst>
              <a:ext uri="{FF2B5EF4-FFF2-40B4-BE49-F238E27FC236}">
                <a16:creationId xmlns:a16="http://schemas.microsoft.com/office/drawing/2014/main" id="{CA8F4DA7-4CDA-4E93-B875-4157AC85CAEB}"/>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pPr>
              <a:defRPr/>
            </a:pPr>
            <a:r>
              <a:rPr lang="en-US"/>
              <a:t>Media Web Symposium 2023</a:t>
            </a:r>
            <a:endParaRPr lang="en-US" dirty="0"/>
          </a:p>
        </p:txBody>
      </p:sp>
      <p:sp>
        <p:nvSpPr>
          <p:cNvPr id="9" name="Title 2">
            <a:extLst>
              <a:ext uri="{FF2B5EF4-FFF2-40B4-BE49-F238E27FC236}">
                <a16:creationId xmlns:a16="http://schemas.microsoft.com/office/drawing/2014/main" id="{B1282066-7F06-B246-AE8C-29172F144371}"/>
              </a:ext>
            </a:extLst>
          </p:cNvPr>
          <p:cNvSpPr>
            <a:spLocks noGrp="1"/>
          </p:cNvSpPr>
          <p:nvPr>
            <p:ph type="title"/>
          </p:nvPr>
        </p:nvSpPr>
        <p:spPr>
          <a:xfrm>
            <a:off x="495300" y="642645"/>
            <a:ext cx="6423978" cy="361959"/>
          </a:xfrm>
        </p:spPr>
        <p:txBody>
          <a:bodyPr wrap="square">
            <a:spAutoFit/>
          </a:bodyPr>
          <a:lstStyle>
            <a:lvl1pPr>
              <a:defRPr>
                <a:solidFill>
                  <a:schemeClr val="bg1"/>
                </a:solidFill>
              </a:defRPr>
            </a:lvl1pPr>
          </a:lstStyle>
          <a:p>
            <a:r>
              <a:rPr lang="en-US"/>
              <a:t>Click to edit Master title style</a:t>
            </a:r>
          </a:p>
        </p:txBody>
      </p:sp>
      <p:sp>
        <p:nvSpPr>
          <p:cNvPr id="12" name="Subtitle">
            <a:extLst>
              <a:ext uri="{FF2B5EF4-FFF2-40B4-BE49-F238E27FC236}">
                <a16:creationId xmlns:a16="http://schemas.microsoft.com/office/drawing/2014/main" id="{D1151056-DC79-0A42-B719-F2F0C08292CA}"/>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Content Placeholder 4">
            <a:extLst>
              <a:ext uri="{FF2B5EF4-FFF2-40B4-BE49-F238E27FC236}">
                <a16:creationId xmlns:a16="http://schemas.microsoft.com/office/drawing/2014/main" id="{376E5248-EDE9-3046-BAE5-2B5039AC66FE}"/>
              </a:ext>
            </a:extLst>
          </p:cNvPr>
          <p:cNvSpPr>
            <a:spLocks noGrp="1"/>
          </p:cNvSpPr>
          <p:nvPr>
            <p:ph sz="quarter" idx="17"/>
          </p:nvPr>
        </p:nvSpPr>
        <p:spPr>
          <a:xfrm>
            <a:off x="495300" y="1719072"/>
            <a:ext cx="6425089" cy="4451541"/>
          </a:xfrm>
          <a:prstGeom prst="rect">
            <a:avLst/>
          </a:prstGeo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29">
            <a:extLst>
              <a:ext uri="{FF2B5EF4-FFF2-40B4-BE49-F238E27FC236}">
                <a16:creationId xmlns:a16="http://schemas.microsoft.com/office/drawing/2014/main" id="{7DC32646-24CD-1143-9669-355185C160ED}"/>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3" name="TextBox 12">
            <a:extLst>
              <a:ext uri="{FF2B5EF4-FFF2-40B4-BE49-F238E27FC236}">
                <a16:creationId xmlns:a16="http://schemas.microsoft.com/office/drawing/2014/main" id="{DFF20135-2D08-9A4B-9DB4-5704D9E00215}"/>
              </a:ext>
            </a:extLst>
          </p:cNvPr>
          <p:cNvSpPr txBox="1"/>
          <p:nvPr userDrawn="1"/>
        </p:nvSpPr>
        <p:spPr>
          <a:xfrm>
            <a:off x="9379392" y="6417160"/>
            <a:ext cx="2812608"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5">
                    <a:lumMod val="40000"/>
                    <a:lumOff val="60000"/>
                  </a:schemeClr>
                </a:solidFill>
              </a:rPr>
              <a:t>Confidential – Qualcomm Technologies, Inc.</a:t>
            </a:r>
            <a:br>
              <a:rPr lang="en-US" dirty="0">
                <a:solidFill>
                  <a:schemeClr val="accent5">
                    <a:lumMod val="40000"/>
                    <a:lumOff val="60000"/>
                  </a:schemeClr>
                </a:solidFill>
              </a:rPr>
            </a:br>
            <a:r>
              <a:rPr lang="en-US" dirty="0">
                <a:solidFill>
                  <a:schemeClr val="accent5">
                    <a:lumMod val="40000"/>
                    <a:lumOff val="60000"/>
                  </a:schemeClr>
                </a:solidFill>
              </a:rPr>
              <a:t>and/or its affiliated companies – May Contain Trade Secrets</a:t>
            </a:r>
          </a:p>
        </p:txBody>
      </p:sp>
    </p:spTree>
    <p:extLst>
      <p:ext uri="{BB962C8B-B14F-4D97-AF65-F5344CB8AC3E}">
        <p14:creationId xmlns:p14="http://schemas.microsoft.com/office/powerpoint/2010/main" val="175785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1.xml><?xml version="1.0" encoding="utf-8"?>
<p:sldLayout xmlns:a="http://schemas.openxmlformats.org/drawingml/2006/main" xmlns:r="http://schemas.openxmlformats.org/officeDocument/2006/relationships" xmlns:p="http://schemas.openxmlformats.org/presentationml/2006/main" showMasterSp="0" preserve="1" userDrawn="1">
  <p:cSld name="SD_Segue Re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chemeClr val="bg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5EF27F35-676D-13EE-DD32-95FDC16E81B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498053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2.xml><?xml version="1.0" encoding="utf-8"?>
<p:sldLayout xmlns:a="http://schemas.openxmlformats.org/drawingml/2006/main" xmlns:r="http://schemas.openxmlformats.org/officeDocument/2006/relationships" xmlns:p="http://schemas.openxmlformats.org/presentationml/2006/main" showMasterSp="0" preserve="1" userDrawn="1">
  <p:cSld name="SD_Segue White">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8" name="TextBox 7">
            <a:extLst>
              <a:ext uri="{FF2B5EF4-FFF2-40B4-BE49-F238E27FC236}">
                <a16:creationId xmlns:a16="http://schemas.microsoft.com/office/drawing/2014/main" id="{DA20019A-5B50-D36B-64ED-1FEF35AA270C}"/>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11387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3.xml><?xml version="1.0" encoding="utf-8"?>
<p:sldLayout xmlns:a="http://schemas.openxmlformats.org/drawingml/2006/main" xmlns:r="http://schemas.openxmlformats.org/officeDocument/2006/relationships" xmlns:p="http://schemas.openxmlformats.org/presentationml/2006/main" showMasterSp="0" preserve="1" userDrawn="1">
  <p:cSld name="SD_Segue Nicke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8" name="TextBox 7">
            <a:extLst>
              <a:ext uri="{FF2B5EF4-FFF2-40B4-BE49-F238E27FC236}">
                <a16:creationId xmlns:a16="http://schemas.microsoft.com/office/drawing/2014/main" id="{33EE2393-F1DD-8F90-C1C5-310FD4F821B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51436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4.xml><?xml version="1.0" encoding="utf-8"?>
<p:sldLayout xmlns:a="http://schemas.openxmlformats.org/drawingml/2006/main" xmlns:r="http://schemas.openxmlformats.org/officeDocument/2006/relationships" xmlns:p="http://schemas.openxmlformats.org/presentationml/2006/main" showMasterSp="0" preserve="1" userDrawn="1">
  <p:cSld name="SD_Segue Gun Meta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04D8947B-492A-C7A3-31F2-92001AD8CF6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135315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5.xml><?xml version="1.0" encoding="utf-8"?>
<p:sldLayout xmlns:a="http://schemas.openxmlformats.org/drawingml/2006/main" xmlns:r="http://schemas.openxmlformats.org/officeDocument/2006/relationships" xmlns:p="http://schemas.openxmlformats.org/presentationml/2006/main" showMasterSp="0" preserve="1" userDrawn="1">
  <p:cSld name="SD_Segue Midnight">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67A699D8-81A9-495D-7F4A-DCB6A20D4B21}"/>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409459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6.xml><?xml version="1.0" encoding="utf-8"?>
<p:sldLayout xmlns:a="http://schemas.openxmlformats.org/drawingml/2006/main" xmlns:r="http://schemas.openxmlformats.org/officeDocument/2006/relationships" xmlns:p="http://schemas.openxmlformats.org/presentationml/2006/main" showMasterSp="0" preserve="1" userDrawn="1">
  <p:cSld name="SD_Segue Red 2">
    <p:bg>
      <p:bgPr>
        <a:solidFill>
          <a:schemeClr val="bg2"/>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rgbClr val="D1111F"/>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8364F97B-57A1-B049-A5E0-7D6B2527B65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2199174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7.xml><?xml version="1.0" encoding="utf-8"?>
<p:sldLayout xmlns:a="http://schemas.openxmlformats.org/drawingml/2006/main" xmlns:r="http://schemas.openxmlformats.org/officeDocument/2006/relationships" xmlns:p="http://schemas.openxmlformats.org/presentationml/2006/main" showMasterSp="0" preserve="1" userDrawn="1">
  <p:cSld name="SD_Segue White 2">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rgbClr val="EFF1F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8" name="TextBox 7">
            <a:extLst>
              <a:ext uri="{FF2B5EF4-FFF2-40B4-BE49-F238E27FC236}">
                <a16:creationId xmlns:a16="http://schemas.microsoft.com/office/drawing/2014/main" id="{FD42B6F1-9BF6-6EE5-EDD5-46AE2E8E535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736134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8.xml><?xml version="1.0" encoding="utf-8"?>
<p:sldLayout xmlns:a="http://schemas.openxmlformats.org/drawingml/2006/main" xmlns:r="http://schemas.openxmlformats.org/officeDocument/2006/relationships" xmlns:p="http://schemas.openxmlformats.org/presentationml/2006/main" showMasterSp="0" preserve="1" userDrawn="1">
  <p:cSld name="SD_Segue Nickel 2">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rgbClr val="D3DAE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8" name="TextBox 7">
            <a:extLst>
              <a:ext uri="{FF2B5EF4-FFF2-40B4-BE49-F238E27FC236}">
                <a16:creationId xmlns:a16="http://schemas.microsoft.com/office/drawing/2014/main" id="{6A6DA815-E1E7-8546-96C6-984328A681C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616533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9.xml><?xml version="1.0" encoding="utf-8"?>
<p:sldLayout xmlns:a="http://schemas.openxmlformats.org/drawingml/2006/main" xmlns:r="http://schemas.openxmlformats.org/officeDocument/2006/relationships" xmlns:p="http://schemas.openxmlformats.org/presentationml/2006/main" showMasterSp="0" preserve="1" userDrawn="1">
  <p:cSld name="SD_Segue Gun Metal 2">
    <p:bg>
      <p:bgPr>
        <a:solidFill>
          <a:schemeClr val="accent5"/>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rgbClr val="44536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73923CA3-7C0F-744C-902A-1EF88F946329}"/>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351497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Large Circle Blu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4A83FF6-69D5-4094-9BBD-DB9744E083B2}"/>
              </a:ext>
            </a:extLst>
          </p:cNvPr>
          <p:cNvGrpSpPr/>
          <p:nvPr userDrawn="1"/>
        </p:nvGrpSpPr>
        <p:grpSpPr>
          <a:xfrm flipH="1">
            <a:off x="6571350" y="-857339"/>
            <a:ext cx="8359183" cy="8572678"/>
            <a:chOff x="5983849" y="869536"/>
            <a:chExt cx="4991447" cy="5118931"/>
          </a:xfrm>
        </p:grpSpPr>
        <p:sp>
          <p:nvSpPr>
            <p:cNvPr id="9" name="Oval 8">
              <a:extLst>
                <a:ext uri="{FF2B5EF4-FFF2-40B4-BE49-F238E27FC236}">
                  <a16:creationId xmlns:a16="http://schemas.microsoft.com/office/drawing/2014/main" id="{10550D71-4DDC-433E-91D6-8DB10965057B}"/>
                </a:ext>
              </a:extLst>
            </p:cNvPr>
            <p:cNvSpPr>
              <a:spLocks/>
            </p:cNvSpPr>
            <p:nvPr/>
          </p:nvSpPr>
          <p:spPr bwMode="ltGray">
            <a:xfrm>
              <a:off x="5983849" y="869536"/>
              <a:ext cx="4991447" cy="5118931"/>
            </a:xfrm>
            <a:prstGeom prst="ellipse">
              <a:avLst/>
            </a:prstGeom>
            <a:gradFill flip="none" rotWithShape="1">
              <a:gsLst>
                <a:gs pos="45000">
                  <a:schemeClr val="accent2"/>
                </a:gs>
                <a:gs pos="100000">
                  <a:srgbClr val="93B2FF"/>
                </a:gs>
              </a:gsLst>
              <a:lin ang="18900000" scaled="1"/>
              <a:tileRect/>
            </a:gradFill>
            <a:ln w="25400" cap="flat" cmpd="sng" algn="ctr">
              <a:noFill/>
              <a:prstDash val="solid"/>
            </a:ln>
            <a:effectLst>
              <a:innerShdw blurRad="127000" dist="114300">
                <a:srgbClr val="3253DC">
                  <a:lumMod val="50000"/>
                  <a:alpha val="32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2" name="Oval 11">
              <a:extLst>
                <a:ext uri="{FF2B5EF4-FFF2-40B4-BE49-F238E27FC236}">
                  <a16:creationId xmlns:a16="http://schemas.microsoft.com/office/drawing/2014/main" id="{2443AEDF-5E6A-4A63-B67C-01773C27DB3E}"/>
                </a:ext>
              </a:extLst>
            </p:cNvPr>
            <p:cNvSpPr>
              <a:spLocks/>
            </p:cNvSpPr>
            <p:nvPr userDrawn="1"/>
          </p:nvSpPr>
          <p:spPr bwMode="ltGray">
            <a:xfrm>
              <a:off x="6901634" y="1874555"/>
              <a:ext cx="3092870" cy="3108896"/>
            </a:xfrm>
            <a:prstGeom prst="ellipse">
              <a:avLst/>
            </a:prstGeom>
            <a:gradFill>
              <a:gsLst>
                <a:gs pos="46000">
                  <a:schemeClr val="accent1"/>
                </a:gs>
                <a:gs pos="100000">
                  <a:srgbClr val="3B5ADD"/>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grpSp>
      <p:sp>
        <p:nvSpPr>
          <p:cNvPr id="13" name="Footer Placeholder 2">
            <a:extLst>
              <a:ext uri="{FF2B5EF4-FFF2-40B4-BE49-F238E27FC236}">
                <a16:creationId xmlns:a16="http://schemas.microsoft.com/office/drawing/2014/main" id="{69DD538F-3263-40F8-ABD9-0120441EBE54}"/>
              </a:ext>
            </a:extLst>
          </p:cNvPr>
          <p:cNvSpPr>
            <a:spLocks noGrp="1"/>
          </p:cNvSpPr>
          <p:nvPr userDrawn="1">
            <p:ph type="ftr" sz="quarter" idx="10"/>
          </p:nvPr>
        </p:nvSpPr>
        <p:spPr>
          <a:xfrm>
            <a:off x="495299" y="6532895"/>
            <a:ext cx="536847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 Placeholder 4">
            <a:extLst>
              <a:ext uri="{FF2B5EF4-FFF2-40B4-BE49-F238E27FC236}">
                <a16:creationId xmlns:a16="http://schemas.microsoft.com/office/drawing/2014/main" id="{6AA3DDD4-786B-45BA-B0D0-84CB5038CB16}"/>
              </a:ext>
            </a:extLst>
          </p:cNvPr>
          <p:cNvSpPr>
            <a:spLocks noGrp="1"/>
          </p:cNvSpPr>
          <p:nvPr>
            <p:ph type="body" sz="quarter" idx="11"/>
          </p:nvPr>
        </p:nvSpPr>
        <p:spPr>
          <a:xfrm>
            <a:off x="495299" y="3819524"/>
            <a:ext cx="5368472" cy="239077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AC884FCB-8EBD-450E-B245-5B651363F3E7}"/>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9754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0.xml><?xml version="1.0" encoding="utf-8"?>
<p:sldLayout xmlns:a="http://schemas.openxmlformats.org/drawingml/2006/main" xmlns:r="http://schemas.openxmlformats.org/officeDocument/2006/relationships" xmlns:p="http://schemas.openxmlformats.org/presentationml/2006/main" showMasterSp="0" preserve="1" userDrawn="1">
  <p:cSld name="SD_Segue Midnight 2">
    <p:bg>
      <p:bgPr>
        <a:solidFill>
          <a:schemeClr val="tx2"/>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rgbClr val="09213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D03B7E6D-4046-9744-8D9C-C93F42A774F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762842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1.xml><?xml version="1.0" encoding="utf-8"?>
<p:sldLayout xmlns:a="http://schemas.openxmlformats.org/drawingml/2006/main" xmlns:r="http://schemas.openxmlformats.org/officeDocument/2006/relationships" xmlns:p="http://schemas.openxmlformats.org/presentationml/2006/main" showMasterSp="0" preserve="1" userDrawn="1">
  <p:cSld name="SD Segue Red">
    <p:bg>
      <p:bgPr>
        <a:solidFill>
          <a:schemeClr val="bg2"/>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E08C4B33-F8CC-4197-B915-DA991CD5E6C6}"/>
              </a:ext>
            </a:extLst>
          </p:cNvPr>
          <p:cNvGrpSpPr/>
          <p:nvPr userDrawn="1"/>
        </p:nvGrpSpPr>
        <p:grpSpPr>
          <a:xfrm>
            <a:off x="5264150" y="1085955"/>
            <a:ext cx="8686026" cy="8686800"/>
            <a:chOff x="2118610" y="-558521"/>
            <a:chExt cx="7954780" cy="7975042"/>
          </a:xfrm>
        </p:grpSpPr>
        <p:sp>
          <p:nvSpPr>
            <p:cNvPr id="12" name="Freeform 21">
              <a:extLst>
                <a:ext uri="{FF2B5EF4-FFF2-40B4-BE49-F238E27FC236}">
                  <a16:creationId xmlns:a16="http://schemas.microsoft.com/office/drawing/2014/main" id="{FCE1034B-B952-482E-B5BD-3D74DC622EFF}"/>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CD111E"/>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3" name="Freeform 22">
              <a:extLst>
                <a:ext uri="{FF2B5EF4-FFF2-40B4-BE49-F238E27FC236}">
                  <a16:creationId xmlns:a16="http://schemas.microsoft.com/office/drawing/2014/main" id="{F511B2A5-5879-4724-8EA8-B068501A7C49}"/>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D81220"/>
            </a:solidFill>
            <a:ln>
              <a:noFill/>
            </a:ln>
            <a:effectLst>
              <a:outerShdw blurRad="304800" dist="304800" dir="8100000" algn="tr" rotWithShape="0">
                <a:srgbClr val="1F0306">
                  <a:alpha val="34902"/>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4" name="Freeform 23">
              <a:extLst>
                <a:ext uri="{FF2B5EF4-FFF2-40B4-BE49-F238E27FC236}">
                  <a16:creationId xmlns:a16="http://schemas.microsoft.com/office/drawing/2014/main" id="{8ABE833E-11B6-41D0-A3EA-C51CF277F921}"/>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outerShdw blurRad="304800" dist="304800" dir="8100000" algn="tr" rotWithShape="0">
                <a:srgbClr val="160204">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5" name="Freeform 23">
              <a:extLst>
                <a:ext uri="{FF2B5EF4-FFF2-40B4-BE49-F238E27FC236}">
                  <a16:creationId xmlns:a16="http://schemas.microsoft.com/office/drawing/2014/main" id="{E9A408BA-944B-41C4-83D5-BB3A7D38327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innerShdw blurRad="304800" dist="304800">
                <a:srgbClr val="180204">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7" name="Subtitle">
            <a:extLst>
              <a:ext uri="{FF2B5EF4-FFF2-40B4-BE49-F238E27FC236}">
                <a16:creationId xmlns:a16="http://schemas.microsoft.com/office/drawing/2014/main" id="{95FCDFC9-7609-4879-BB7A-41D84D84FDF0}"/>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Title 1">
            <a:extLst>
              <a:ext uri="{FF2B5EF4-FFF2-40B4-BE49-F238E27FC236}">
                <a16:creationId xmlns:a16="http://schemas.microsoft.com/office/drawing/2014/main" id="{AB7FE436-ECEE-446A-82A4-FD95FAB47683}"/>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659929F3-1218-7545-89B5-A760ED49531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250379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2.xml><?xml version="1.0" encoding="utf-8"?>
<p:sldLayout xmlns:a="http://schemas.openxmlformats.org/drawingml/2006/main" xmlns:r="http://schemas.openxmlformats.org/officeDocument/2006/relationships" xmlns:p="http://schemas.openxmlformats.org/presentationml/2006/main" showMasterSp="0" preserve="1" userDrawn="1">
  <p:cSld name="SD Segue White">
    <p:bg>
      <p:bgPr>
        <a:solidFill>
          <a:srgbClr val="FFFFFF"/>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A8A1B41-DD86-4CC6-BB23-4639A3825C7E}"/>
              </a:ext>
            </a:extLst>
          </p:cNvPr>
          <p:cNvGrpSpPr>
            <a:grpSpLocks/>
          </p:cNvGrpSpPr>
          <p:nvPr userDrawn="1"/>
        </p:nvGrpSpPr>
        <p:grpSpPr>
          <a:xfrm>
            <a:off x="5264150" y="1085955"/>
            <a:ext cx="8686800" cy="8686800"/>
            <a:chOff x="2118610" y="-558521"/>
            <a:chExt cx="7954780" cy="7975042"/>
          </a:xfrm>
        </p:grpSpPr>
        <p:sp>
          <p:nvSpPr>
            <p:cNvPr id="14" name="Freeform 21">
              <a:extLst>
                <a:ext uri="{FF2B5EF4-FFF2-40B4-BE49-F238E27FC236}">
                  <a16:creationId xmlns:a16="http://schemas.microsoft.com/office/drawing/2014/main" id="{EB5AB6E0-2FFC-40AE-8A71-DCBE6B384E21}"/>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FAFBFC"/>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5" name="Freeform 22">
              <a:extLst>
                <a:ext uri="{FF2B5EF4-FFF2-40B4-BE49-F238E27FC236}">
                  <a16:creationId xmlns:a16="http://schemas.microsoft.com/office/drawing/2014/main" id="{E681A099-F31B-4476-B9E6-42DAD17198C8}"/>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FAFBFC"/>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6" name="Freeform 23">
              <a:extLst>
                <a:ext uri="{FF2B5EF4-FFF2-40B4-BE49-F238E27FC236}">
                  <a16:creationId xmlns:a16="http://schemas.microsoft.com/office/drawing/2014/main" id="{5F07C53E-FAF6-4844-BB37-35D97BAF4BB8}"/>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7" name="Freeform 23">
              <a:extLst>
                <a:ext uri="{FF2B5EF4-FFF2-40B4-BE49-F238E27FC236}">
                  <a16:creationId xmlns:a16="http://schemas.microsoft.com/office/drawing/2014/main" id="{39B7103C-EFE9-41A7-8616-4AD2DAB118A6}"/>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1"/>
            </a:solidFill>
            <a:ln>
              <a:noFill/>
            </a:ln>
            <a:effectLst>
              <a:innerShdw blurRad="304800" dist="304800">
                <a:schemeClr val="tx1">
                  <a:alpha val="40000"/>
                </a:scheme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1" name="Subtitle">
            <a:extLst>
              <a:ext uri="{FF2B5EF4-FFF2-40B4-BE49-F238E27FC236}">
                <a16:creationId xmlns:a16="http://schemas.microsoft.com/office/drawing/2014/main" id="{54BF2C34-3F26-4221-8C0C-6AD2A4F9C86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itle 1">
            <a:extLst>
              <a:ext uri="{FF2B5EF4-FFF2-40B4-BE49-F238E27FC236}">
                <a16:creationId xmlns:a16="http://schemas.microsoft.com/office/drawing/2014/main" id="{2E705B94-D757-41A5-A502-1F2B8E604538}"/>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9" name="TextBox 8">
            <a:extLst>
              <a:ext uri="{FF2B5EF4-FFF2-40B4-BE49-F238E27FC236}">
                <a16:creationId xmlns:a16="http://schemas.microsoft.com/office/drawing/2014/main" id="{744352BA-9C23-1C42-B3D8-30FF4BF0D4E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541500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3.xml><?xml version="1.0" encoding="utf-8"?>
<p:sldLayout xmlns:a="http://schemas.openxmlformats.org/drawingml/2006/main" xmlns:r="http://schemas.openxmlformats.org/officeDocument/2006/relationships" xmlns:p="http://schemas.openxmlformats.org/presentationml/2006/main" showMasterSp="0" preserve="1" userDrawn="1">
  <p:cSld name="SD Segu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53995637-D09E-4C2D-A6A8-AF45BAD58465}"/>
              </a:ext>
            </a:extLst>
          </p:cNvPr>
          <p:cNvGrpSpPr>
            <a:grpSpLocks/>
          </p:cNvGrpSpPr>
          <p:nvPr userDrawn="1"/>
        </p:nvGrpSpPr>
        <p:grpSpPr>
          <a:xfrm>
            <a:off x="5264150" y="1085955"/>
            <a:ext cx="8686800" cy="8686800"/>
            <a:chOff x="2118610" y="-558521"/>
            <a:chExt cx="7954780" cy="7975042"/>
          </a:xfrm>
        </p:grpSpPr>
        <p:sp>
          <p:nvSpPr>
            <p:cNvPr id="14" name="Freeform 21">
              <a:extLst>
                <a:ext uri="{FF2B5EF4-FFF2-40B4-BE49-F238E27FC236}">
                  <a16:creationId xmlns:a16="http://schemas.microsoft.com/office/drawing/2014/main" id="{B7A66708-ADEC-4638-A33A-46DCF451B424}"/>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FAFBFC"/>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5" name="Freeform 22">
              <a:extLst>
                <a:ext uri="{FF2B5EF4-FFF2-40B4-BE49-F238E27FC236}">
                  <a16:creationId xmlns:a16="http://schemas.microsoft.com/office/drawing/2014/main" id="{C329A767-5738-486D-BBF0-00850276E5AD}"/>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E7EBF1"/>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6" name="Freeform 23">
              <a:extLst>
                <a:ext uri="{FF2B5EF4-FFF2-40B4-BE49-F238E27FC236}">
                  <a16:creationId xmlns:a16="http://schemas.microsoft.com/office/drawing/2014/main" id="{8DDC509B-6BC5-4B06-8116-E88999EBD245}"/>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7" name="Freeform 23">
              <a:extLst>
                <a:ext uri="{FF2B5EF4-FFF2-40B4-BE49-F238E27FC236}">
                  <a16:creationId xmlns:a16="http://schemas.microsoft.com/office/drawing/2014/main" id="{3C56DEE9-71A7-4C5B-90D6-DC58833209D6}"/>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6">
                <a:lumMod val="40000"/>
                <a:lumOff val="60000"/>
              </a:schemeClr>
            </a:solidFill>
            <a:ln>
              <a:noFill/>
            </a:ln>
            <a:effectLst>
              <a:innerShdw blurRad="304800" dist="304800">
                <a:schemeClr val="tx1">
                  <a:alpha val="40000"/>
                </a:scheme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1" name="Subtitle">
            <a:extLst>
              <a:ext uri="{FF2B5EF4-FFF2-40B4-BE49-F238E27FC236}">
                <a16:creationId xmlns:a16="http://schemas.microsoft.com/office/drawing/2014/main" id="{54BF2C34-3F26-4221-8C0C-6AD2A4F9C86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itle 1">
            <a:extLst>
              <a:ext uri="{FF2B5EF4-FFF2-40B4-BE49-F238E27FC236}">
                <a16:creationId xmlns:a16="http://schemas.microsoft.com/office/drawing/2014/main" id="{2E705B94-D757-41A5-A502-1F2B8E604538}"/>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9" name="TextBox 8">
            <a:extLst>
              <a:ext uri="{FF2B5EF4-FFF2-40B4-BE49-F238E27FC236}">
                <a16:creationId xmlns:a16="http://schemas.microsoft.com/office/drawing/2014/main" id="{B0237052-9941-6F43-9B15-2B71743E443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920558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4.xml><?xml version="1.0" encoding="utf-8"?>
<p:sldLayout xmlns:a="http://schemas.openxmlformats.org/drawingml/2006/main" xmlns:r="http://schemas.openxmlformats.org/officeDocument/2006/relationships" xmlns:p="http://schemas.openxmlformats.org/presentationml/2006/main" showMasterSp="0" preserve="1" userDrawn="1">
  <p:cSld name="SD Segue Gunmetal">
    <p:bg>
      <p:bgPr>
        <a:solidFill>
          <a:schemeClr val="accent5"/>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EF7FB884-98FF-49F3-BC97-59F225D25E12}"/>
              </a:ext>
            </a:extLst>
          </p:cNvPr>
          <p:cNvGrpSpPr>
            <a:grpSpLocks/>
          </p:cNvGrpSpPr>
          <p:nvPr userDrawn="1"/>
        </p:nvGrpSpPr>
        <p:grpSpPr>
          <a:xfrm>
            <a:off x="5264150" y="1085955"/>
            <a:ext cx="8686800" cy="8686800"/>
            <a:chOff x="2118610" y="-558521"/>
            <a:chExt cx="7954780" cy="7975042"/>
          </a:xfrm>
        </p:grpSpPr>
        <p:sp>
          <p:nvSpPr>
            <p:cNvPr id="16" name="Freeform 21">
              <a:extLst>
                <a:ext uri="{FF2B5EF4-FFF2-40B4-BE49-F238E27FC236}">
                  <a16:creationId xmlns:a16="http://schemas.microsoft.com/office/drawing/2014/main" id="{D1729F58-5BA1-4640-B7B9-E94D565AE2E0}"/>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4A5A75"/>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7" name="Freeform 22">
              <a:extLst>
                <a:ext uri="{FF2B5EF4-FFF2-40B4-BE49-F238E27FC236}">
                  <a16:creationId xmlns:a16="http://schemas.microsoft.com/office/drawing/2014/main" id="{DD0D4E0D-57F1-4154-B50F-74535C36D500}"/>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4F617D"/>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8" name="Freeform 23">
              <a:extLst>
                <a:ext uri="{FF2B5EF4-FFF2-40B4-BE49-F238E27FC236}">
                  <a16:creationId xmlns:a16="http://schemas.microsoft.com/office/drawing/2014/main" id="{DB9B5929-7301-48A9-B841-0BE61CA7A8CA}"/>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9" name="Freeform 23">
              <a:extLst>
                <a:ext uri="{FF2B5EF4-FFF2-40B4-BE49-F238E27FC236}">
                  <a16:creationId xmlns:a16="http://schemas.microsoft.com/office/drawing/2014/main" id="{16F91B29-9007-4D8A-8C02-55645583D8A6}"/>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innerShdw blurRad="304800" dist="304800">
                <a:srgbClr val="0A0C10">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3" name="Subtitle">
            <a:extLst>
              <a:ext uri="{FF2B5EF4-FFF2-40B4-BE49-F238E27FC236}">
                <a16:creationId xmlns:a16="http://schemas.microsoft.com/office/drawing/2014/main" id="{667FC2DA-5B00-4EA7-952E-317316DAA878}"/>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itle 1">
            <a:extLst>
              <a:ext uri="{FF2B5EF4-FFF2-40B4-BE49-F238E27FC236}">
                <a16:creationId xmlns:a16="http://schemas.microsoft.com/office/drawing/2014/main" id="{41F7F217-0194-4AD6-8E1C-386E2E132F49}"/>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2EBF3BA2-2875-3949-83C5-76692BC3549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795098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5.xml><?xml version="1.0" encoding="utf-8"?>
<p:sldLayout xmlns:a="http://schemas.openxmlformats.org/drawingml/2006/main" xmlns:r="http://schemas.openxmlformats.org/officeDocument/2006/relationships" xmlns:p="http://schemas.openxmlformats.org/presentationml/2006/main" showMasterSp="0" preserve="1" userDrawn="1">
  <p:cSld name="SD Segue Midnight">
    <p:bg>
      <p:bgPr>
        <a:solidFill>
          <a:schemeClr val="tx2"/>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D48F3DEE-F59E-4FD9-BD86-03F5F40D7A2E}"/>
              </a:ext>
            </a:extLst>
          </p:cNvPr>
          <p:cNvGrpSpPr>
            <a:grpSpLocks/>
          </p:cNvGrpSpPr>
          <p:nvPr userDrawn="1"/>
        </p:nvGrpSpPr>
        <p:grpSpPr>
          <a:xfrm>
            <a:off x="5264150" y="1085955"/>
            <a:ext cx="8686800" cy="8686800"/>
            <a:chOff x="2118610" y="-558521"/>
            <a:chExt cx="7954780" cy="7975042"/>
          </a:xfrm>
        </p:grpSpPr>
        <p:sp>
          <p:nvSpPr>
            <p:cNvPr id="16" name="Freeform 21">
              <a:extLst>
                <a:ext uri="{FF2B5EF4-FFF2-40B4-BE49-F238E27FC236}">
                  <a16:creationId xmlns:a16="http://schemas.microsoft.com/office/drawing/2014/main" id="{7041D8A3-B9AF-4F2D-AA73-3D2AF4DFDBCE}"/>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7" name="Freeform 22">
              <a:extLst>
                <a:ext uri="{FF2B5EF4-FFF2-40B4-BE49-F238E27FC236}">
                  <a16:creationId xmlns:a16="http://schemas.microsoft.com/office/drawing/2014/main" id="{C4FF451B-9E7B-4956-8927-3F6D18114FF0}"/>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0B2845"/>
            </a:solidFill>
            <a:ln>
              <a:noFill/>
            </a:ln>
            <a:effectLst>
              <a:outerShdw blurRad="304800" dist="304800" dir="8100000" algn="tr" rotWithShape="0">
                <a:srgbClr val="030A11">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8" name="Freeform 23">
              <a:extLst>
                <a:ext uri="{FF2B5EF4-FFF2-40B4-BE49-F238E27FC236}">
                  <a16:creationId xmlns:a16="http://schemas.microsoft.com/office/drawing/2014/main" id="{4AD20902-EBB9-4879-BBE8-7873C117122F}"/>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outerShdw blurRad="304800" dist="304800" dir="8100000" algn="tr" rotWithShape="0">
                <a:srgbClr val="030A11">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9" name="Freeform 23">
              <a:extLst>
                <a:ext uri="{FF2B5EF4-FFF2-40B4-BE49-F238E27FC236}">
                  <a16:creationId xmlns:a16="http://schemas.microsoft.com/office/drawing/2014/main" id="{D3D03E25-E54F-4D62-B7B5-CBE3507B8488}"/>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innerShdw blurRad="304800" dist="304800">
                <a:srgbClr val="030A11">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13" name="Subtitle">
            <a:extLst>
              <a:ext uri="{FF2B5EF4-FFF2-40B4-BE49-F238E27FC236}">
                <a16:creationId xmlns:a16="http://schemas.microsoft.com/office/drawing/2014/main" id="{B395992B-C0C1-46B0-B7C8-830159C0C506}"/>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itle 1">
            <a:extLst>
              <a:ext uri="{FF2B5EF4-FFF2-40B4-BE49-F238E27FC236}">
                <a16:creationId xmlns:a16="http://schemas.microsoft.com/office/drawing/2014/main" id="{AE0053FF-8E38-4E49-A437-9A4B96C84C53}"/>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0B95D78-DDB9-844A-9CFA-6A22FDD90B5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153382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6.xml><?xml version="1.0" encoding="utf-8"?>
<p:sldLayout xmlns:a="http://schemas.openxmlformats.org/drawingml/2006/main" xmlns:r="http://schemas.openxmlformats.org/officeDocument/2006/relationships" xmlns:p="http://schemas.openxmlformats.org/presentationml/2006/main" showMasterSp="0" preserve="1" userDrawn="1">
  <p:cSld name="SD_Big Statement Quote Red">
    <p:bg>
      <p:bgPr>
        <a:gradFill>
          <a:gsLst>
            <a:gs pos="4000">
              <a:srgbClr val="E71324"/>
            </a:gs>
            <a:gs pos="35000">
              <a:srgbClr val="D91323"/>
            </a:gs>
            <a:gs pos="100000">
              <a:srgbClr val="C10B1A"/>
            </a:gs>
          </a:gsLst>
          <a:lin ang="2700000" scaled="1"/>
        </a:gra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573ABA57-7B0F-43F2-941C-D1BCE46689A0}"/>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7" name="TextBox 6">
            <a:extLst>
              <a:ext uri="{FF2B5EF4-FFF2-40B4-BE49-F238E27FC236}">
                <a16:creationId xmlns:a16="http://schemas.microsoft.com/office/drawing/2014/main" id="{7000B909-6C3C-8B43-BC80-F7EF1B464E4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
        <p:nvSpPr>
          <p:cNvPr id="9" name="Text Placeholder 2">
            <a:extLst>
              <a:ext uri="{FF2B5EF4-FFF2-40B4-BE49-F238E27FC236}">
                <a16:creationId xmlns:a16="http://schemas.microsoft.com/office/drawing/2014/main" id="{85EE95F5-5179-43BC-9DD2-80F8782000E1}"/>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1" name="Text Placeholder 47">
            <a:extLst>
              <a:ext uri="{FF2B5EF4-FFF2-40B4-BE49-F238E27FC236}">
                <a16:creationId xmlns:a16="http://schemas.microsoft.com/office/drawing/2014/main" id="{1FABDB6A-D52B-4DE9-8DAD-88E3352866F8}"/>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140148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7.xml><?xml version="1.0" encoding="utf-8"?>
<p:sldLayout xmlns:a="http://schemas.openxmlformats.org/drawingml/2006/main" xmlns:r="http://schemas.openxmlformats.org/officeDocument/2006/relationships" xmlns:p="http://schemas.openxmlformats.org/presentationml/2006/main" showMasterSp="0" preserve="1" userDrawn="1">
  <p:cSld name="SD_Big Statement Quote White">
    <p:bg>
      <p:bgPr>
        <a:gradFill>
          <a:gsLst>
            <a:gs pos="4000">
              <a:schemeClr val="bg1"/>
            </a:gs>
            <a:gs pos="35000">
              <a:schemeClr val="accent6">
                <a:lumMod val="20000"/>
                <a:lumOff val="80000"/>
              </a:schemeClr>
            </a:gs>
            <a:gs pos="100000">
              <a:schemeClr val="accent6">
                <a:lumMod val="40000"/>
                <a:lumOff val="60000"/>
              </a:schemeClr>
            </a:gs>
          </a:gsLst>
          <a:lin ang="2700000" scaled="1"/>
        </a:gradFill>
        <a:effectLst/>
      </p:bgPr>
    </p:bg>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0D061AF6-2D27-4DFB-9E70-8CDFD058F044}"/>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7" name="Text Placeholder 2">
            <a:extLst>
              <a:ext uri="{FF2B5EF4-FFF2-40B4-BE49-F238E27FC236}">
                <a16:creationId xmlns:a16="http://schemas.microsoft.com/office/drawing/2014/main" id="{9EDB003F-E656-4E18-BDBB-152AEB3E5757}"/>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8" name="Text Placeholder 47">
            <a:extLst>
              <a:ext uri="{FF2B5EF4-FFF2-40B4-BE49-F238E27FC236}">
                <a16:creationId xmlns:a16="http://schemas.microsoft.com/office/drawing/2014/main" id="{8C7691D9-F78A-4A80-B9A6-F365D28D8257}"/>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6" name="TextBox 5">
            <a:extLst>
              <a:ext uri="{FF2B5EF4-FFF2-40B4-BE49-F238E27FC236}">
                <a16:creationId xmlns:a16="http://schemas.microsoft.com/office/drawing/2014/main" id="{147A281D-2BFD-8BF7-702A-88B785236D4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20681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8.xml><?xml version="1.0" encoding="utf-8"?>
<p:sldLayout xmlns:a="http://schemas.openxmlformats.org/drawingml/2006/main" xmlns:r="http://schemas.openxmlformats.org/officeDocument/2006/relationships" xmlns:p="http://schemas.openxmlformats.org/presentationml/2006/main" showMasterSp="0" preserve="1" userDrawn="1">
  <p:cSld name="SD_Big Statement Quote Nickel">
    <p:bg>
      <p:bgPr>
        <a:gradFill>
          <a:gsLst>
            <a:gs pos="4000">
              <a:schemeClr val="accent6">
                <a:lumMod val="40000"/>
                <a:lumOff val="60000"/>
              </a:schemeClr>
            </a:gs>
            <a:gs pos="40000">
              <a:schemeClr val="accent6">
                <a:lumMod val="60000"/>
                <a:lumOff val="40000"/>
              </a:schemeClr>
            </a:gs>
            <a:gs pos="100000">
              <a:schemeClr val="accent6"/>
            </a:gs>
          </a:gsLst>
          <a:lin ang="2700000" scaled="1"/>
        </a:gra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3984EDA3-B44F-4674-BEB3-8C74287BAF93}"/>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7" name="TextBox 6">
            <a:extLst>
              <a:ext uri="{FF2B5EF4-FFF2-40B4-BE49-F238E27FC236}">
                <a16:creationId xmlns:a16="http://schemas.microsoft.com/office/drawing/2014/main" id="{696D14D0-7E77-B546-AE82-A3C8CBD47F0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
        <p:nvSpPr>
          <p:cNvPr id="9" name="Text Placeholder 2">
            <a:extLst>
              <a:ext uri="{FF2B5EF4-FFF2-40B4-BE49-F238E27FC236}">
                <a16:creationId xmlns:a16="http://schemas.microsoft.com/office/drawing/2014/main" id="{90007351-1444-4ACF-8C42-1EB26B3A6F40}"/>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tx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0" name="Text Placeholder 47">
            <a:extLst>
              <a:ext uri="{FF2B5EF4-FFF2-40B4-BE49-F238E27FC236}">
                <a16:creationId xmlns:a16="http://schemas.microsoft.com/office/drawing/2014/main" id="{4DCBE15A-FE6C-4FC2-9DF8-7E7AB8404005}"/>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tx2"/>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4060752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9.xml><?xml version="1.0" encoding="utf-8"?>
<p:sldLayout xmlns:a="http://schemas.openxmlformats.org/drawingml/2006/main" xmlns:r="http://schemas.openxmlformats.org/officeDocument/2006/relationships" xmlns:p="http://schemas.openxmlformats.org/presentationml/2006/main" showMasterSp="0" preserve="1" userDrawn="1">
  <p:cSld name="SD Big Statement Quote Gunmetal">
    <p:bg>
      <p:bgPr>
        <a:gradFill>
          <a:gsLst>
            <a:gs pos="4000">
              <a:srgbClr val="586B8A"/>
            </a:gs>
            <a:gs pos="35000">
              <a:schemeClr val="accent5"/>
            </a:gs>
            <a:gs pos="100000">
              <a:srgbClr val="2F394B"/>
            </a:gs>
          </a:gsLst>
          <a:lin ang="2700000" scaled="1"/>
        </a:gra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40F1B7A-8A94-40B5-B3CB-3D0D52C87C97}"/>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7" name="TextBox 6">
            <a:extLst>
              <a:ext uri="{FF2B5EF4-FFF2-40B4-BE49-F238E27FC236}">
                <a16:creationId xmlns:a16="http://schemas.microsoft.com/office/drawing/2014/main" id="{3FF1B48E-7335-1E4A-A06A-C56F904A9084}"/>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9" name="Text Placeholder 2">
            <a:extLst>
              <a:ext uri="{FF2B5EF4-FFF2-40B4-BE49-F238E27FC236}">
                <a16:creationId xmlns:a16="http://schemas.microsoft.com/office/drawing/2014/main" id="{82F58234-108D-4115-84F1-20F6F6470996}"/>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0" name="Text Placeholder 47">
            <a:extLst>
              <a:ext uri="{FF2B5EF4-FFF2-40B4-BE49-F238E27FC236}">
                <a16:creationId xmlns:a16="http://schemas.microsoft.com/office/drawing/2014/main" id="{15A49285-70CB-4F70-B08A-1615E6DCF20E}"/>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3886602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Large Circle Light Blu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4A83FF6-69D5-4094-9BBD-DB9744E083B2}"/>
              </a:ext>
            </a:extLst>
          </p:cNvPr>
          <p:cNvGrpSpPr/>
          <p:nvPr userDrawn="1"/>
        </p:nvGrpSpPr>
        <p:grpSpPr>
          <a:xfrm flipH="1">
            <a:off x="6571350" y="-857339"/>
            <a:ext cx="8359183" cy="8572678"/>
            <a:chOff x="5983849" y="869536"/>
            <a:chExt cx="4991447" cy="5118931"/>
          </a:xfrm>
        </p:grpSpPr>
        <p:sp>
          <p:nvSpPr>
            <p:cNvPr id="9" name="Oval 8">
              <a:extLst>
                <a:ext uri="{FF2B5EF4-FFF2-40B4-BE49-F238E27FC236}">
                  <a16:creationId xmlns:a16="http://schemas.microsoft.com/office/drawing/2014/main" id="{10550D71-4DDC-433E-91D6-8DB10965057B}"/>
                </a:ext>
              </a:extLst>
            </p:cNvPr>
            <p:cNvSpPr>
              <a:spLocks/>
            </p:cNvSpPr>
            <p:nvPr/>
          </p:nvSpPr>
          <p:spPr bwMode="ltGray">
            <a:xfrm>
              <a:off x="5983849" y="869536"/>
              <a:ext cx="4991447" cy="5118931"/>
            </a:xfrm>
            <a:prstGeom prst="ellipse">
              <a:avLst/>
            </a:prstGeom>
            <a:solidFill>
              <a:schemeClr val="accent2">
                <a:lumMod val="60000"/>
                <a:lumOff val="40000"/>
              </a:schemeClr>
            </a:solidFill>
            <a:ln w="25400" cap="flat" cmpd="sng" algn="ctr">
              <a:noFill/>
              <a:prstDash val="solid"/>
            </a:ln>
            <a:effectLst>
              <a:innerShdw blurRad="127000" dist="114300">
                <a:srgbClr val="3253DC">
                  <a:lumMod val="50000"/>
                  <a:alpha val="32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2" name="Oval 11">
              <a:extLst>
                <a:ext uri="{FF2B5EF4-FFF2-40B4-BE49-F238E27FC236}">
                  <a16:creationId xmlns:a16="http://schemas.microsoft.com/office/drawing/2014/main" id="{2443AEDF-5E6A-4A63-B67C-01773C27DB3E}"/>
                </a:ext>
              </a:extLst>
            </p:cNvPr>
            <p:cNvSpPr>
              <a:spLocks/>
            </p:cNvSpPr>
            <p:nvPr userDrawn="1"/>
          </p:nvSpPr>
          <p:spPr bwMode="ltGray">
            <a:xfrm>
              <a:off x="6901634" y="1874555"/>
              <a:ext cx="3092870" cy="31088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grpSp>
      <p:sp>
        <p:nvSpPr>
          <p:cNvPr id="13" name="Footer Placeholder 2">
            <a:extLst>
              <a:ext uri="{FF2B5EF4-FFF2-40B4-BE49-F238E27FC236}">
                <a16:creationId xmlns:a16="http://schemas.microsoft.com/office/drawing/2014/main" id="{69DD538F-3263-40F8-ABD9-0120441EBE54}"/>
              </a:ext>
            </a:extLst>
          </p:cNvPr>
          <p:cNvSpPr>
            <a:spLocks noGrp="1"/>
          </p:cNvSpPr>
          <p:nvPr userDrawn="1">
            <p:ph type="ftr" sz="quarter" idx="10"/>
          </p:nvPr>
        </p:nvSpPr>
        <p:spPr>
          <a:xfrm>
            <a:off x="495299" y="6532895"/>
            <a:ext cx="536847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 Placeholder 4">
            <a:extLst>
              <a:ext uri="{FF2B5EF4-FFF2-40B4-BE49-F238E27FC236}">
                <a16:creationId xmlns:a16="http://schemas.microsoft.com/office/drawing/2014/main" id="{6AA3DDD4-786B-45BA-B0D0-84CB5038CB16}"/>
              </a:ext>
            </a:extLst>
          </p:cNvPr>
          <p:cNvSpPr>
            <a:spLocks noGrp="1"/>
          </p:cNvSpPr>
          <p:nvPr>
            <p:ph type="body" sz="quarter" idx="11"/>
          </p:nvPr>
        </p:nvSpPr>
        <p:spPr>
          <a:xfrm>
            <a:off x="495299" y="3819524"/>
            <a:ext cx="5368472" cy="239077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AC884FCB-8EBD-450E-B245-5B651363F3E7}"/>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175972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0.xml><?xml version="1.0" encoding="utf-8"?>
<p:sldLayout xmlns:a="http://schemas.openxmlformats.org/drawingml/2006/main" xmlns:r="http://schemas.openxmlformats.org/officeDocument/2006/relationships" xmlns:p="http://schemas.openxmlformats.org/presentationml/2006/main" showMasterSp="0" preserve="1" userDrawn="1">
  <p:cSld name="SD Big Statement Quote Midnight Gradient">
    <p:bg>
      <p:bgPr>
        <a:gradFill>
          <a:gsLst>
            <a:gs pos="4000">
              <a:srgbClr val="0F3459"/>
            </a:gs>
            <a:gs pos="35000">
              <a:schemeClr val="tx2"/>
            </a:gs>
            <a:gs pos="100000">
              <a:srgbClr val="05111D"/>
            </a:gs>
          </a:gsLst>
          <a:lin ang="2700000" scaled="1"/>
        </a:grad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3E0BC2F2-E7D5-456E-A707-3D5E85BF76D2}"/>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a:t>Enter a quote or big statement here</a:t>
            </a:r>
          </a:p>
        </p:txBody>
      </p:sp>
      <p:sp>
        <p:nvSpPr>
          <p:cNvPr id="5" name="TextBox 4">
            <a:extLst>
              <a:ext uri="{FF2B5EF4-FFF2-40B4-BE49-F238E27FC236}">
                <a16:creationId xmlns:a16="http://schemas.microsoft.com/office/drawing/2014/main" id="{64627586-85E3-E04B-8F2D-2F49C5A5755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0" name="Text Placeholder 2">
            <a:extLst>
              <a:ext uri="{FF2B5EF4-FFF2-40B4-BE49-F238E27FC236}">
                <a16:creationId xmlns:a16="http://schemas.microsoft.com/office/drawing/2014/main" id="{47597F80-3233-4A24-B364-D3CE4D2E0D64}"/>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1" name="Text Placeholder 47">
            <a:extLst>
              <a:ext uri="{FF2B5EF4-FFF2-40B4-BE49-F238E27FC236}">
                <a16:creationId xmlns:a16="http://schemas.microsoft.com/office/drawing/2014/main" id="{92029BF2-073D-4907-B717-01C49791F9EA}"/>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91375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1.xml><?xml version="1.0" encoding="utf-8"?>
<p:sldLayout xmlns:a="http://schemas.openxmlformats.org/drawingml/2006/main" xmlns:r="http://schemas.openxmlformats.org/officeDocument/2006/relationships" xmlns:p="http://schemas.openxmlformats.org/presentationml/2006/main" showMasterSp="0" preserve="1" userDrawn="1">
  <p:cSld name="SD Big Statement Quote Midnight Gradient Red Text">
    <p:bg>
      <p:bgPr>
        <a:gradFill>
          <a:gsLst>
            <a:gs pos="4000">
              <a:srgbClr val="0F3459"/>
            </a:gs>
            <a:gs pos="35000">
              <a:schemeClr val="tx2"/>
            </a:gs>
            <a:gs pos="100000">
              <a:srgbClr val="05111D"/>
            </a:gs>
          </a:gsLst>
          <a:lin ang="2700000" scaled="1"/>
        </a:grad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3E0BC2F2-E7D5-456E-A707-3D5E85BF76D2}"/>
              </a:ext>
            </a:extLst>
          </p:cNvPr>
          <p:cNvSpPr>
            <a:spLocks noGrp="1"/>
          </p:cNvSpPr>
          <p:nvPr>
            <p:ph type="body" sz="quarter" idx="11" hasCustomPrompt="1"/>
          </p:nvPr>
        </p:nvSpPr>
        <p:spPr>
          <a:xfrm>
            <a:off x="495302" y="2087461"/>
            <a:ext cx="11201398" cy="2304256"/>
          </a:xfrm>
        </p:spPr>
        <p:txBody>
          <a:bodyPr anchor="ctr"/>
          <a:lstStyle>
            <a:lvl1pPr marL="0" indent="0" algn="ctr">
              <a:lnSpc>
                <a:spcPct val="90000"/>
              </a:lnSpc>
              <a:spcAft>
                <a:spcPts val="900"/>
              </a:spcAft>
              <a:buFontTx/>
              <a:buNone/>
              <a:defRPr kumimoji="0" lang="en-US" sz="7200" b="0" i="0" u="none" strike="noStrike" kern="1200" cap="none" normalizeH="0" baseline="0" dirty="0" smtClean="0">
                <a:ln>
                  <a:noFill/>
                </a:ln>
                <a:solidFill>
                  <a:schemeClr val="bg2"/>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Enter a quote or big statement here</a:t>
            </a:r>
          </a:p>
        </p:txBody>
      </p:sp>
      <p:sp>
        <p:nvSpPr>
          <p:cNvPr id="5" name="TextBox 4">
            <a:extLst>
              <a:ext uri="{FF2B5EF4-FFF2-40B4-BE49-F238E27FC236}">
                <a16:creationId xmlns:a16="http://schemas.microsoft.com/office/drawing/2014/main" id="{29F80990-6F8C-3748-88B9-6C6BCF266B4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0" name="Text Placeholder 2">
            <a:extLst>
              <a:ext uri="{FF2B5EF4-FFF2-40B4-BE49-F238E27FC236}">
                <a16:creationId xmlns:a16="http://schemas.microsoft.com/office/drawing/2014/main" id="{6A27B7E2-5374-46BF-874E-25F309D45740}"/>
              </a:ext>
            </a:extLst>
          </p:cNvPr>
          <p:cNvSpPr>
            <a:spLocks noGrp="1"/>
          </p:cNvSpPr>
          <p:nvPr>
            <p:ph type="body" sz="quarter" idx="12" hasCustomPrompt="1"/>
          </p:nvPr>
        </p:nvSpPr>
        <p:spPr>
          <a:xfrm>
            <a:off x="495301" y="6127695"/>
            <a:ext cx="3200400" cy="269442"/>
          </a:xfrm>
        </p:spPr>
        <p:txBody>
          <a:bodyPr anchor="ctr"/>
          <a:lstStyle>
            <a:lvl1pPr marL="0" indent="0" algn="l">
              <a:lnSpc>
                <a:spcPct val="90000"/>
              </a:lnSpc>
              <a:spcAft>
                <a:spcPts val="900"/>
              </a:spcAft>
              <a:buFontTx/>
              <a:buNone/>
              <a:defRPr kumimoji="0" lang="en-US" sz="1600" b="0" i="0" u="none" strike="noStrike" kern="1200" cap="none" normalizeH="0" baseline="0" dirty="0" smtClean="0">
                <a:ln>
                  <a:noFill/>
                </a:ln>
                <a:solidFill>
                  <a:schemeClr val="bg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174625"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2pPr>
            <a:lvl3pPr marL="347662"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3pPr>
            <a:lvl4pPr marL="508000" indent="0" algn="ctr">
              <a:buFontTx/>
              <a:buNone/>
              <a:defRPr kumimoji="0" lang="en-US" sz="8800" b="0" i="0" u="none" strike="noStrike" kern="1200" cap="none" normalizeH="0" baseline="0" dirty="0" smtClean="0">
                <a:ln>
                  <a:noFill/>
                </a:ln>
                <a:solidFill>
                  <a:schemeClr val="accent5"/>
                </a:solidFill>
                <a:effectLst/>
                <a:uLnTx/>
                <a:uFillTx/>
                <a:latin typeface="Qualcomm Next Thin" pitchFamily="50" charset="0"/>
                <a:ea typeface="+mn-ea"/>
                <a:cs typeface="+mn-cs"/>
              </a:defRPr>
            </a:lvl4pPr>
            <a:lvl5pPr algn="ctr">
              <a:buFontTx/>
              <a:buNone/>
              <a:defRPr kumimoji="0" lang="en-US" sz="8800" b="0" i="0" u="none" strike="noStrike" kern="1200" cap="none" normalizeH="0" baseline="0" dirty="0">
                <a:ln>
                  <a:noFill/>
                </a:ln>
                <a:solidFill>
                  <a:schemeClr val="accent5"/>
                </a:solidFill>
                <a:effectLst/>
                <a:uLnTx/>
                <a:uFillTx/>
                <a:latin typeface="Qualcomm Next Thin" pitchFamily="50" charset="0"/>
                <a:ea typeface="+mn-ea"/>
                <a:cs typeface="+mn-cs"/>
              </a:defRPr>
            </a:lvl5pPr>
          </a:lstStyle>
          <a:p>
            <a:pPr lvl="0"/>
            <a:r>
              <a:rPr lang="en-US" dirty="0"/>
              <a:t>Quote attribution</a:t>
            </a:r>
          </a:p>
        </p:txBody>
      </p:sp>
      <p:sp>
        <p:nvSpPr>
          <p:cNvPr id="11" name="Text Placeholder 47">
            <a:extLst>
              <a:ext uri="{FF2B5EF4-FFF2-40B4-BE49-F238E27FC236}">
                <a16:creationId xmlns:a16="http://schemas.microsoft.com/office/drawing/2014/main" id="{17E27798-673A-444E-A3F7-F8B33EC19061}"/>
              </a:ext>
            </a:extLst>
          </p:cNvPr>
          <p:cNvSpPr>
            <a:spLocks noGrp="1"/>
          </p:cNvSpPr>
          <p:nvPr>
            <p:ph type="body" sz="quarter" idx="13"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Tree>
    <p:extLst>
      <p:ext uri="{BB962C8B-B14F-4D97-AF65-F5344CB8AC3E}">
        <p14:creationId xmlns:p14="http://schemas.microsoft.com/office/powerpoint/2010/main" val="2016465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2.xml><?xml version="1.0" encoding="utf-8"?>
<p:sldLayout xmlns:a="http://schemas.openxmlformats.org/drawingml/2006/main" xmlns:r="http://schemas.openxmlformats.org/officeDocument/2006/relationships" xmlns:p="http://schemas.openxmlformats.org/presentationml/2006/main" showMasterSp="0" preserve="1" userDrawn="1">
  <p:cSld name="SD Thank You Red">
    <p:bg>
      <p:bgPr>
        <a:solidFill>
          <a:schemeClr val="bg2"/>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D41220"/>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38" name="TextBox 37">
            <a:extLst>
              <a:ext uri="{FF2B5EF4-FFF2-40B4-BE49-F238E27FC236}">
                <a16:creationId xmlns:a16="http://schemas.microsoft.com/office/drawing/2014/main" id="{5A83A160-D46F-4734-801C-1A888641CFE8}"/>
              </a:ext>
            </a:extLst>
          </p:cNvPr>
          <p:cNvSpPr txBox="1"/>
          <p:nvPr userDrawn="1"/>
        </p:nvSpPr>
        <p:spPr bwMode="gray">
          <a:xfrm>
            <a:off x="847768" y="5687930"/>
            <a:ext cx="3324182" cy="613566"/>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snapdragon.com &amp; snapdragoninsiders.com</a:t>
            </a:r>
          </a:p>
        </p:txBody>
      </p:sp>
      <p:sp>
        <p:nvSpPr>
          <p:cNvPr id="39" name="TextBox 38">
            <a:extLst>
              <a:ext uri="{FF2B5EF4-FFF2-40B4-BE49-F238E27FC236}">
                <a16:creationId xmlns:a16="http://schemas.microsoft.com/office/drawing/2014/main" id="{9E645FF0-4207-4C90-8CE9-2E601D81A337}"/>
              </a:ext>
            </a:extLst>
          </p:cNvPr>
          <p:cNvSpPr txBox="1"/>
          <p:nvPr userDrawn="1"/>
        </p:nvSpPr>
        <p:spPr bwMode="gray">
          <a:xfrm>
            <a:off x="4334171" y="5145088"/>
            <a:ext cx="4436711" cy="112851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All data and information contained in or disclosed by this document i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nfidential and proprietary information of Qualcomm Technologies, Inc.</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nd/or its affiliated companies and all rights therein are expressly reserv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By accepting this material the recipient agrees that this material and th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formation contained therein will not be used, copied, reproduced in whol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r in part, nor its contents revealed in any manner to others without the expres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written permission of Qualcomm Technologies, Inc. Nothing in these material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l Rights Reserved.</a:t>
            </a:r>
          </a:p>
        </p:txBody>
      </p:sp>
      <p:sp>
        <p:nvSpPr>
          <p:cNvPr id="17" name="TextBox 16">
            <a:extLst>
              <a:ext uri="{FF2B5EF4-FFF2-40B4-BE49-F238E27FC236}">
                <a16:creationId xmlns:a16="http://schemas.microsoft.com/office/drawing/2014/main" id="{F0995CCD-1161-A943-A67A-BEEDC634FB49}"/>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rgbClr val="C9111E"/>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rgbClr val="C9111E"/>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rgbClr val="C9111E"/>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rgbClr val="C9111E"/>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rgbClr val="C9111E"/>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rgbClr val="C9111E"/>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rgbClr val="C9111E"/>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rgbClr val="C9111E"/>
                </a:solidFill>
                <a:effectLst>
                  <a:innerShdw blurRad="25400" dist="12700" dir="13500000">
                    <a:prstClr val="black">
                      <a:alpha val="50000"/>
                    </a:prstClr>
                  </a:innerShdw>
                </a:effectLst>
                <a:uLnTx/>
                <a:uFillTx/>
              </a:rPr>
              <a:t>u</a:t>
            </a:r>
          </a:p>
        </p:txBody>
      </p:sp>
      <p:sp>
        <p:nvSpPr>
          <p:cNvPr id="19" name="TextBox 18">
            <a:extLst>
              <a:ext uri="{FF2B5EF4-FFF2-40B4-BE49-F238E27FC236}">
                <a16:creationId xmlns:a16="http://schemas.microsoft.com/office/drawing/2014/main" id="{95B79772-CAC0-EC40-A00B-F83093249A1A}"/>
              </a:ext>
            </a:extLst>
          </p:cNvPr>
          <p:cNvSpPr txBox="1"/>
          <p:nvPr userDrawn="1"/>
        </p:nvSpPr>
        <p:spPr>
          <a:xfrm>
            <a:off x="745275"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
        <p:nvSpPr>
          <p:cNvPr id="20" name="TextBox 19">
            <a:extLst>
              <a:ext uri="{FF2B5EF4-FFF2-40B4-BE49-F238E27FC236}">
                <a16:creationId xmlns:a16="http://schemas.microsoft.com/office/drawing/2014/main" id="{AA6B7D0B-0D2E-95C4-54F6-67F4481BA594}"/>
              </a:ext>
            </a:extLst>
          </p:cNvPr>
          <p:cNvSpPr txBox="1"/>
          <p:nvPr userDrawn="1"/>
        </p:nvSpPr>
        <p:spPr bwMode="gray">
          <a:xfrm>
            <a:off x="7894802" y="5145088"/>
            <a:ext cx="4273222"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Qualcomm and Snapdragon are trademarks or registered trademarks of Qualcomm</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orporated. Other products and brand names may be trademarks or register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rademarks 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ing our QCT semiconductor business.</a:t>
            </a:r>
          </a:p>
        </p:txBody>
      </p:sp>
      <p:pic>
        <p:nvPicPr>
          <p:cNvPr id="3" name="Picture 2">
            <a:extLst>
              <a:ext uri="{FF2B5EF4-FFF2-40B4-BE49-F238E27FC236}">
                <a16:creationId xmlns:a16="http://schemas.microsoft.com/office/drawing/2014/main" id="{097E1413-3066-9CBC-019E-ABF2282E4834}"/>
              </a:ext>
            </a:extLst>
          </p:cNvPr>
          <p:cNvPicPr>
            <a:picLocks noChangeAspect="1"/>
          </p:cNvPicPr>
          <p:nvPr userDrawn="1"/>
        </p:nvPicPr>
        <p:blipFill>
          <a:blip r:embed="rId2"/>
          <a:stretch>
            <a:fillRect/>
          </a:stretch>
        </p:blipFill>
        <p:spPr>
          <a:xfrm>
            <a:off x="822960" y="5148072"/>
            <a:ext cx="1843820" cy="347472"/>
          </a:xfrm>
          <a:prstGeom prst="rect">
            <a:avLst/>
          </a:prstGeom>
        </p:spPr>
      </p:pic>
      <p:grpSp>
        <p:nvGrpSpPr>
          <p:cNvPr id="16" name="Group 15">
            <a:extLst>
              <a:ext uri="{FF2B5EF4-FFF2-40B4-BE49-F238E27FC236}">
                <a16:creationId xmlns:a16="http://schemas.microsoft.com/office/drawing/2014/main" id="{EEDBF8F0-B7ED-590C-7416-FC57D4AE0403}"/>
              </a:ext>
            </a:extLst>
          </p:cNvPr>
          <p:cNvGrpSpPr/>
          <p:nvPr userDrawn="1"/>
        </p:nvGrpSpPr>
        <p:grpSpPr>
          <a:xfrm>
            <a:off x="1673310" y="5680514"/>
            <a:ext cx="883045" cy="161966"/>
            <a:chOff x="7906823" y="3619162"/>
            <a:chExt cx="883045" cy="161966"/>
          </a:xfrm>
        </p:grpSpPr>
        <p:sp>
          <p:nvSpPr>
            <p:cNvPr id="18" name="Freeform 12">
              <a:extLst>
                <a:ext uri="{FF2B5EF4-FFF2-40B4-BE49-F238E27FC236}">
                  <a16:creationId xmlns:a16="http://schemas.microsoft.com/office/drawing/2014/main" id="{5339DBA6-4436-35F8-6458-51D976548B43}"/>
                </a:ext>
              </a:extLst>
            </p:cNvPr>
            <p:cNvSpPr>
              <a:spLocks noChangeAspect="1"/>
            </p:cNvSpPr>
            <p:nvPr/>
          </p:nvSpPr>
          <p:spPr bwMode="gray">
            <a:xfrm>
              <a:off x="7906823" y="3631565"/>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1" name="Group 5">
              <a:extLst>
                <a:ext uri="{FF2B5EF4-FFF2-40B4-BE49-F238E27FC236}">
                  <a16:creationId xmlns:a16="http://schemas.microsoft.com/office/drawing/2014/main" id="{8CED0221-91B0-9F8B-12BC-AB1F51D18FB7}"/>
                </a:ext>
              </a:extLst>
            </p:cNvPr>
            <p:cNvGrpSpPr>
              <a:grpSpLocks noChangeAspect="1"/>
            </p:cNvGrpSpPr>
            <p:nvPr/>
          </p:nvGrpSpPr>
          <p:grpSpPr bwMode="gray">
            <a:xfrm>
              <a:off x="8147208" y="3631565"/>
              <a:ext cx="138792" cy="137160"/>
              <a:chOff x="3331" y="1656"/>
              <a:chExt cx="1020" cy="1008"/>
            </a:xfrm>
            <a:solidFill>
              <a:schemeClr val="bg1"/>
            </a:solidFill>
          </p:grpSpPr>
          <p:sp>
            <p:nvSpPr>
              <p:cNvPr id="25" name="Freeform 6">
                <a:extLst>
                  <a:ext uri="{FF2B5EF4-FFF2-40B4-BE49-F238E27FC236}">
                    <a16:creationId xmlns:a16="http://schemas.microsoft.com/office/drawing/2014/main" id="{BCA829DF-853B-EB6C-28D9-00E3337DE072}"/>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26" name="Freeform 7">
                <a:extLst>
                  <a:ext uri="{FF2B5EF4-FFF2-40B4-BE49-F238E27FC236}">
                    <a16:creationId xmlns:a16="http://schemas.microsoft.com/office/drawing/2014/main" id="{8DAC9D6B-FD72-B27B-BA8D-F5EB518B5C89}"/>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pic>
          <p:nvPicPr>
            <p:cNvPr id="22" name="Graphic 21">
              <a:extLst>
                <a:ext uri="{FF2B5EF4-FFF2-40B4-BE49-F238E27FC236}">
                  <a16:creationId xmlns:a16="http://schemas.microsoft.com/office/drawing/2014/main" id="{E35F2244-7462-D33F-31FD-185CFCD5C66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57594" y="3631565"/>
              <a:ext cx="198713" cy="137160"/>
            </a:xfrm>
            <a:prstGeom prst="rect">
              <a:avLst/>
            </a:prstGeom>
          </p:spPr>
        </p:pic>
        <p:pic>
          <p:nvPicPr>
            <p:cNvPr id="23" name="Graphic 22">
              <a:extLst>
                <a:ext uri="{FF2B5EF4-FFF2-40B4-BE49-F238E27FC236}">
                  <a16:creationId xmlns:a16="http://schemas.microsoft.com/office/drawing/2014/main" id="{1991C727-8EF3-B323-1327-98E3279A996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27902" y="3619162"/>
              <a:ext cx="161966" cy="161966"/>
            </a:xfrm>
            <a:prstGeom prst="rect">
              <a:avLst/>
            </a:prstGeom>
          </p:spPr>
        </p:pic>
      </p:grpSp>
    </p:spTree>
    <p:extLst>
      <p:ext uri="{BB962C8B-B14F-4D97-AF65-F5344CB8AC3E}">
        <p14:creationId xmlns:p14="http://schemas.microsoft.com/office/powerpoint/2010/main" val="58420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3.xml><?xml version="1.0" encoding="utf-8"?>
<p:sldLayout xmlns:a="http://schemas.openxmlformats.org/drawingml/2006/main" xmlns:r="http://schemas.openxmlformats.org/officeDocument/2006/relationships" xmlns:p="http://schemas.openxmlformats.org/presentationml/2006/main" showMasterSp="0" preserve="1" userDrawn="1">
  <p:cSld name="SD Thank You White">
    <p:bg>
      <p:bgPr>
        <a:solidFill>
          <a:srgbClr val="FFFFFF"/>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bg1"/>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44" name="TextBox 43">
            <a:extLst>
              <a:ext uri="{FF2B5EF4-FFF2-40B4-BE49-F238E27FC236}">
                <a16:creationId xmlns:a16="http://schemas.microsoft.com/office/drawing/2014/main" id="{7E26BA33-6378-4AEA-8D5E-1735165C76C7}"/>
              </a:ext>
            </a:extLst>
          </p:cNvPr>
          <p:cNvSpPr txBox="1"/>
          <p:nvPr userDrawn="1"/>
        </p:nvSpPr>
        <p:spPr bwMode="gray">
          <a:xfrm>
            <a:off x="847768" y="5687930"/>
            <a:ext cx="3355932" cy="613566"/>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snapdragon.com &amp; snapdragoninsiders.com</a:t>
            </a:r>
          </a:p>
        </p:txBody>
      </p:sp>
      <p:sp>
        <p:nvSpPr>
          <p:cNvPr id="26" name="TextBox 25">
            <a:extLst>
              <a:ext uri="{FF2B5EF4-FFF2-40B4-BE49-F238E27FC236}">
                <a16:creationId xmlns:a16="http://schemas.microsoft.com/office/drawing/2014/main" id="{9E80EF5E-5AD8-4C4F-8447-CFEB663B5E20}"/>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chemeClr val="accent6">
                    <a:lumMod val="20000"/>
                    <a:lumOff val="8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chemeClr val="accent6">
                    <a:lumMod val="20000"/>
                    <a:lumOff val="8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chemeClr val="accent6">
                    <a:lumMod val="20000"/>
                    <a:lumOff val="8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chemeClr val="accent6">
                    <a:lumMod val="20000"/>
                    <a:lumOff val="8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chemeClr val="accent6">
                    <a:lumMod val="20000"/>
                    <a:lumOff val="8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chemeClr val="accent6">
                    <a:lumMod val="20000"/>
                    <a:lumOff val="8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chemeClr val="accent6">
                    <a:lumMod val="20000"/>
                    <a:lumOff val="8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chemeClr val="accent6">
                    <a:lumMod val="20000"/>
                    <a:lumOff val="80000"/>
                  </a:schemeClr>
                </a:solidFill>
                <a:effectLst>
                  <a:innerShdw blurRad="25400" dist="12700" dir="13500000">
                    <a:prstClr val="black">
                      <a:alpha val="50000"/>
                    </a:prstClr>
                  </a:innerShdw>
                </a:effectLst>
                <a:uLnTx/>
                <a:uFillTx/>
              </a:rPr>
              <a:t>u</a:t>
            </a:r>
          </a:p>
        </p:txBody>
      </p:sp>
      <p:sp>
        <p:nvSpPr>
          <p:cNvPr id="17" name="TextBox 16">
            <a:extLst>
              <a:ext uri="{FF2B5EF4-FFF2-40B4-BE49-F238E27FC236}">
                <a16:creationId xmlns:a16="http://schemas.microsoft.com/office/drawing/2014/main" id="{41B591FD-7815-DB45-95D6-A01BA3CC5361}"/>
              </a:ext>
            </a:extLst>
          </p:cNvPr>
          <p:cNvSpPr txBox="1"/>
          <p:nvPr userDrawn="1"/>
        </p:nvSpPr>
        <p:spPr>
          <a:xfrm>
            <a:off x="740890"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
        <p:nvSpPr>
          <p:cNvPr id="15" name="TextBox 14">
            <a:extLst>
              <a:ext uri="{FF2B5EF4-FFF2-40B4-BE49-F238E27FC236}">
                <a16:creationId xmlns:a16="http://schemas.microsoft.com/office/drawing/2014/main" id="{BC0B640B-5629-8237-CEE1-DBD7B05ED5DF}"/>
              </a:ext>
            </a:extLst>
          </p:cNvPr>
          <p:cNvSpPr txBox="1"/>
          <p:nvPr userDrawn="1"/>
        </p:nvSpPr>
        <p:spPr bwMode="gray">
          <a:xfrm>
            <a:off x="4334171" y="5145088"/>
            <a:ext cx="4436711" cy="112851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All data and information contained in or disclosed by this document i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confidential and proprietary information of Qualcomm Technologies, Inc.</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nd/or its affiliated companies and all rights therein are expressly reserv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By accepting this material the recipient agrees that this material and the</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formation contained therein will not be used, copied, reproduced in whole</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or in part, nor its contents revealed in any manner to others without the expres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written permission of Qualcomm Technologies, Inc. Nothing in these material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ll Rights Reserved.</a:t>
            </a:r>
          </a:p>
        </p:txBody>
      </p:sp>
      <p:sp>
        <p:nvSpPr>
          <p:cNvPr id="16" name="TextBox 15">
            <a:extLst>
              <a:ext uri="{FF2B5EF4-FFF2-40B4-BE49-F238E27FC236}">
                <a16:creationId xmlns:a16="http://schemas.microsoft.com/office/drawing/2014/main" id="{166478F6-2F60-6B11-D4FA-BB3AE90D2C2B}"/>
              </a:ext>
            </a:extLst>
          </p:cNvPr>
          <p:cNvSpPr txBox="1"/>
          <p:nvPr userDrawn="1"/>
        </p:nvSpPr>
        <p:spPr bwMode="gray">
          <a:xfrm>
            <a:off x="7894802" y="5145088"/>
            <a:ext cx="4273222"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Qualcomm and Snapdragon are trademarks or registered trademarks of Qualcomm</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orporated. Other products and brand names may be trademarks or register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trademarks 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luding our QCT semiconductor business.</a:t>
            </a:r>
          </a:p>
        </p:txBody>
      </p:sp>
      <p:pic>
        <p:nvPicPr>
          <p:cNvPr id="3" name="Picture 2">
            <a:extLst>
              <a:ext uri="{FF2B5EF4-FFF2-40B4-BE49-F238E27FC236}">
                <a16:creationId xmlns:a16="http://schemas.microsoft.com/office/drawing/2014/main" id="{3E315087-CE08-1290-C75D-4EE03AD25FA5}"/>
              </a:ext>
            </a:extLst>
          </p:cNvPr>
          <p:cNvPicPr>
            <a:picLocks noChangeAspect="1"/>
          </p:cNvPicPr>
          <p:nvPr userDrawn="1"/>
        </p:nvPicPr>
        <p:blipFill>
          <a:blip r:embed="rId2"/>
          <a:stretch>
            <a:fillRect/>
          </a:stretch>
        </p:blipFill>
        <p:spPr>
          <a:xfrm>
            <a:off x="822960" y="5148072"/>
            <a:ext cx="1843820" cy="347472"/>
          </a:xfrm>
          <a:prstGeom prst="rect">
            <a:avLst/>
          </a:prstGeom>
        </p:spPr>
      </p:pic>
      <p:grpSp>
        <p:nvGrpSpPr>
          <p:cNvPr id="18" name="Group 17">
            <a:extLst>
              <a:ext uri="{FF2B5EF4-FFF2-40B4-BE49-F238E27FC236}">
                <a16:creationId xmlns:a16="http://schemas.microsoft.com/office/drawing/2014/main" id="{0A28ACFB-1767-8558-133E-CF8F4517B1E2}"/>
              </a:ext>
            </a:extLst>
          </p:cNvPr>
          <p:cNvGrpSpPr/>
          <p:nvPr userDrawn="1"/>
        </p:nvGrpSpPr>
        <p:grpSpPr>
          <a:xfrm>
            <a:off x="1673310" y="5680514"/>
            <a:ext cx="883045" cy="161966"/>
            <a:chOff x="7906823" y="3619162"/>
            <a:chExt cx="883045" cy="161966"/>
          </a:xfrm>
          <a:solidFill>
            <a:schemeClr val="tx2"/>
          </a:solidFill>
        </p:grpSpPr>
        <p:sp>
          <p:nvSpPr>
            <p:cNvPr id="19" name="Freeform 12">
              <a:extLst>
                <a:ext uri="{FF2B5EF4-FFF2-40B4-BE49-F238E27FC236}">
                  <a16:creationId xmlns:a16="http://schemas.microsoft.com/office/drawing/2014/main" id="{E88FDBDE-81A9-2B82-E565-BF1030A462AA}"/>
                </a:ext>
              </a:extLst>
            </p:cNvPr>
            <p:cNvSpPr>
              <a:spLocks noChangeAspect="1"/>
            </p:cNvSpPr>
            <p:nvPr/>
          </p:nvSpPr>
          <p:spPr bwMode="gray">
            <a:xfrm>
              <a:off x="7906823" y="3631565"/>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0" name="Group 5">
              <a:extLst>
                <a:ext uri="{FF2B5EF4-FFF2-40B4-BE49-F238E27FC236}">
                  <a16:creationId xmlns:a16="http://schemas.microsoft.com/office/drawing/2014/main" id="{8EDB353E-78D6-2D53-7EB5-D1717266CC07}"/>
                </a:ext>
              </a:extLst>
            </p:cNvPr>
            <p:cNvGrpSpPr>
              <a:grpSpLocks noChangeAspect="1"/>
            </p:cNvGrpSpPr>
            <p:nvPr/>
          </p:nvGrpSpPr>
          <p:grpSpPr bwMode="gray">
            <a:xfrm>
              <a:off x="8147208" y="3631565"/>
              <a:ext cx="138792" cy="137160"/>
              <a:chOff x="3331" y="1656"/>
              <a:chExt cx="1020" cy="1008"/>
            </a:xfrm>
            <a:grpFill/>
          </p:grpSpPr>
          <p:sp>
            <p:nvSpPr>
              <p:cNvPr id="23" name="Freeform 6">
                <a:extLst>
                  <a:ext uri="{FF2B5EF4-FFF2-40B4-BE49-F238E27FC236}">
                    <a16:creationId xmlns:a16="http://schemas.microsoft.com/office/drawing/2014/main" id="{90AA4090-A6FF-1DAB-E494-4B9A8884EE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29" name="Freeform 7">
                <a:extLst>
                  <a:ext uri="{FF2B5EF4-FFF2-40B4-BE49-F238E27FC236}">
                    <a16:creationId xmlns:a16="http://schemas.microsoft.com/office/drawing/2014/main" id="{973D1104-63EC-99F0-2204-88DA4159F473}"/>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pic>
          <p:nvPicPr>
            <p:cNvPr id="21" name="Graphic 20">
              <a:extLst>
                <a:ext uri="{FF2B5EF4-FFF2-40B4-BE49-F238E27FC236}">
                  <a16:creationId xmlns:a16="http://schemas.microsoft.com/office/drawing/2014/main" id="{90F8BFE5-03A5-A328-C156-0B3F225197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57594" y="3631565"/>
              <a:ext cx="198713" cy="137160"/>
            </a:xfrm>
            <a:prstGeom prst="rect">
              <a:avLst/>
            </a:prstGeom>
          </p:spPr>
        </p:pic>
        <p:pic>
          <p:nvPicPr>
            <p:cNvPr id="22" name="Graphic 21">
              <a:extLst>
                <a:ext uri="{FF2B5EF4-FFF2-40B4-BE49-F238E27FC236}">
                  <a16:creationId xmlns:a16="http://schemas.microsoft.com/office/drawing/2014/main" id="{5F4413BE-6AC2-E4D6-13E8-EE6A21C40B2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27902" y="3619162"/>
              <a:ext cx="161966" cy="161966"/>
            </a:xfrm>
            <a:prstGeom prst="rect">
              <a:avLst/>
            </a:prstGeom>
          </p:spPr>
        </p:pic>
      </p:grpSp>
    </p:spTree>
    <p:extLst>
      <p:ext uri="{BB962C8B-B14F-4D97-AF65-F5344CB8AC3E}">
        <p14:creationId xmlns:p14="http://schemas.microsoft.com/office/powerpoint/2010/main" val="590086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4.xml><?xml version="1.0" encoding="utf-8"?>
<p:sldLayout xmlns:a="http://schemas.openxmlformats.org/drawingml/2006/main" xmlns:r="http://schemas.openxmlformats.org/officeDocument/2006/relationships" xmlns:p="http://schemas.openxmlformats.org/presentationml/2006/main" showMasterSp="0" preserve="1" userDrawn="1">
  <p:cSld name="SD Thank You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F169C4E2-C712-43C2-81F7-333C1C705928}"/>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60000"/>
              <a:lumOff val="4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96000"/>
              </a:lnSpc>
              <a:spcBef>
                <a:spcPts val="0"/>
              </a:spcBef>
              <a:spcAft>
                <a:spcPts val="0"/>
              </a:spcAft>
              <a:buClrTx/>
              <a:buSzTx/>
              <a:buFontTx/>
              <a:buNone/>
              <a:tabLst/>
            </a:pPr>
            <a:endParaRPr kumimoji="0" lang="en-US" b="0" i="0" u="none" strike="noStrike" cap="none" spc="0" normalizeH="0" baseline="0" err="1">
              <a:ln>
                <a:noFill/>
              </a:ln>
              <a:solidFill>
                <a:srgbClr val="0B2742"/>
              </a:solidFill>
              <a:effectLst/>
              <a:uLnTx/>
              <a:uFillTx/>
              <a:latin typeface="Microsoft Sans Serif"/>
              <a:cs typeface="Microsoft Sans Serif" panose="020B0604020202020204" pitchFamily="34" charset="0"/>
            </a:endParaRPr>
          </a:p>
        </p:txBody>
      </p:sp>
      <p:sp>
        <p:nvSpPr>
          <p:cNvPr id="38" name="TextBox 37">
            <a:extLst>
              <a:ext uri="{FF2B5EF4-FFF2-40B4-BE49-F238E27FC236}">
                <a16:creationId xmlns:a16="http://schemas.microsoft.com/office/drawing/2014/main" id="{7B0A0F38-A166-4E1D-966C-05E6318A1E66}"/>
              </a:ext>
            </a:extLst>
          </p:cNvPr>
          <p:cNvSpPr txBox="1"/>
          <p:nvPr userDrawn="1"/>
        </p:nvSpPr>
        <p:spPr bwMode="gray">
          <a:xfrm>
            <a:off x="847768" y="5687930"/>
            <a:ext cx="3463882" cy="613566"/>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snapdragon.com &amp; snapdragoninsiders.com</a:t>
            </a:r>
          </a:p>
        </p:txBody>
      </p:sp>
      <p:sp>
        <p:nvSpPr>
          <p:cNvPr id="18" name="TextBox 17">
            <a:extLst>
              <a:ext uri="{FF2B5EF4-FFF2-40B4-BE49-F238E27FC236}">
                <a16:creationId xmlns:a16="http://schemas.microsoft.com/office/drawing/2014/main" id="{84B01FB6-EA3D-8A4A-9948-A84C6941E09C}"/>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rgbClr val="CAD2E0"/>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rgbClr val="CAD2E0"/>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rgbClr val="CAD2E0"/>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rgbClr val="CAD2E0"/>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rgbClr val="CAD2E0"/>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rgbClr val="CAD2E0"/>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rgbClr val="CAD2E0"/>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rgbClr val="CAD2E0"/>
                </a:solidFill>
                <a:effectLst>
                  <a:innerShdw blurRad="25400" dist="12700" dir="13500000">
                    <a:prstClr val="black">
                      <a:alpha val="50000"/>
                    </a:prstClr>
                  </a:innerShdw>
                </a:effectLst>
                <a:uLnTx/>
                <a:uFillTx/>
              </a:rPr>
              <a:t>u</a:t>
            </a:r>
          </a:p>
        </p:txBody>
      </p:sp>
      <p:sp>
        <p:nvSpPr>
          <p:cNvPr id="19" name="TextBox 18">
            <a:extLst>
              <a:ext uri="{FF2B5EF4-FFF2-40B4-BE49-F238E27FC236}">
                <a16:creationId xmlns:a16="http://schemas.microsoft.com/office/drawing/2014/main" id="{C86D7F3F-CCFD-B846-B232-FD8ABABC9DAC}"/>
              </a:ext>
            </a:extLst>
          </p:cNvPr>
          <p:cNvSpPr txBox="1"/>
          <p:nvPr userDrawn="1"/>
        </p:nvSpPr>
        <p:spPr>
          <a:xfrm>
            <a:off x="733400"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
        <p:nvSpPr>
          <p:cNvPr id="15" name="TextBox 14">
            <a:extLst>
              <a:ext uri="{FF2B5EF4-FFF2-40B4-BE49-F238E27FC236}">
                <a16:creationId xmlns:a16="http://schemas.microsoft.com/office/drawing/2014/main" id="{5F90AE63-0A99-B44F-0E1A-C883CC031E82}"/>
              </a:ext>
            </a:extLst>
          </p:cNvPr>
          <p:cNvSpPr txBox="1"/>
          <p:nvPr userDrawn="1"/>
        </p:nvSpPr>
        <p:spPr bwMode="gray">
          <a:xfrm>
            <a:off x="4334171" y="5145088"/>
            <a:ext cx="4436711" cy="112851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All data and information contained in or disclosed by this document i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confidential and proprietary information of Qualcomm Technologies, Inc.</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nd/or its affiliated companies and all rights therein are expressly reserv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By accepting this material the recipient agrees that this material and the</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formation contained therein will not be used, copied, reproduced in whole</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or in part, nor its contents revealed in any manner to others without the expres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written permission of Qualcomm Technologies, Inc. Nothing in these material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ll Rights Reserved.</a:t>
            </a:r>
          </a:p>
        </p:txBody>
      </p:sp>
      <p:sp>
        <p:nvSpPr>
          <p:cNvPr id="16" name="TextBox 15">
            <a:extLst>
              <a:ext uri="{FF2B5EF4-FFF2-40B4-BE49-F238E27FC236}">
                <a16:creationId xmlns:a16="http://schemas.microsoft.com/office/drawing/2014/main" id="{7ED0814D-95E2-2D83-AFD9-6EC125F0F0BB}"/>
              </a:ext>
            </a:extLst>
          </p:cNvPr>
          <p:cNvSpPr txBox="1"/>
          <p:nvPr userDrawn="1"/>
        </p:nvSpPr>
        <p:spPr bwMode="gray">
          <a:xfrm>
            <a:off x="7894802" y="5145088"/>
            <a:ext cx="4273222"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Qualcomm and Snapdragon are trademarks or registered trademarks of Qualcomm</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orporated. Other products and brand names may be trademarks or register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trademarks 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luding our QCT semiconductor business.</a:t>
            </a:r>
          </a:p>
        </p:txBody>
      </p:sp>
      <p:pic>
        <p:nvPicPr>
          <p:cNvPr id="28" name="Picture 27">
            <a:extLst>
              <a:ext uri="{FF2B5EF4-FFF2-40B4-BE49-F238E27FC236}">
                <a16:creationId xmlns:a16="http://schemas.microsoft.com/office/drawing/2014/main" id="{E5B7EB14-87A7-11E3-4F1E-1E8381F0F6EF}"/>
              </a:ext>
            </a:extLst>
          </p:cNvPr>
          <p:cNvPicPr>
            <a:picLocks noChangeAspect="1"/>
          </p:cNvPicPr>
          <p:nvPr userDrawn="1"/>
        </p:nvPicPr>
        <p:blipFill>
          <a:blip r:embed="rId2"/>
          <a:stretch>
            <a:fillRect/>
          </a:stretch>
        </p:blipFill>
        <p:spPr>
          <a:xfrm>
            <a:off x="822960" y="5148072"/>
            <a:ext cx="1843820" cy="347472"/>
          </a:xfrm>
          <a:prstGeom prst="rect">
            <a:avLst/>
          </a:prstGeom>
        </p:spPr>
      </p:pic>
      <p:grpSp>
        <p:nvGrpSpPr>
          <p:cNvPr id="27" name="Group 26">
            <a:extLst>
              <a:ext uri="{FF2B5EF4-FFF2-40B4-BE49-F238E27FC236}">
                <a16:creationId xmlns:a16="http://schemas.microsoft.com/office/drawing/2014/main" id="{0F27D979-BE65-06FD-023E-F7A3C642A0E0}"/>
              </a:ext>
            </a:extLst>
          </p:cNvPr>
          <p:cNvGrpSpPr/>
          <p:nvPr userDrawn="1"/>
        </p:nvGrpSpPr>
        <p:grpSpPr>
          <a:xfrm>
            <a:off x="1673310" y="5680514"/>
            <a:ext cx="883045" cy="161966"/>
            <a:chOff x="7906823" y="3619162"/>
            <a:chExt cx="883045" cy="161966"/>
          </a:xfrm>
          <a:solidFill>
            <a:schemeClr val="tx2"/>
          </a:solidFill>
        </p:grpSpPr>
        <p:sp>
          <p:nvSpPr>
            <p:cNvPr id="29" name="Freeform 12">
              <a:extLst>
                <a:ext uri="{FF2B5EF4-FFF2-40B4-BE49-F238E27FC236}">
                  <a16:creationId xmlns:a16="http://schemas.microsoft.com/office/drawing/2014/main" id="{C163B9EC-D897-5F9F-302B-0558F7936C18}"/>
                </a:ext>
              </a:extLst>
            </p:cNvPr>
            <p:cNvSpPr>
              <a:spLocks noChangeAspect="1"/>
            </p:cNvSpPr>
            <p:nvPr/>
          </p:nvSpPr>
          <p:spPr bwMode="gray">
            <a:xfrm>
              <a:off x="7906823" y="3631565"/>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0" name="Group 5">
              <a:extLst>
                <a:ext uri="{FF2B5EF4-FFF2-40B4-BE49-F238E27FC236}">
                  <a16:creationId xmlns:a16="http://schemas.microsoft.com/office/drawing/2014/main" id="{A5782D74-4A6A-02A0-3DAA-A41EB7223AA4}"/>
                </a:ext>
              </a:extLst>
            </p:cNvPr>
            <p:cNvGrpSpPr>
              <a:grpSpLocks noChangeAspect="1"/>
            </p:cNvGrpSpPr>
            <p:nvPr/>
          </p:nvGrpSpPr>
          <p:grpSpPr bwMode="gray">
            <a:xfrm>
              <a:off x="8147208" y="3631565"/>
              <a:ext cx="138792" cy="137160"/>
              <a:chOff x="3331" y="1656"/>
              <a:chExt cx="1020" cy="1008"/>
            </a:xfrm>
            <a:grpFill/>
          </p:grpSpPr>
          <p:sp>
            <p:nvSpPr>
              <p:cNvPr id="33" name="Freeform 6">
                <a:extLst>
                  <a:ext uri="{FF2B5EF4-FFF2-40B4-BE49-F238E27FC236}">
                    <a16:creationId xmlns:a16="http://schemas.microsoft.com/office/drawing/2014/main" id="{6978AF0B-03AE-DBE3-8CF7-D7BC42516B78}"/>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4" name="Freeform 7">
                <a:extLst>
                  <a:ext uri="{FF2B5EF4-FFF2-40B4-BE49-F238E27FC236}">
                    <a16:creationId xmlns:a16="http://schemas.microsoft.com/office/drawing/2014/main" id="{58C79AB4-458B-039B-14C2-5C572AECFD99}"/>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pic>
          <p:nvPicPr>
            <p:cNvPr id="31" name="Graphic 30">
              <a:extLst>
                <a:ext uri="{FF2B5EF4-FFF2-40B4-BE49-F238E27FC236}">
                  <a16:creationId xmlns:a16="http://schemas.microsoft.com/office/drawing/2014/main" id="{E6985FE9-3B55-32D4-DF37-ED6019EB5CC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57594" y="3631565"/>
              <a:ext cx="198713" cy="137160"/>
            </a:xfrm>
            <a:prstGeom prst="rect">
              <a:avLst/>
            </a:prstGeom>
          </p:spPr>
        </p:pic>
        <p:pic>
          <p:nvPicPr>
            <p:cNvPr id="32" name="Graphic 31">
              <a:extLst>
                <a:ext uri="{FF2B5EF4-FFF2-40B4-BE49-F238E27FC236}">
                  <a16:creationId xmlns:a16="http://schemas.microsoft.com/office/drawing/2014/main" id="{28547C7B-FA91-CCDC-834E-0488679F4E4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27902" y="3619162"/>
              <a:ext cx="161966" cy="161966"/>
            </a:xfrm>
            <a:prstGeom prst="rect">
              <a:avLst/>
            </a:prstGeom>
          </p:spPr>
        </p:pic>
      </p:grpSp>
    </p:spTree>
    <p:extLst>
      <p:ext uri="{BB962C8B-B14F-4D97-AF65-F5344CB8AC3E}">
        <p14:creationId xmlns:p14="http://schemas.microsoft.com/office/powerpoint/2010/main" val="45195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5.xml><?xml version="1.0" encoding="utf-8"?>
<p:sldLayout xmlns:a="http://schemas.openxmlformats.org/drawingml/2006/main" xmlns:r="http://schemas.openxmlformats.org/officeDocument/2006/relationships" xmlns:p="http://schemas.openxmlformats.org/presentationml/2006/main" showMasterSp="0" preserve="1" userDrawn="1">
  <p:cSld name="SD Thank You Gunmetal">
    <p:bg>
      <p:bgPr>
        <a:solidFill>
          <a:schemeClr val="accent5"/>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44536C"/>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44" name="TextBox 43">
            <a:extLst>
              <a:ext uri="{FF2B5EF4-FFF2-40B4-BE49-F238E27FC236}">
                <a16:creationId xmlns:a16="http://schemas.microsoft.com/office/drawing/2014/main" id="{22F70D0A-56DD-483C-9B92-40FB17FA7A59}"/>
              </a:ext>
            </a:extLst>
          </p:cNvPr>
          <p:cNvSpPr txBox="1"/>
          <p:nvPr userDrawn="1"/>
        </p:nvSpPr>
        <p:spPr bwMode="gray">
          <a:xfrm>
            <a:off x="847767" y="5687930"/>
            <a:ext cx="3327357" cy="613566"/>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snapdragon.com &amp; snapdragoninsiders.com</a:t>
            </a:r>
          </a:p>
        </p:txBody>
      </p:sp>
      <p:sp>
        <p:nvSpPr>
          <p:cNvPr id="17" name="TextBox 16">
            <a:extLst>
              <a:ext uri="{FF2B5EF4-FFF2-40B4-BE49-F238E27FC236}">
                <a16:creationId xmlns:a16="http://schemas.microsoft.com/office/drawing/2014/main" id="{C9F9697D-5F59-614B-BC89-2CD5217CBA57}"/>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rgbClr val="3F4D6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rgbClr val="3F4D63"/>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rgbClr val="3F4D63"/>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rgbClr val="3F4D63"/>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rgbClr val="3F4D6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rgbClr val="3F4D63"/>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rgbClr val="3F4D6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rgbClr val="3F4D63"/>
                </a:solidFill>
                <a:effectLst>
                  <a:innerShdw blurRad="25400" dist="12700" dir="13500000">
                    <a:prstClr val="black">
                      <a:alpha val="50000"/>
                    </a:prstClr>
                  </a:innerShdw>
                </a:effectLst>
                <a:uLnTx/>
                <a:uFillTx/>
              </a:rPr>
              <a:t>u</a:t>
            </a:r>
          </a:p>
        </p:txBody>
      </p:sp>
      <p:sp>
        <p:nvSpPr>
          <p:cNvPr id="25" name="TextBox 24">
            <a:extLst>
              <a:ext uri="{FF2B5EF4-FFF2-40B4-BE49-F238E27FC236}">
                <a16:creationId xmlns:a16="http://schemas.microsoft.com/office/drawing/2014/main" id="{7AF01AB1-AA01-154B-8F42-8AF7B1BFB94F}"/>
              </a:ext>
            </a:extLst>
          </p:cNvPr>
          <p:cNvSpPr txBox="1"/>
          <p:nvPr userDrawn="1"/>
        </p:nvSpPr>
        <p:spPr>
          <a:xfrm>
            <a:off x="733400"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5" name="TextBox 14">
            <a:extLst>
              <a:ext uri="{FF2B5EF4-FFF2-40B4-BE49-F238E27FC236}">
                <a16:creationId xmlns:a16="http://schemas.microsoft.com/office/drawing/2014/main" id="{7283F846-2DA6-4813-0F48-B2333D518C80}"/>
              </a:ext>
            </a:extLst>
          </p:cNvPr>
          <p:cNvSpPr txBox="1"/>
          <p:nvPr userDrawn="1"/>
        </p:nvSpPr>
        <p:spPr bwMode="gray">
          <a:xfrm>
            <a:off x="4334171" y="5145088"/>
            <a:ext cx="4436711" cy="112851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All data and information contained in or disclosed by this document i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nfidential and proprietary information of Qualcomm Technologies, Inc.</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nd/or its affiliated companies and all rights therein are expressly reserv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By accepting this material the recipient agrees that this material and th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formation contained therein will not be used, copied, reproduced in whol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r in part, nor its contents revealed in any manner to others without the expres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written permission of Qualcomm Technologies, Inc. Nothing in these material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l Rights Reserved.</a:t>
            </a:r>
          </a:p>
        </p:txBody>
      </p:sp>
      <p:sp>
        <p:nvSpPr>
          <p:cNvPr id="16" name="TextBox 15">
            <a:extLst>
              <a:ext uri="{FF2B5EF4-FFF2-40B4-BE49-F238E27FC236}">
                <a16:creationId xmlns:a16="http://schemas.microsoft.com/office/drawing/2014/main" id="{9CA9E428-2BB3-6DCE-7F59-320F777DB0E9}"/>
              </a:ext>
            </a:extLst>
          </p:cNvPr>
          <p:cNvSpPr txBox="1"/>
          <p:nvPr userDrawn="1"/>
        </p:nvSpPr>
        <p:spPr bwMode="gray">
          <a:xfrm>
            <a:off x="7894802" y="5145088"/>
            <a:ext cx="4273222"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Qualcomm and Snapdragon are trademarks or registered trademarks of Qualcomm</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orporated. Other products and brand names may be trademarks or register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rademarks 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ing our QCT semiconductor business.</a:t>
            </a:r>
          </a:p>
        </p:txBody>
      </p:sp>
      <p:pic>
        <p:nvPicPr>
          <p:cNvPr id="18" name="Picture 17">
            <a:extLst>
              <a:ext uri="{FF2B5EF4-FFF2-40B4-BE49-F238E27FC236}">
                <a16:creationId xmlns:a16="http://schemas.microsoft.com/office/drawing/2014/main" id="{DFE0751D-9153-C8C6-C2ED-D7BF2532ABB2}"/>
              </a:ext>
            </a:extLst>
          </p:cNvPr>
          <p:cNvPicPr>
            <a:picLocks noChangeAspect="1"/>
          </p:cNvPicPr>
          <p:nvPr userDrawn="1"/>
        </p:nvPicPr>
        <p:blipFill>
          <a:blip r:embed="rId2"/>
          <a:stretch>
            <a:fillRect/>
          </a:stretch>
        </p:blipFill>
        <p:spPr>
          <a:xfrm>
            <a:off x="822960" y="5148072"/>
            <a:ext cx="1843820" cy="347472"/>
          </a:xfrm>
          <a:prstGeom prst="rect">
            <a:avLst/>
          </a:prstGeom>
        </p:spPr>
      </p:pic>
      <p:grpSp>
        <p:nvGrpSpPr>
          <p:cNvPr id="19" name="Group 18">
            <a:extLst>
              <a:ext uri="{FF2B5EF4-FFF2-40B4-BE49-F238E27FC236}">
                <a16:creationId xmlns:a16="http://schemas.microsoft.com/office/drawing/2014/main" id="{8FE969D9-7157-36FE-CF65-33E551BE3900}"/>
              </a:ext>
            </a:extLst>
          </p:cNvPr>
          <p:cNvGrpSpPr/>
          <p:nvPr userDrawn="1"/>
        </p:nvGrpSpPr>
        <p:grpSpPr>
          <a:xfrm>
            <a:off x="1673310" y="5680514"/>
            <a:ext cx="883045" cy="161966"/>
            <a:chOff x="7906823" y="3619162"/>
            <a:chExt cx="883045" cy="161966"/>
          </a:xfrm>
        </p:grpSpPr>
        <p:sp>
          <p:nvSpPr>
            <p:cNvPr id="20" name="Freeform 12">
              <a:extLst>
                <a:ext uri="{FF2B5EF4-FFF2-40B4-BE49-F238E27FC236}">
                  <a16:creationId xmlns:a16="http://schemas.microsoft.com/office/drawing/2014/main" id="{BBC80F60-F568-0B31-EAA1-4F378517F5E9}"/>
                </a:ext>
              </a:extLst>
            </p:cNvPr>
            <p:cNvSpPr>
              <a:spLocks noChangeAspect="1"/>
            </p:cNvSpPr>
            <p:nvPr/>
          </p:nvSpPr>
          <p:spPr bwMode="gray">
            <a:xfrm>
              <a:off x="7906823" y="3631565"/>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1" name="Group 5">
              <a:extLst>
                <a:ext uri="{FF2B5EF4-FFF2-40B4-BE49-F238E27FC236}">
                  <a16:creationId xmlns:a16="http://schemas.microsoft.com/office/drawing/2014/main" id="{40AF7CF7-57EE-E106-4454-AB60F08097D8}"/>
                </a:ext>
              </a:extLst>
            </p:cNvPr>
            <p:cNvGrpSpPr>
              <a:grpSpLocks noChangeAspect="1"/>
            </p:cNvGrpSpPr>
            <p:nvPr/>
          </p:nvGrpSpPr>
          <p:grpSpPr bwMode="gray">
            <a:xfrm>
              <a:off x="8147208" y="3631565"/>
              <a:ext cx="138792" cy="137160"/>
              <a:chOff x="3331" y="1656"/>
              <a:chExt cx="1020" cy="1008"/>
            </a:xfrm>
            <a:solidFill>
              <a:schemeClr val="bg1"/>
            </a:solidFill>
          </p:grpSpPr>
          <p:sp>
            <p:nvSpPr>
              <p:cNvPr id="28" name="Freeform 6">
                <a:extLst>
                  <a:ext uri="{FF2B5EF4-FFF2-40B4-BE49-F238E27FC236}">
                    <a16:creationId xmlns:a16="http://schemas.microsoft.com/office/drawing/2014/main" id="{CD1B5FC6-C922-EF71-078B-9ABA8C5DD3BA}"/>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4" name="Freeform 7">
                <a:extLst>
                  <a:ext uri="{FF2B5EF4-FFF2-40B4-BE49-F238E27FC236}">
                    <a16:creationId xmlns:a16="http://schemas.microsoft.com/office/drawing/2014/main" id="{0AA5E281-185F-E9ED-4F46-B94C425FF2A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pic>
          <p:nvPicPr>
            <p:cNvPr id="22" name="Graphic 21">
              <a:extLst>
                <a:ext uri="{FF2B5EF4-FFF2-40B4-BE49-F238E27FC236}">
                  <a16:creationId xmlns:a16="http://schemas.microsoft.com/office/drawing/2014/main" id="{5CE00529-A4FA-8A31-D759-541F4EE6FD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57594" y="3631565"/>
              <a:ext cx="198713" cy="137160"/>
            </a:xfrm>
            <a:prstGeom prst="rect">
              <a:avLst/>
            </a:prstGeom>
          </p:spPr>
        </p:pic>
        <p:pic>
          <p:nvPicPr>
            <p:cNvPr id="23" name="Graphic 22">
              <a:extLst>
                <a:ext uri="{FF2B5EF4-FFF2-40B4-BE49-F238E27FC236}">
                  <a16:creationId xmlns:a16="http://schemas.microsoft.com/office/drawing/2014/main" id="{4585B54E-8D9E-ACBD-0D12-EE21A0294DF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27902" y="3619162"/>
              <a:ext cx="161966" cy="161966"/>
            </a:xfrm>
            <a:prstGeom prst="rect">
              <a:avLst/>
            </a:prstGeom>
          </p:spPr>
        </p:pic>
      </p:grpSp>
    </p:spTree>
    <p:extLst>
      <p:ext uri="{BB962C8B-B14F-4D97-AF65-F5344CB8AC3E}">
        <p14:creationId xmlns:p14="http://schemas.microsoft.com/office/powerpoint/2010/main" val="64303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6.xml><?xml version="1.0" encoding="utf-8"?>
<p:sldLayout xmlns:a="http://schemas.openxmlformats.org/drawingml/2006/main" xmlns:r="http://schemas.openxmlformats.org/officeDocument/2006/relationships" xmlns:p="http://schemas.openxmlformats.org/presentationml/2006/main" showMasterSp="0" preserve="1" userDrawn="1">
  <p:cSld name="SD Thank You Midnight">
    <p:bg>
      <p:bgPr>
        <a:solidFill>
          <a:schemeClr val="tx2"/>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091F35"/>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38" name="TextBox 37">
            <a:extLst>
              <a:ext uri="{FF2B5EF4-FFF2-40B4-BE49-F238E27FC236}">
                <a16:creationId xmlns:a16="http://schemas.microsoft.com/office/drawing/2014/main" id="{5A83A160-D46F-4734-801C-1A888641CFE8}"/>
              </a:ext>
            </a:extLst>
          </p:cNvPr>
          <p:cNvSpPr txBox="1"/>
          <p:nvPr userDrawn="1"/>
        </p:nvSpPr>
        <p:spPr bwMode="gray">
          <a:xfrm>
            <a:off x="847767" y="5687930"/>
            <a:ext cx="3384507" cy="613566"/>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snapdragon.com &amp; snapdragoninsiders.com</a:t>
            </a:r>
          </a:p>
        </p:txBody>
      </p:sp>
      <p:sp>
        <p:nvSpPr>
          <p:cNvPr id="17" name="TextBox 16">
            <a:extLst>
              <a:ext uri="{FF2B5EF4-FFF2-40B4-BE49-F238E27FC236}">
                <a16:creationId xmlns:a16="http://schemas.microsoft.com/office/drawing/2014/main" id="{88F96979-71AD-F74C-9C4A-10AFBEB8E8A6}"/>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chemeClr val="accent6">
                    <a:lumMod val="5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chemeClr val="accent6">
                    <a:lumMod val="5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chemeClr val="accent6">
                    <a:lumMod val="5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chemeClr val="accent6">
                    <a:lumMod val="5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chemeClr val="accent6">
                    <a:lumMod val="5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chemeClr val="accent6">
                    <a:lumMod val="5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chemeClr val="accent6">
                    <a:lumMod val="5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chemeClr val="accent6">
                    <a:lumMod val="50000"/>
                  </a:schemeClr>
                </a:solidFill>
                <a:effectLst>
                  <a:innerShdw blurRad="25400" dist="12700" dir="13500000">
                    <a:prstClr val="black">
                      <a:alpha val="50000"/>
                    </a:prstClr>
                  </a:innerShdw>
                </a:effectLst>
                <a:uLnTx/>
                <a:uFillTx/>
              </a:rPr>
              <a:t>u</a:t>
            </a:r>
          </a:p>
        </p:txBody>
      </p:sp>
      <p:sp>
        <p:nvSpPr>
          <p:cNvPr id="19" name="TextBox 18">
            <a:extLst>
              <a:ext uri="{FF2B5EF4-FFF2-40B4-BE49-F238E27FC236}">
                <a16:creationId xmlns:a16="http://schemas.microsoft.com/office/drawing/2014/main" id="{DBF1D5AB-98DB-0A49-A61A-49AE41A978C7}"/>
              </a:ext>
            </a:extLst>
          </p:cNvPr>
          <p:cNvSpPr txBox="1"/>
          <p:nvPr userDrawn="1"/>
        </p:nvSpPr>
        <p:spPr>
          <a:xfrm>
            <a:off x="733400"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5" name="TextBox 14">
            <a:extLst>
              <a:ext uri="{FF2B5EF4-FFF2-40B4-BE49-F238E27FC236}">
                <a16:creationId xmlns:a16="http://schemas.microsoft.com/office/drawing/2014/main" id="{C75D312A-BAC6-F69D-9F7D-B713A98EFEA7}"/>
              </a:ext>
            </a:extLst>
          </p:cNvPr>
          <p:cNvSpPr txBox="1"/>
          <p:nvPr userDrawn="1"/>
        </p:nvSpPr>
        <p:spPr bwMode="gray">
          <a:xfrm>
            <a:off x="4334171" y="5145088"/>
            <a:ext cx="4436711" cy="112851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All data and information contained in or disclosed by this document i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nfidential and proprietary information of Qualcomm Technologies, Inc.</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nd/or its affiliated companies and all rights therein are expressly reserv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By accepting this material the recipient agrees that this material and th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formation contained therein will not be used, copied, reproduced in whol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r in part, nor its contents revealed in any manner to others without the expres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written permission of Qualcomm Technologies, Inc. Nothing in these material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l Rights Reserved.</a:t>
            </a:r>
          </a:p>
        </p:txBody>
      </p:sp>
      <p:sp>
        <p:nvSpPr>
          <p:cNvPr id="16" name="TextBox 15">
            <a:extLst>
              <a:ext uri="{FF2B5EF4-FFF2-40B4-BE49-F238E27FC236}">
                <a16:creationId xmlns:a16="http://schemas.microsoft.com/office/drawing/2014/main" id="{CDA8361D-B4AE-7DDA-48B6-D2FEFE66AD4E}"/>
              </a:ext>
            </a:extLst>
          </p:cNvPr>
          <p:cNvSpPr txBox="1"/>
          <p:nvPr userDrawn="1"/>
        </p:nvSpPr>
        <p:spPr bwMode="gray">
          <a:xfrm>
            <a:off x="7894802" y="5145088"/>
            <a:ext cx="4273222" cy="1236236"/>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Qualcomm and Snapdragon are trademarks or registered trademarks of Qualcomm</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orporated. Other products and brand names may be trademarks or register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rademarks 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ing our QCT semiconductor business.</a:t>
            </a:r>
          </a:p>
        </p:txBody>
      </p:sp>
      <p:pic>
        <p:nvPicPr>
          <p:cNvPr id="18" name="Picture 17">
            <a:extLst>
              <a:ext uri="{FF2B5EF4-FFF2-40B4-BE49-F238E27FC236}">
                <a16:creationId xmlns:a16="http://schemas.microsoft.com/office/drawing/2014/main" id="{494AB793-75DE-5E86-A56E-CA01A7C0D557}"/>
              </a:ext>
            </a:extLst>
          </p:cNvPr>
          <p:cNvPicPr>
            <a:picLocks noChangeAspect="1"/>
          </p:cNvPicPr>
          <p:nvPr userDrawn="1"/>
        </p:nvPicPr>
        <p:blipFill>
          <a:blip r:embed="rId2"/>
          <a:stretch>
            <a:fillRect/>
          </a:stretch>
        </p:blipFill>
        <p:spPr>
          <a:xfrm>
            <a:off x="822960" y="5148072"/>
            <a:ext cx="1843820" cy="347472"/>
          </a:xfrm>
          <a:prstGeom prst="rect">
            <a:avLst/>
          </a:prstGeom>
        </p:spPr>
      </p:pic>
      <p:grpSp>
        <p:nvGrpSpPr>
          <p:cNvPr id="27" name="Group 26">
            <a:extLst>
              <a:ext uri="{FF2B5EF4-FFF2-40B4-BE49-F238E27FC236}">
                <a16:creationId xmlns:a16="http://schemas.microsoft.com/office/drawing/2014/main" id="{D0842190-8CAB-FD82-628A-C1942D3A3410}"/>
              </a:ext>
            </a:extLst>
          </p:cNvPr>
          <p:cNvGrpSpPr/>
          <p:nvPr userDrawn="1"/>
        </p:nvGrpSpPr>
        <p:grpSpPr>
          <a:xfrm>
            <a:off x="1673310" y="5680514"/>
            <a:ext cx="883045" cy="161966"/>
            <a:chOff x="7906823" y="3619162"/>
            <a:chExt cx="883045" cy="161966"/>
          </a:xfrm>
        </p:grpSpPr>
        <p:sp>
          <p:nvSpPr>
            <p:cNvPr id="28" name="Freeform 12">
              <a:extLst>
                <a:ext uri="{FF2B5EF4-FFF2-40B4-BE49-F238E27FC236}">
                  <a16:creationId xmlns:a16="http://schemas.microsoft.com/office/drawing/2014/main" id="{19B21F0A-F994-5C2D-F873-B45653E36C61}"/>
                </a:ext>
              </a:extLst>
            </p:cNvPr>
            <p:cNvSpPr>
              <a:spLocks noChangeAspect="1"/>
            </p:cNvSpPr>
            <p:nvPr/>
          </p:nvSpPr>
          <p:spPr bwMode="gray">
            <a:xfrm>
              <a:off x="7906823" y="3631565"/>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9" name="Group 5">
              <a:extLst>
                <a:ext uri="{FF2B5EF4-FFF2-40B4-BE49-F238E27FC236}">
                  <a16:creationId xmlns:a16="http://schemas.microsoft.com/office/drawing/2014/main" id="{D77282F0-3CD1-3E1B-22D9-D5EFCB20D40B}"/>
                </a:ext>
              </a:extLst>
            </p:cNvPr>
            <p:cNvGrpSpPr>
              <a:grpSpLocks noChangeAspect="1"/>
            </p:cNvGrpSpPr>
            <p:nvPr/>
          </p:nvGrpSpPr>
          <p:grpSpPr bwMode="gray">
            <a:xfrm>
              <a:off x="8147208" y="3631565"/>
              <a:ext cx="138792" cy="137160"/>
              <a:chOff x="3331" y="1656"/>
              <a:chExt cx="1020" cy="1008"/>
            </a:xfrm>
            <a:solidFill>
              <a:schemeClr val="bg1"/>
            </a:solidFill>
          </p:grpSpPr>
          <p:sp>
            <p:nvSpPr>
              <p:cNvPr id="32" name="Freeform 6">
                <a:extLst>
                  <a:ext uri="{FF2B5EF4-FFF2-40B4-BE49-F238E27FC236}">
                    <a16:creationId xmlns:a16="http://schemas.microsoft.com/office/drawing/2014/main" id="{C9239764-E65B-45BF-9512-143E99AEE1C6}"/>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3" name="Freeform 7">
                <a:extLst>
                  <a:ext uri="{FF2B5EF4-FFF2-40B4-BE49-F238E27FC236}">
                    <a16:creationId xmlns:a16="http://schemas.microsoft.com/office/drawing/2014/main" id="{48609ABF-3C53-81B1-8760-86856FCDBF14}"/>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pic>
          <p:nvPicPr>
            <p:cNvPr id="30" name="Graphic 29">
              <a:extLst>
                <a:ext uri="{FF2B5EF4-FFF2-40B4-BE49-F238E27FC236}">
                  <a16:creationId xmlns:a16="http://schemas.microsoft.com/office/drawing/2014/main" id="{D2BF707D-59DB-19D8-8631-18041ADDC34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57594" y="3631565"/>
              <a:ext cx="198713" cy="137160"/>
            </a:xfrm>
            <a:prstGeom prst="rect">
              <a:avLst/>
            </a:prstGeom>
          </p:spPr>
        </p:pic>
        <p:pic>
          <p:nvPicPr>
            <p:cNvPr id="31" name="Graphic 30">
              <a:extLst>
                <a:ext uri="{FF2B5EF4-FFF2-40B4-BE49-F238E27FC236}">
                  <a16:creationId xmlns:a16="http://schemas.microsoft.com/office/drawing/2014/main" id="{0AD6C70E-BC0B-B9C1-FE36-1D75F33CF81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27902" y="3619162"/>
              <a:ext cx="161966" cy="161966"/>
            </a:xfrm>
            <a:prstGeom prst="rect">
              <a:avLst/>
            </a:prstGeom>
          </p:spPr>
        </p:pic>
      </p:grpSp>
    </p:spTree>
    <p:extLst>
      <p:ext uri="{BB962C8B-B14F-4D97-AF65-F5344CB8AC3E}">
        <p14:creationId xmlns:p14="http://schemas.microsoft.com/office/powerpoint/2010/main" val="123857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6859" y="399773"/>
            <a:ext cx="11157733" cy="461729"/>
          </a:xfrm>
        </p:spPr>
        <p:txBody>
          <a:bodyPr/>
          <a:lstStyle>
            <a:lvl1pPr>
              <a:defRPr sz="2667"/>
            </a:lvl1pPr>
          </a:lstStyle>
          <a:p>
            <a:r>
              <a:rPr lang="en-US"/>
              <a:t>Click to edit Master title style</a:t>
            </a:r>
          </a:p>
        </p:txBody>
      </p:sp>
    </p:spTree>
    <p:extLst>
      <p:ext uri="{BB962C8B-B14F-4D97-AF65-F5344CB8AC3E}">
        <p14:creationId xmlns:p14="http://schemas.microsoft.com/office/powerpoint/2010/main" val="3263774329"/>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showMasterSp="0" userDrawn="1">
  <p:cSld name="1_Title Photo">
    <p:bg>
      <p:bgPr>
        <a:solidFill>
          <a:schemeClr val="tx2"/>
        </a:solidFill>
        <a:effectLst/>
      </p:bgPr>
    </p:bg>
    <p:spTree>
      <p:nvGrpSpPr>
        <p:cNvPr id="1" name=""/>
        <p:cNvGrpSpPr/>
        <p:nvPr/>
      </p:nvGrpSpPr>
      <p:grpSpPr>
        <a:xfrm>
          <a:off x="0" y="0"/>
          <a:ext cx="0" cy="0"/>
          <a:chOff x="0" y="0"/>
          <a:chExt cx="0" cy="0"/>
        </a:xfrm>
      </p:grpSpPr>
      <p:sp>
        <p:nvSpPr>
          <p:cNvPr id="38" name="Text Placeholder 7"/>
          <p:cNvSpPr>
            <a:spLocks noGrp="1"/>
          </p:cNvSpPr>
          <p:nvPr>
            <p:ph type="body" sz="quarter" idx="10" hasCustomPrompt="1"/>
          </p:nvPr>
        </p:nvSpPr>
        <p:spPr bwMode="black">
          <a:xfrm>
            <a:off x="495299" y="4195085"/>
            <a:ext cx="7352269"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r>
              <a:rPr lang="en-US" dirty="0"/>
              <a:t>Employing Entity</a:t>
            </a:r>
          </a:p>
        </p:txBody>
      </p:sp>
      <p:sp>
        <p:nvSpPr>
          <p:cNvPr id="9" name="Text Placeholder 7">
            <a:extLst>
              <a:ext uri="{FF2B5EF4-FFF2-40B4-BE49-F238E27FC236}">
                <a16:creationId xmlns:a16="http://schemas.microsoft.com/office/drawing/2014/main" id="{7E8F1094-26FF-4F59-824D-BD7309313BFD}"/>
              </a:ext>
            </a:extLst>
          </p:cNvPr>
          <p:cNvSpPr>
            <a:spLocks noGrp="1"/>
          </p:cNvSpPr>
          <p:nvPr>
            <p:ph type="body" sz="quarter" idx="11" hasCustomPrompt="1"/>
          </p:nvPr>
        </p:nvSpPr>
        <p:spPr bwMode="black">
          <a:xfrm>
            <a:off x="9076177" y="393192"/>
            <a:ext cx="2620523" cy="221599"/>
          </a:xfrm>
          <a:prstGeom prst="rect">
            <a:avLst/>
          </a:prstGeom>
        </p:spPr>
        <p:txBody>
          <a:bodyPr wrap="square" anchor="b">
            <a:spAutoFit/>
          </a:bodyPr>
          <a:lstStyle>
            <a:lvl1pPr marL="0" marR="0" indent="0" algn="r"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0"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bwMode="black">
          <a:xfrm>
            <a:off x="3350218" y="393192"/>
            <a:ext cx="2608489"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1"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bwMode="black">
          <a:xfrm>
            <a:off x="6214734" y="393192"/>
            <a:ext cx="2605416"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Location</a:t>
            </a:r>
          </a:p>
        </p:txBody>
      </p:sp>
      <p:sp>
        <p:nvSpPr>
          <p:cNvPr id="15" name="Freeform 5">
            <a:extLst>
              <a:ext uri="{FF2B5EF4-FFF2-40B4-BE49-F238E27FC236}">
                <a16:creationId xmlns:a16="http://schemas.microsoft.com/office/drawing/2014/main" id="{08A2CE3D-9628-4F81-80DA-E800C027873F}"/>
              </a:ext>
            </a:extLst>
          </p:cNvPr>
          <p:cNvSpPr>
            <a:spLocks noChangeAspect="1" noEditPoints="1"/>
          </p:cNvSpPr>
          <p:nvPr userDrawn="1"/>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C95B7907-90A3-47AE-BAA5-1FA8721F650D}"/>
              </a:ext>
            </a:extLst>
          </p:cNvPr>
          <p:cNvSpPr>
            <a:spLocks noGrp="1"/>
          </p:cNvSpPr>
          <p:nvPr>
            <p:ph type="title"/>
          </p:nvPr>
        </p:nvSpPr>
        <p:spPr>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264283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Text Box 14">
            <a:extLst>
              <a:ext uri="{FF2B5EF4-FFF2-40B4-BE49-F238E27FC236}">
                <a16:creationId xmlns:a16="http://schemas.microsoft.com/office/drawing/2014/main" id="{AB6CF3B8-1087-4EA1-B913-F019DD3E242C}"/>
              </a:ext>
            </a:extLst>
          </p:cNvPr>
          <p:cNvSpPr txBox="1">
            <a:spLocks noChangeArrowheads="1"/>
          </p:cNvSpPr>
          <p:nvPr userDrawn="1"/>
        </p:nvSpPr>
        <p:spPr bwMode="auto">
          <a:xfrm>
            <a:off x="431800" y="52810"/>
            <a:ext cx="77470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tx1"/>
                </a:solidFill>
                <a:latin typeface="Arial" panose="020B0604020202020204" pitchFamily="34" charset="0"/>
                <a:cs typeface="Arial" panose="020B0604020202020204" pitchFamily="34" charset="0"/>
              </a:defRPr>
            </a:lvl1pPr>
            <a:lvl2pPr marL="742950" indent="-285750">
              <a:defRPr sz="1000">
                <a:solidFill>
                  <a:schemeClr val="tx1"/>
                </a:solidFill>
                <a:latin typeface="Arial" panose="020B0604020202020204" pitchFamily="34" charset="0"/>
                <a:cs typeface="Arial" panose="020B0604020202020204" pitchFamily="34" charset="0"/>
              </a:defRPr>
            </a:lvl2pPr>
            <a:lvl3pPr marL="1143000" indent="-228600">
              <a:defRPr sz="1000">
                <a:solidFill>
                  <a:schemeClr val="tx1"/>
                </a:solidFill>
                <a:latin typeface="Arial" panose="020B0604020202020204" pitchFamily="34" charset="0"/>
                <a:cs typeface="Arial" panose="020B0604020202020204" pitchFamily="34" charset="0"/>
              </a:defRPr>
            </a:lvl3pPr>
            <a:lvl4pPr marL="1600200" indent="-228600">
              <a:defRPr sz="1000">
                <a:solidFill>
                  <a:schemeClr val="tx1"/>
                </a:solidFill>
                <a:latin typeface="Arial" panose="020B0604020202020204" pitchFamily="34" charset="0"/>
                <a:cs typeface="Arial" panose="020B0604020202020204" pitchFamily="34" charset="0"/>
              </a:defRPr>
            </a:lvl4pPr>
            <a:lvl5pPr marL="2057400" indent="-22860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eaLnBrk="1" hangingPunct="1">
              <a:defRPr/>
            </a:pPr>
            <a:r>
              <a:rPr lang="en-US" altLang="en-US" sz="1200" b="1" dirty="0">
                <a:latin typeface="Arial "/>
              </a:rPr>
              <a:t>TSG SA Rel-19 Workshop	</a:t>
            </a:r>
          </a:p>
          <a:p>
            <a:pPr eaLnBrk="1" hangingPunct="1">
              <a:defRPr/>
            </a:pPr>
            <a:r>
              <a:rPr lang="en-US" altLang="en-US" sz="1200" b="1" dirty="0">
                <a:latin typeface="Arial "/>
              </a:rPr>
              <a:t>Taipei, June 13 – 14, 2023</a:t>
            </a:r>
          </a:p>
        </p:txBody>
      </p:sp>
      <p:sp>
        <p:nvSpPr>
          <p:cNvPr id="5" name="Text Box 13">
            <a:extLst>
              <a:ext uri="{FF2B5EF4-FFF2-40B4-BE49-F238E27FC236}">
                <a16:creationId xmlns:a16="http://schemas.microsoft.com/office/drawing/2014/main" id="{95FCF8CD-2C30-4430-B3A5-F165BE96BF3D}"/>
              </a:ext>
            </a:extLst>
          </p:cNvPr>
          <p:cNvSpPr txBox="1">
            <a:spLocks noChangeArrowheads="1"/>
          </p:cNvSpPr>
          <p:nvPr userDrawn="1"/>
        </p:nvSpPr>
        <p:spPr bwMode="auto">
          <a:xfrm>
            <a:off x="7761818" y="177801"/>
            <a:ext cx="195156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tx1"/>
                </a:solidFill>
                <a:latin typeface="Arial" panose="020B0604020202020204" pitchFamily="34" charset="0"/>
                <a:cs typeface="Arial" panose="020B0604020202020204" pitchFamily="34" charset="0"/>
              </a:defRPr>
            </a:lvl1pPr>
            <a:lvl2pPr marL="742950" indent="-285750">
              <a:defRPr sz="1000">
                <a:solidFill>
                  <a:schemeClr val="tx1"/>
                </a:solidFill>
                <a:latin typeface="Arial" panose="020B0604020202020204" pitchFamily="34" charset="0"/>
                <a:cs typeface="Arial" panose="020B0604020202020204" pitchFamily="34" charset="0"/>
              </a:defRPr>
            </a:lvl2pPr>
            <a:lvl3pPr marL="1143000" indent="-228600">
              <a:defRPr sz="1000">
                <a:solidFill>
                  <a:schemeClr val="tx1"/>
                </a:solidFill>
                <a:latin typeface="Arial" panose="020B0604020202020204" pitchFamily="34" charset="0"/>
                <a:cs typeface="Arial" panose="020B0604020202020204" pitchFamily="34" charset="0"/>
              </a:defRPr>
            </a:lvl3pPr>
            <a:lvl4pPr marL="1600200" indent="-228600">
              <a:defRPr sz="1000">
                <a:solidFill>
                  <a:schemeClr val="tx1"/>
                </a:solidFill>
                <a:latin typeface="Arial" panose="020B0604020202020204" pitchFamily="34" charset="0"/>
                <a:cs typeface="Arial" panose="020B0604020202020204" pitchFamily="34" charset="0"/>
              </a:defRPr>
            </a:lvl4pPr>
            <a:lvl5pPr marL="2057400" indent="-22860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algn="r" eaLnBrk="1" hangingPunct="1">
              <a:spcBef>
                <a:spcPct val="50000"/>
              </a:spcBef>
              <a:defRPr/>
            </a:pPr>
            <a:r>
              <a:rPr lang="en-US" altLang="en-US" sz="1200" b="1" dirty="0">
                <a:highlight>
                  <a:srgbClr val="FFFF00"/>
                </a:highlight>
                <a:latin typeface="Arial "/>
              </a:rPr>
              <a:t>SWS-23xxxx</a:t>
            </a:r>
            <a:endParaRPr lang="en-GB" altLang="en-US" sz="1200" dirty="0">
              <a:highlight>
                <a:srgbClr val="FFFF00"/>
              </a:highlight>
            </a:endParaRPr>
          </a:p>
        </p:txBody>
      </p:sp>
      <p:sp>
        <p:nvSpPr>
          <p:cNvPr id="2" name="Title 1"/>
          <p:cNvSpPr>
            <a:spLocks noGrp="1"/>
          </p:cNvSpPr>
          <p:nvPr>
            <p:ph type="ctrTitle"/>
          </p:nvPr>
        </p:nvSpPr>
        <p:spPr>
          <a:xfrm>
            <a:off x="914400" y="2130427"/>
            <a:ext cx="103632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endParaRPr lang="en-GB" dirty="0"/>
          </a:p>
        </p:txBody>
      </p:sp>
    </p:spTree>
    <p:extLst>
      <p:ext uri="{BB962C8B-B14F-4D97-AF65-F5344CB8AC3E}">
        <p14:creationId xmlns:p14="http://schemas.microsoft.com/office/powerpoint/2010/main" val="1476261400"/>
      </p:ext>
    </p:extLst>
  </p:cSld>
  <p:clrMapOvr>
    <a:masterClrMapping/>
  </p:clrMapOvr>
  <p:transition spd="slow"/>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Large Circle Teal">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4A83FF6-69D5-4094-9BBD-DB9744E083B2}"/>
              </a:ext>
            </a:extLst>
          </p:cNvPr>
          <p:cNvGrpSpPr/>
          <p:nvPr userDrawn="1"/>
        </p:nvGrpSpPr>
        <p:grpSpPr>
          <a:xfrm flipH="1">
            <a:off x="6571350" y="-857339"/>
            <a:ext cx="8359183" cy="8572678"/>
            <a:chOff x="5983849" y="869536"/>
            <a:chExt cx="4991447" cy="5118931"/>
          </a:xfrm>
        </p:grpSpPr>
        <p:sp>
          <p:nvSpPr>
            <p:cNvPr id="9" name="Oval 8">
              <a:extLst>
                <a:ext uri="{FF2B5EF4-FFF2-40B4-BE49-F238E27FC236}">
                  <a16:creationId xmlns:a16="http://schemas.microsoft.com/office/drawing/2014/main" id="{10550D71-4DDC-433E-91D6-8DB10965057B}"/>
                </a:ext>
              </a:extLst>
            </p:cNvPr>
            <p:cNvSpPr>
              <a:spLocks/>
            </p:cNvSpPr>
            <p:nvPr/>
          </p:nvSpPr>
          <p:spPr bwMode="ltGray">
            <a:xfrm>
              <a:off x="5983849" y="869536"/>
              <a:ext cx="4991447" cy="5118931"/>
            </a:xfrm>
            <a:prstGeom prst="ellipse">
              <a:avLst/>
            </a:prstGeom>
            <a:gradFill>
              <a:gsLst>
                <a:gs pos="100000">
                  <a:srgbClr val="A6D9E2"/>
                </a:gs>
                <a:gs pos="50000">
                  <a:schemeClr val="accent4"/>
                </a:gs>
              </a:gsLst>
              <a:lin ang="18900000" scaled="0"/>
            </a:gradFill>
            <a:ln w="25400" cap="flat" cmpd="sng" algn="ctr">
              <a:noFill/>
              <a:prstDash val="solid"/>
            </a:ln>
            <a:effectLst>
              <a:innerShdw blurRad="127000" dist="114300">
                <a:schemeClr val="accent3">
                  <a:lumMod val="50000"/>
                  <a:alpha val="32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2" name="Oval 11">
              <a:extLst>
                <a:ext uri="{FF2B5EF4-FFF2-40B4-BE49-F238E27FC236}">
                  <a16:creationId xmlns:a16="http://schemas.microsoft.com/office/drawing/2014/main" id="{2443AEDF-5E6A-4A63-B67C-01773C27DB3E}"/>
                </a:ext>
              </a:extLst>
            </p:cNvPr>
            <p:cNvSpPr>
              <a:spLocks/>
            </p:cNvSpPr>
            <p:nvPr userDrawn="1"/>
          </p:nvSpPr>
          <p:spPr bwMode="ltGray">
            <a:xfrm>
              <a:off x="6901634" y="1874555"/>
              <a:ext cx="3092870" cy="3108896"/>
            </a:xfrm>
            <a:prstGeom prst="ellipse">
              <a:avLst/>
            </a:prstGeom>
            <a:gradFill>
              <a:gsLst>
                <a:gs pos="100000">
                  <a:srgbClr val="47B3C5"/>
                </a:gs>
                <a:gs pos="15000">
                  <a:schemeClr val="accent3"/>
                </a:gs>
              </a:gsLst>
              <a:lin ang="18900000" scaled="0"/>
            </a:gra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grpSp>
      <p:sp>
        <p:nvSpPr>
          <p:cNvPr id="13" name="Footer Placeholder 2">
            <a:extLst>
              <a:ext uri="{FF2B5EF4-FFF2-40B4-BE49-F238E27FC236}">
                <a16:creationId xmlns:a16="http://schemas.microsoft.com/office/drawing/2014/main" id="{69DD538F-3263-40F8-ABD9-0120441EBE54}"/>
              </a:ext>
            </a:extLst>
          </p:cNvPr>
          <p:cNvSpPr>
            <a:spLocks noGrp="1"/>
          </p:cNvSpPr>
          <p:nvPr userDrawn="1">
            <p:ph type="ftr" sz="quarter" idx="10"/>
          </p:nvPr>
        </p:nvSpPr>
        <p:spPr>
          <a:xfrm>
            <a:off x="495299" y="6532895"/>
            <a:ext cx="536847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 Placeholder 4">
            <a:extLst>
              <a:ext uri="{FF2B5EF4-FFF2-40B4-BE49-F238E27FC236}">
                <a16:creationId xmlns:a16="http://schemas.microsoft.com/office/drawing/2014/main" id="{6AA3DDD4-786B-45BA-B0D0-84CB5038CB16}"/>
              </a:ext>
            </a:extLst>
          </p:cNvPr>
          <p:cNvSpPr>
            <a:spLocks noGrp="1"/>
          </p:cNvSpPr>
          <p:nvPr>
            <p:ph type="body" sz="quarter" idx="11"/>
          </p:nvPr>
        </p:nvSpPr>
        <p:spPr>
          <a:xfrm>
            <a:off x="495299" y="3819524"/>
            <a:ext cx="5368472" cy="239077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EC6D7166-8C98-4FFE-BA06-DA94B77BCA0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343472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87729970"/>
      </p:ext>
    </p:extLst>
  </p:cSld>
  <p:clrMapOvr>
    <a:masterClrMapping/>
  </p:clrMapOvr>
  <p:transition spd="slow"/>
</p:sldLayout>
</file>

<file path=ppt/slideLayouts/slideLayout10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2908490"/>
      </p:ext>
    </p:extLst>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4D3FDB3F-CC2C-493E-9337-92AA33E854AD}"/>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Large Circle Nickel">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4A83FF6-69D5-4094-9BBD-DB9744E083B2}"/>
              </a:ext>
            </a:extLst>
          </p:cNvPr>
          <p:cNvGrpSpPr/>
          <p:nvPr userDrawn="1"/>
        </p:nvGrpSpPr>
        <p:grpSpPr>
          <a:xfrm flipH="1">
            <a:off x="6571350" y="-857339"/>
            <a:ext cx="8359183" cy="8572678"/>
            <a:chOff x="5983849" y="869536"/>
            <a:chExt cx="4991447" cy="5118931"/>
          </a:xfrm>
        </p:grpSpPr>
        <p:sp>
          <p:nvSpPr>
            <p:cNvPr id="9" name="Oval 8">
              <a:extLst>
                <a:ext uri="{FF2B5EF4-FFF2-40B4-BE49-F238E27FC236}">
                  <a16:creationId xmlns:a16="http://schemas.microsoft.com/office/drawing/2014/main" id="{10550D71-4DDC-433E-91D6-8DB10965057B}"/>
                </a:ext>
              </a:extLst>
            </p:cNvPr>
            <p:cNvSpPr>
              <a:spLocks/>
            </p:cNvSpPr>
            <p:nvPr/>
          </p:nvSpPr>
          <p:spPr bwMode="ltGray">
            <a:xfrm>
              <a:off x="5983849" y="869536"/>
              <a:ext cx="4991447" cy="5118931"/>
            </a:xfrm>
            <a:prstGeom prst="ellipse">
              <a:avLst/>
            </a:prstGeom>
            <a:gradFill>
              <a:gsLst>
                <a:gs pos="100000">
                  <a:schemeClr val="accent6">
                    <a:lumMod val="40000"/>
                    <a:lumOff val="60000"/>
                  </a:schemeClr>
                </a:gs>
                <a:gs pos="50000">
                  <a:srgbClr val="D4DAE4"/>
                </a:gs>
              </a:gsLst>
              <a:lin ang="18900000" scaled="0"/>
            </a:gradFill>
            <a:ln w="25400" cap="flat" cmpd="sng" algn="ctr">
              <a:noFill/>
              <a:prstDash val="solid"/>
            </a:ln>
            <a:effectLst>
              <a:innerShdw blurRad="127000" dist="114300">
                <a:schemeClr val="accent5">
                  <a:lumMod val="50000"/>
                  <a:alpha val="2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2" name="Oval 11">
              <a:extLst>
                <a:ext uri="{FF2B5EF4-FFF2-40B4-BE49-F238E27FC236}">
                  <a16:creationId xmlns:a16="http://schemas.microsoft.com/office/drawing/2014/main" id="{2443AEDF-5E6A-4A63-B67C-01773C27DB3E}"/>
                </a:ext>
              </a:extLst>
            </p:cNvPr>
            <p:cNvSpPr>
              <a:spLocks/>
            </p:cNvSpPr>
            <p:nvPr userDrawn="1"/>
          </p:nvSpPr>
          <p:spPr bwMode="ltGray">
            <a:xfrm>
              <a:off x="6901634" y="1874555"/>
              <a:ext cx="3092870" cy="3108896"/>
            </a:xfrm>
            <a:prstGeom prst="ellipse">
              <a:avLst/>
            </a:prstGeom>
            <a:gradFill>
              <a:gsLst>
                <a:gs pos="100000">
                  <a:schemeClr val="accent6"/>
                </a:gs>
                <a:gs pos="15000">
                  <a:srgbClr val="96A4BC"/>
                </a:gs>
              </a:gsLst>
              <a:lin ang="18900000" scaled="0"/>
            </a:gradFill>
            <a:ln w="25400" cap="flat" cmpd="sng" algn="ctr">
              <a:noFill/>
              <a:prstDash val="solid"/>
            </a:ln>
            <a:effectLst>
              <a:innerShdw blurRad="127000" dist="114300">
                <a:schemeClr val="accent5">
                  <a:lumMod val="50000"/>
                  <a:alpha val="3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grpSp>
      <p:sp>
        <p:nvSpPr>
          <p:cNvPr id="13" name="Footer Placeholder 2">
            <a:extLst>
              <a:ext uri="{FF2B5EF4-FFF2-40B4-BE49-F238E27FC236}">
                <a16:creationId xmlns:a16="http://schemas.microsoft.com/office/drawing/2014/main" id="{69DD538F-3263-40F8-ABD9-0120441EBE54}"/>
              </a:ext>
            </a:extLst>
          </p:cNvPr>
          <p:cNvSpPr>
            <a:spLocks noGrp="1"/>
          </p:cNvSpPr>
          <p:nvPr userDrawn="1">
            <p:ph type="ftr" sz="quarter" idx="10"/>
          </p:nvPr>
        </p:nvSpPr>
        <p:spPr>
          <a:xfrm>
            <a:off x="495299" y="6532895"/>
            <a:ext cx="536847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 Placeholder 4">
            <a:extLst>
              <a:ext uri="{FF2B5EF4-FFF2-40B4-BE49-F238E27FC236}">
                <a16:creationId xmlns:a16="http://schemas.microsoft.com/office/drawing/2014/main" id="{6AA3DDD4-786B-45BA-B0D0-84CB5038CB16}"/>
              </a:ext>
            </a:extLst>
          </p:cNvPr>
          <p:cNvSpPr>
            <a:spLocks noGrp="1"/>
          </p:cNvSpPr>
          <p:nvPr>
            <p:ph type="body" sz="quarter" idx="11"/>
          </p:nvPr>
        </p:nvSpPr>
        <p:spPr>
          <a:xfrm>
            <a:off x="495299" y="3819524"/>
            <a:ext cx="5368472" cy="239077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F76AFBF2-F8DD-426B-A157-AE9F1808CDA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716353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Large Circle Gun Metal">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4A83FF6-69D5-4094-9BBD-DB9744E083B2}"/>
              </a:ext>
            </a:extLst>
          </p:cNvPr>
          <p:cNvGrpSpPr/>
          <p:nvPr userDrawn="1"/>
        </p:nvGrpSpPr>
        <p:grpSpPr>
          <a:xfrm flipH="1">
            <a:off x="6571350" y="-857339"/>
            <a:ext cx="8359183" cy="8572678"/>
            <a:chOff x="5983849" y="869536"/>
            <a:chExt cx="4991447" cy="5118931"/>
          </a:xfrm>
        </p:grpSpPr>
        <p:sp>
          <p:nvSpPr>
            <p:cNvPr id="9" name="Oval 8">
              <a:extLst>
                <a:ext uri="{FF2B5EF4-FFF2-40B4-BE49-F238E27FC236}">
                  <a16:creationId xmlns:a16="http://schemas.microsoft.com/office/drawing/2014/main" id="{10550D71-4DDC-433E-91D6-8DB10965057B}"/>
                </a:ext>
              </a:extLst>
            </p:cNvPr>
            <p:cNvSpPr>
              <a:spLocks/>
            </p:cNvSpPr>
            <p:nvPr/>
          </p:nvSpPr>
          <p:spPr bwMode="ltGray">
            <a:xfrm>
              <a:off x="5983849" y="869536"/>
              <a:ext cx="4991447" cy="5118931"/>
            </a:xfrm>
            <a:prstGeom prst="ellipse">
              <a:avLst/>
            </a:prstGeom>
            <a:gradFill>
              <a:gsLst>
                <a:gs pos="100000">
                  <a:srgbClr val="94A2BA"/>
                </a:gs>
                <a:gs pos="43000">
                  <a:schemeClr val="accent5">
                    <a:lumMod val="60000"/>
                    <a:lumOff val="40000"/>
                  </a:schemeClr>
                </a:gs>
              </a:gsLst>
              <a:lin ang="18900000" scaled="0"/>
            </a:gradFill>
            <a:ln w="25400" cap="flat" cmpd="sng" algn="ctr">
              <a:noFill/>
              <a:prstDash val="solid"/>
            </a:ln>
            <a:effectLst>
              <a:innerShdw blurRad="127000" dist="114300">
                <a:schemeClr val="accent5">
                  <a:lumMod val="75000"/>
                  <a:alpha val="32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2" name="Oval 11">
              <a:extLst>
                <a:ext uri="{FF2B5EF4-FFF2-40B4-BE49-F238E27FC236}">
                  <a16:creationId xmlns:a16="http://schemas.microsoft.com/office/drawing/2014/main" id="{2443AEDF-5E6A-4A63-B67C-01773C27DB3E}"/>
                </a:ext>
              </a:extLst>
            </p:cNvPr>
            <p:cNvSpPr>
              <a:spLocks/>
            </p:cNvSpPr>
            <p:nvPr userDrawn="1"/>
          </p:nvSpPr>
          <p:spPr bwMode="ltGray">
            <a:xfrm>
              <a:off x="6901634" y="1874555"/>
              <a:ext cx="3092870" cy="3108896"/>
            </a:xfrm>
            <a:prstGeom prst="ellipse">
              <a:avLst/>
            </a:prstGeom>
            <a:gradFill>
              <a:gsLst>
                <a:gs pos="100000">
                  <a:srgbClr val="556685"/>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grpSp>
      <p:sp>
        <p:nvSpPr>
          <p:cNvPr id="13" name="Footer Placeholder 2">
            <a:extLst>
              <a:ext uri="{FF2B5EF4-FFF2-40B4-BE49-F238E27FC236}">
                <a16:creationId xmlns:a16="http://schemas.microsoft.com/office/drawing/2014/main" id="{69DD538F-3263-40F8-ABD9-0120441EBE54}"/>
              </a:ext>
            </a:extLst>
          </p:cNvPr>
          <p:cNvSpPr>
            <a:spLocks noGrp="1"/>
          </p:cNvSpPr>
          <p:nvPr userDrawn="1">
            <p:ph type="ftr" sz="quarter" idx="10"/>
          </p:nvPr>
        </p:nvSpPr>
        <p:spPr>
          <a:xfrm>
            <a:off x="495299" y="6532895"/>
            <a:ext cx="536847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 Placeholder 4">
            <a:extLst>
              <a:ext uri="{FF2B5EF4-FFF2-40B4-BE49-F238E27FC236}">
                <a16:creationId xmlns:a16="http://schemas.microsoft.com/office/drawing/2014/main" id="{6AA3DDD4-786B-45BA-B0D0-84CB5038CB16}"/>
              </a:ext>
            </a:extLst>
          </p:cNvPr>
          <p:cNvSpPr>
            <a:spLocks noGrp="1"/>
          </p:cNvSpPr>
          <p:nvPr>
            <p:ph type="body" sz="quarter" idx="11"/>
          </p:nvPr>
        </p:nvSpPr>
        <p:spPr>
          <a:xfrm>
            <a:off x="495299" y="3819524"/>
            <a:ext cx="5368472" cy="239077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82A53891-4068-4349-BF0E-1A9718713E5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428279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Large Circle Midnight">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4A83FF6-69D5-4094-9BBD-DB9744E083B2}"/>
              </a:ext>
            </a:extLst>
          </p:cNvPr>
          <p:cNvGrpSpPr/>
          <p:nvPr userDrawn="1"/>
        </p:nvGrpSpPr>
        <p:grpSpPr>
          <a:xfrm flipH="1">
            <a:off x="6571350" y="-857339"/>
            <a:ext cx="8359183" cy="8572678"/>
            <a:chOff x="5983849" y="869536"/>
            <a:chExt cx="4991447" cy="5118931"/>
          </a:xfrm>
        </p:grpSpPr>
        <p:sp>
          <p:nvSpPr>
            <p:cNvPr id="9" name="Oval 8">
              <a:extLst>
                <a:ext uri="{FF2B5EF4-FFF2-40B4-BE49-F238E27FC236}">
                  <a16:creationId xmlns:a16="http://schemas.microsoft.com/office/drawing/2014/main" id="{10550D71-4DDC-433E-91D6-8DB10965057B}"/>
                </a:ext>
              </a:extLst>
            </p:cNvPr>
            <p:cNvSpPr>
              <a:spLocks/>
            </p:cNvSpPr>
            <p:nvPr/>
          </p:nvSpPr>
          <p:spPr bwMode="ltGray">
            <a:xfrm>
              <a:off x="5983849" y="869536"/>
              <a:ext cx="4991447" cy="5118931"/>
            </a:xfrm>
            <a:prstGeom prst="ellipse">
              <a:avLst/>
            </a:prstGeom>
            <a:gradFill>
              <a:gsLst>
                <a:gs pos="0">
                  <a:schemeClr val="accent5"/>
                </a:gs>
                <a:gs pos="100000">
                  <a:srgbClr val="556685"/>
                </a:gs>
              </a:gsLst>
              <a:lin ang="18900000" scaled="0"/>
            </a:gradFill>
            <a:ln w="25400" cap="flat" cmpd="sng" algn="ctr">
              <a:noFill/>
              <a:prstDash val="solid"/>
            </a:ln>
            <a:effectLst>
              <a:innerShdw blurRad="127000" dist="114300">
                <a:schemeClr val="accent5">
                  <a:lumMod val="50000"/>
                  <a:alpha val="32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2" name="Oval 11">
              <a:extLst>
                <a:ext uri="{FF2B5EF4-FFF2-40B4-BE49-F238E27FC236}">
                  <a16:creationId xmlns:a16="http://schemas.microsoft.com/office/drawing/2014/main" id="{2443AEDF-5E6A-4A63-B67C-01773C27DB3E}"/>
                </a:ext>
              </a:extLst>
            </p:cNvPr>
            <p:cNvSpPr>
              <a:spLocks/>
            </p:cNvSpPr>
            <p:nvPr userDrawn="1"/>
          </p:nvSpPr>
          <p:spPr bwMode="ltGray">
            <a:xfrm>
              <a:off x="6901634" y="1874555"/>
              <a:ext cx="3092870" cy="31088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grpSp>
      <p:sp>
        <p:nvSpPr>
          <p:cNvPr id="13" name="Footer Placeholder 2">
            <a:extLst>
              <a:ext uri="{FF2B5EF4-FFF2-40B4-BE49-F238E27FC236}">
                <a16:creationId xmlns:a16="http://schemas.microsoft.com/office/drawing/2014/main" id="{69DD538F-3263-40F8-ABD9-0120441EBE54}"/>
              </a:ext>
            </a:extLst>
          </p:cNvPr>
          <p:cNvSpPr>
            <a:spLocks noGrp="1"/>
          </p:cNvSpPr>
          <p:nvPr userDrawn="1">
            <p:ph type="ftr" sz="quarter" idx="10"/>
          </p:nvPr>
        </p:nvSpPr>
        <p:spPr>
          <a:xfrm>
            <a:off x="495299" y="6532895"/>
            <a:ext cx="536847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 Placeholder 4">
            <a:extLst>
              <a:ext uri="{FF2B5EF4-FFF2-40B4-BE49-F238E27FC236}">
                <a16:creationId xmlns:a16="http://schemas.microsoft.com/office/drawing/2014/main" id="{6AA3DDD4-786B-45BA-B0D0-84CB5038CB16}"/>
              </a:ext>
            </a:extLst>
          </p:cNvPr>
          <p:cNvSpPr>
            <a:spLocks noGrp="1"/>
          </p:cNvSpPr>
          <p:nvPr>
            <p:ph type="body" sz="quarter" idx="11"/>
          </p:nvPr>
        </p:nvSpPr>
        <p:spPr>
          <a:xfrm>
            <a:off x="495299" y="3819524"/>
            <a:ext cx="5368472" cy="239077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A08B8994-7421-490A-9036-9F53B54CBF1A}"/>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94674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1407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222809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75280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884788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127093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57115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710384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68255D0C-1EDE-493B-8DA6-8F3EFAE77D5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26789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63528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536271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402663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5768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102293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24194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74726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312912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00606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F2873F8E-D55D-4D2D-A442-8CAB320EA0D6}"/>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97912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10574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5EC78DCF-1518-4FD3-8C9A-D0613D2948A1}"/>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9CDBF691-FA8F-4C88-8AEC-051F05CF7527}"/>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862013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B2778F07-F3E7-47FA-AC3D-F54B1F2EC247}"/>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8FDD115-2D89-4909-A1A6-2C7FC32DD4C9}"/>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95740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C51D2F3D-2B2F-4F39-B5E2-A9CC9DA8643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5397636F-5BB7-4E70-97D3-6AE2F2B6095E}"/>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396361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85630625-5612-4F53-BD70-66D7CC0D175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7883068-1DCD-419F-B0B8-46532DC1A89B}"/>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651251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F341B794-4284-4622-9DB9-1B89EA5B9BE3}"/>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7589ED4C-A871-488E-A454-365FF2228CDF}"/>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973413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Box 9">
            <a:extLst>
              <a:ext uri="{FF2B5EF4-FFF2-40B4-BE49-F238E27FC236}">
                <a16:creationId xmlns:a16="http://schemas.microsoft.com/office/drawing/2014/main" id="{A7E7268D-F4C2-4E13-9E9A-422BC2B2E311}"/>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t>Confidential and Proprietary — Qualcomm Technologies, Inc. and/or its affiliated companies.</a:t>
            </a:r>
          </a:p>
        </p:txBody>
      </p:sp>
      <p:sp>
        <p:nvSpPr>
          <p:cNvPr id="11" name="Footer Placeholder 2">
            <a:extLst>
              <a:ext uri="{FF2B5EF4-FFF2-40B4-BE49-F238E27FC236}">
                <a16:creationId xmlns:a16="http://schemas.microsoft.com/office/drawing/2014/main" id="{A93824BB-9EB4-4BBD-BFDC-B827A0D9BA7E}"/>
              </a:ext>
            </a:extLst>
          </p:cNvPr>
          <p:cNvSpPr>
            <a:spLocks noGrp="1"/>
          </p:cNvSpPr>
          <p:nvPr>
            <p:ph type="ftr" sz="quarter" idx="3"/>
          </p:nvPr>
        </p:nvSpPr>
        <p:spPr>
          <a:xfrm>
            <a:off x="495299" y="6534114"/>
            <a:ext cx="608076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r>
              <a:rPr lang="en-US"/>
              <a:t>Media Web Symposium 2023</a:t>
            </a:r>
          </a:p>
        </p:txBody>
      </p:sp>
    </p:spTree>
    <p:extLst>
      <p:ext uri="{BB962C8B-B14F-4D97-AF65-F5344CB8AC3E}">
        <p14:creationId xmlns:p14="http://schemas.microsoft.com/office/powerpoint/2010/main" val="3775412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A7B100CC-8F88-4029-AD1D-D7AAE0BEEC08}"/>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248449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Shelf Blue_Title, Subtitle top">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4" name="Title 3">
            <a:extLst>
              <a:ext uri="{FF2B5EF4-FFF2-40B4-BE49-F238E27FC236}">
                <a16:creationId xmlns:a16="http://schemas.microsoft.com/office/drawing/2014/main" id="{981D0AE3-B7CC-4A96-AB28-F50411D20B2E}"/>
              </a:ext>
            </a:extLst>
          </p:cNvPr>
          <p:cNvSpPr>
            <a:spLocks noGrp="1"/>
          </p:cNvSpPr>
          <p:nvPr>
            <p:ph type="title"/>
          </p:nvPr>
        </p:nvSpPr>
        <p:spPr/>
        <p:txBody>
          <a:bodyPr/>
          <a:lstStyle/>
          <a:p>
            <a:r>
              <a:rPr lang="en-US"/>
              <a:t>Click to edit Master title style</a:t>
            </a:r>
          </a:p>
        </p:txBody>
      </p:sp>
      <p:sp>
        <p:nvSpPr>
          <p:cNvPr id="9" name="Subtitle">
            <a:extLst>
              <a:ext uri="{FF2B5EF4-FFF2-40B4-BE49-F238E27FC236}">
                <a16:creationId xmlns:a16="http://schemas.microsoft.com/office/drawing/2014/main" id="{C1D6D245-452D-47E7-B38E-5EC428FE12FD}"/>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5714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004F05D8-16DB-47B4-B03A-20CC6481F45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5299" y="1132232"/>
            <a:ext cx="11187113"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28332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2173" y="432100"/>
            <a:ext cx="11210239" cy="429028"/>
          </a:xfrm>
        </p:spPr>
        <p:txBody>
          <a:bodyPr anchor="t"/>
          <a:lstStyle>
            <a:lvl1pPr>
              <a:lnSpc>
                <a:spcPct val="89000"/>
              </a:lnSpc>
              <a:defRPr sz="4400">
                <a:solidFill>
                  <a:schemeClr val="bg1"/>
                </a:solidFill>
              </a:defRPr>
            </a:lvl1pPr>
          </a:lstStyle>
          <a:p>
            <a:r>
              <a:rPr lang="en-US"/>
              <a:t>Click to edit</a:t>
            </a:r>
            <a:br>
              <a:rPr lang="en-US"/>
            </a:br>
            <a:r>
              <a:rPr lang="en-US"/>
              <a:t>Master title style</a:t>
            </a:r>
          </a:p>
        </p:txBody>
      </p:sp>
    </p:spTree>
    <p:extLst>
      <p:ext uri="{BB962C8B-B14F-4D97-AF65-F5344CB8AC3E}">
        <p14:creationId xmlns:p14="http://schemas.microsoft.com/office/powerpoint/2010/main" val="1290790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056148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30952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266904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2790264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277269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82672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17966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571944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2AEF9882-55A2-4990-AF93-2A804C461C6E}"/>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086258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45924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97476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251825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Agenda 2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037592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04470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969195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87882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76667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555985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0D78F864-5081-4829-A827-7CD95C8E7C7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4059174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392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Media Web Symposium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815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05714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81079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75879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829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67310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63762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5759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4357B337-8EA8-457A-B703-E670FE99BC8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1406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562423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480660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95886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66733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009786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984797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118401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7846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29054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A98B9663-351A-4691-9442-67EA99C6E7F7}"/>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13565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8926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30847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404004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118765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285513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030097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1260012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542281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667161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81D1DAAF-B7C7-4017-BB53-6EBBC3E73A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5304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715094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171258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2225512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481910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271966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113890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091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93296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6434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994BC86A-E0A0-4527-8786-B580DFD9705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79639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55632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996238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07296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54936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348250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400689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75066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512093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545334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FAE9398D-2BD9-4C16-8323-2756D6CD9752}"/>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D2246FF4-5C3D-473C-B3FF-4C0A7056FA2E}"/>
                  </a:ext>
                </a:extLst>
              </p14:cNvPr>
              <p14:cNvContentPartPr/>
              <p14:nvPr userDrawn="1"/>
            </p14:nvContentPartPr>
            <p14:xfrm>
              <a:off x="8145224" y="6609376"/>
              <a:ext cx="9072" cy="4608"/>
            </p14:xfrm>
          </p:contentPart>
        </mc:Choice>
        <mc:Fallback xmlns="">
          <p:pic>
            <p:nvPicPr>
              <p:cNvPr id="2" name="Ink 1">
                <a:extLst>
                  <a:ext uri="{FF2B5EF4-FFF2-40B4-BE49-F238E27FC236}">
                    <a16:creationId xmlns:a16="http://schemas.microsoft.com/office/drawing/2014/main" id="{D2246FF4-5C3D-473C-B3FF-4C0A7056FA2E}"/>
                  </a:ext>
                </a:extLst>
              </p:cNvPr>
              <p:cNvPicPr/>
              <p:nvPr/>
            </p:nvPicPr>
            <p:blipFill>
              <a:blip r:embed="rId3"/>
              <a:stretch>
                <a:fillRect/>
              </a:stretch>
            </p:blipFill>
            <p:spPr>
              <a:xfrm>
                <a:off x="8141595" y="6605831"/>
                <a:ext cx="15967" cy="11343"/>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57488EDB-6A64-4E7A-8BD3-8FD86C89C038}"/>
                  </a:ext>
                </a:extLst>
              </p14:cNvPr>
              <p14:cNvContentPartPr/>
              <p14:nvPr userDrawn="1"/>
            </p14:nvContentPartPr>
            <p14:xfrm>
              <a:off x="8149688" y="6520528"/>
              <a:ext cx="9072" cy="144"/>
            </p14:xfrm>
          </p:contentPart>
        </mc:Choice>
        <mc:Fallback xmlns="">
          <p:pic>
            <p:nvPicPr>
              <p:cNvPr id="4" name="Ink 3">
                <a:extLst>
                  <a:ext uri="{FF2B5EF4-FFF2-40B4-BE49-F238E27FC236}">
                    <a16:creationId xmlns:a16="http://schemas.microsoft.com/office/drawing/2014/main" id="{57488EDB-6A64-4E7A-8BD3-8FD86C89C038}"/>
                  </a:ext>
                </a:extLst>
              </p:cNvPr>
              <p:cNvPicPr/>
              <p:nvPr/>
            </p:nvPicPr>
            <p:blipFill>
              <a:blip r:embed="rId5"/>
              <a:stretch>
                <a:fillRect/>
              </a:stretch>
            </p:blipFill>
            <p:spPr>
              <a:xfrm>
                <a:off x="8146199" y="6519088"/>
                <a:ext cx="15702" cy="2880"/>
              </a:xfrm>
              <a:prstGeom prst="rect">
                <a:avLst/>
              </a:prstGeom>
            </p:spPr>
          </p:pic>
        </mc:Fallback>
      </mc:AlternateContent>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582634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881214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61204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715704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679382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41730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188468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672635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99111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238237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8EB6F0EA-8370-42FA-A0A4-5D838789374E}"/>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85172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5EC78DCF-1518-4FD3-8C9A-D0613D2948A1}"/>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9CDBF691-FA8F-4C88-8AEC-051F05CF7527}"/>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065431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B2778F07-F3E7-47FA-AC3D-F54B1F2EC247}"/>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8FDD115-2D89-4909-A1A6-2C7FC32DD4C9}"/>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873702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C51D2F3D-2B2F-4F39-B5E2-A9CC9DA8643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5397636F-5BB7-4E70-97D3-6AE2F2B6095E}"/>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80080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85630625-5612-4F53-BD70-66D7CC0D175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7883068-1DCD-419F-B0B8-46532DC1A89B}"/>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343593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F341B794-4284-4622-9DB9-1B89EA5B9BE3}"/>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7589ED4C-A871-488E-A454-365FF2228CDF}"/>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9234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userDrawn="1">
  <p:cSld name="1_Title Photo">
    <p:bg>
      <p:bgPr>
        <a:solidFill>
          <a:schemeClr val="tx2"/>
        </a:solidFill>
        <a:effectLst/>
      </p:bgPr>
    </p:bg>
    <p:spTree>
      <p:nvGrpSpPr>
        <p:cNvPr id="1" name=""/>
        <p:cNvGrpSpPr/>
        <p:nvPr/>
      </p:nvGrpSpPr>
      <p:grpSpPr>
        <a:xfrm>
          <a:off x="0" y="0"/>
          <a:ext cx="0" cy="0"/>
          <a:chOff x="0" y="0"/>
          <a:chExt cx="0" cy="0"/>
        </a:xfrm>
      </p:grpSpPr>
      <p:sp>
        <p:nvSpPr>
          <p:cNvPr id="38" name="Text Placeholder 7"/>
          <p:cNvSpPr>
            <a:spLocks noGrp="1"/>
          </p:cNvSpPr>
          <p:nvPr>
            <p:ph type="body" sz="quarter" idx="10" hasCustomPrompt="1"/>
          </p:nvPr>
        </p:nvSpPr>
        <p:spPr bwMode="black">
          <a:xfrm>
            <a:off x="495299" y="4195085"/>
            <a:ext cx="7352269"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r>
              <a:rPr lang="en-US"/>
              <a:t>Employing Entity</a:t>
            </a:r>
          </a:p>
        </p:txBody>
      </p:sp>
      <p:sp>
        <p:nvSpPr>
          <p:cNvPr id="9" name="Text Placeholder 7">
            <a:extLst>
              <a:ext uri="{FF2B5EF4-FFF2-40B4-BE49-F238E27FC236}">
                <a16:creationId xmlns:a16="http://schemas.microsoft.com/office/drawing/2014/main" id="{7E8F1094-26FF-4F59-824D-BD7309313BFD}"/>
              </a:ext>
            </a:extLst>
          </p:cNvPr>
          <p:cNvSpPr>
            <a:spLocks noGrp="1"/>
          </p:cNvSpPr>
          <p:nvPr>
            <p:ph type="body" sz="quarter" idx="11" hasCustomPrompt="1"/>
          </p:nvPr>
        </p:nvSpPr>
        <p:spPr bwMode="black">
          <a:xfrm>
            <a:off x="9076177" y="393192"/>
            <a:ext cx="2620523" cy="221599"/>
          </a:xfrm>
          <a:prstGeom prst="rect">
            <a:avLst/>
          </a:prstGeom>
        </p:spPr>
        <p:txBody>
          <a:bodyPr wrap="square" anchor="b">
            <a:spAutoFit/>
          </a:bodyPr>
          <a:lstStyle>
            <a:lvl1pPr marL="0" marR="0" indent="0" algn="r"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0"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bwMode="black">
          <a:xfrm>
            <a:off x="3350218" y="393192"/>
            <a:ext cx="2608489"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1"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bwMode="black">
          <a:xfrm>
            <a:off x="6214734" y="393192"/>
            <a:ext cx="2605416"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Location</a:t>
            </a:r>
          </a:p>
        </p:txBody>
      </p:sp>
      <p:sp>
        <p:nvSpPr>
          <p:cNvPr id="15" name="Freeform 5">
            <a:extLst>
              <a:ext uri="{FF2B5EF4-FFF2-40B4-BE49-F238E27FC236}">
                <a16:creationId xmlns:a16="http://schemas.microsoft.com/office/drawing/2014/main" id="{08A2CE3D-9628-4F81-80DA-E800C027873F}"/>
              </a:ext>
            </a:extLst>
          </p:cNvPr>
          <p:cNvSpPr>
            <a:spLocks noChangeAspect="1" noEditPoints="1"/>
          </p:cNvSpPr>
          <p:nvPr userDrawn="1"/>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C95B7907-90A3-47AE-BAA5-1FA8721F650D}"/>
              </a:ext>
            </a:extLst>
          </p:cNvPr>
          <p:cNvSpPr>
            <a:spLocks noGrp="1"/>
          </p:cNvSpPr>
          <p:nvPr>
            <p:ph type="title"/>
          </p:nvPr>
        </p:nvSpPr>
        <p:spPr>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573439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2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2173" y="432100"/>
            <a:ext cx="11210239" cy="429028"/>
          </a:xfrm>
        </p:spPr>
        <p:txBody>
          <a:bodyPr anchor="t"/>
          <a:lstStyle>
            <a:lvl1pPr>
              <a:lnSpc>
                <a:spcPct val="89000"/>
              </a:lnSpc>
              <a:defRPr sz="4400">
                <a:solidFill>
                  <a:schemeClr val="bg1"/>
                </a:solidFill>
              </a:defRPr>
            </a:lvl1pPr>
          </a:lstStyle>
          <a:p>
            <a:r>
              <a:rPr lang="en-US"/>
              <a:t>Click to edit</a:t>
            </a:r>
            <a:br>
              <a:rPr lang="en-US"/>
            </a:br>
            <a:r>
              <a:rPr lang="en-US"/>
              <a:t>Master title style</a:t>
            </a:r>
          </a:p>
        </p:txBody>
      </p:sp>
    </p:spTree>
    <p:extLst>
      <p:ext uri="{BB962C8B-B14F-4D97-AF65-F5344CB8AC3E}">
        <p14:creationId xmlns:p14="http://schemas.microsoft.com/office/powerpoint/2010/main" val="2635456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128889"/>
            <a:ext cx="3940004" cy="98058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15" name="TextBox 14">
            <a:extLst>
              <a:ext uri="{FF2B5EF4-FFF2-40B4-BE49-F238E27FC236}">
                <a16:creationId xmlns:a16="http://schemas.microsoft.com/office/drawing/2014/main" id="{EA5B5189-69A1-47BC-BD79-D73DFFB29359}"/>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4260FD85-9A18-4996-BED2-E9130B09695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753839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A7B100CC-8F88-4029-AD1D-D7AAE0BEEC08}"/>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308942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54A385DC-4C7B-4594-ABA3-100A9815F765}"/>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5299" y="1132232"/>
            <a:ext cx="11187113"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Tree>
    <p:extLst>
      <p:ext uri="{BB962C8B-B14F-4D97-AF65-F5344CB8AC3E}">
        <p14:creationId xmlns:p14="http://schemas.microsoft.com/office/powerpoint/2010/main" val="34424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Shelf Midnight_Fifty Fifty_Off-white_Blank_Bottom Title and Subtitl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89D721-C747-4A54-8101-A183A3CEFB26}"/>
              </a:ext>
            </a:extLst>
          </p:cNvPr>
          <p:cNvSpPr/>
          <p:nvPr userDrawn="1"/>
        </p:nvSpPr>
        <p:spPr bwMode="gray">
          <a:xfrm>
            <a:off x="0" y="-1"/>
            <a:ext cx="614106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2" name="Rectangle: Single Corner Rounded 6">
            <a:extLst>
              <a:ext uri="{FF2B5EF4-FFF2-40B4-BE49-F238E27FC236}">
                <a16:creationId xmlns:a16="http://schemas.microsoft.com/office/drawing/2014/main" id="{C27D6DDE-D721-4FB2-B782-7182A1D4FC73}"/>
              </a:ext>
            </a:extLst>
          </p:cNvPr>
          <p:cNvSpPr/>
          <p:nvPr userDrawn="1"/>
        </p:nvSpPr>
        <p:spPr bwMode="gray">
          <a:xfrm flipV="1">
            <a:off x="5485789" y="-2"/>
            <a:ext cx="655273" cy="6858000"/>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panose="020B0604020202020204" pitchFamily="34"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9" name="TextBox 8">
            <a:extLst>
              <a:ext uri="{FF2B5EF4-FFF2-40B4-BE49-F238E27FC236}">
                <a16:creationId xmlns:a16="http://schemas.microsoft.com/office/drawing/2014/main" id="{433B90FA-2143-40B5-910C-75BDCC90CE0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Footer Placeholder 2">
            <a:extLst>
              <a:ext uri="{FF2B5EF4-FFF2-40B4-BE49-F238E27FC236}">
                <a16:creationId xmlns:a16="http://schemas.microsoft.com/office/drawing/2014/main" id="{36EECB88-7345-4EF1-ADBA-EB325EF95271}"/>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
        <p:nvSpPr>
          <p:cNvPr id="7" name="Title 2">
            <a:extLst>
              <a:ext uri="{FF2B5EF4-FFF2-40B4-BE49-F238E27FC236}">
                <a16:creationId xmlns:a16="http://schemas.microsoft.com/office/drawing/2014/main" id="{5B893AEF-8CC6-4AC7-845C-CFC058041D9D}"/>
              </a:ext>
            </a:extLst>
          </p:cNvPr>
          <p:cNvSpPr>
            <a:spLocks noGrp="1"/>
          </p:cNvSpPr>
          <p:nvPr>
            <p:ph type="title"/>
          </p:nvPr>
        </p:nvSpPr>
        <p:spPr>
          <a:xfrm>
            <a:off x="495300" y="5492861"/>
            <a:ext cx="11187112" cy="455189"/>
          </a:xfrm>
        </p:spPr>
        <p:txBody>
          <a:bodyPr/>
          <a:lstStyle>
            <a:lvl1pPr algn="ctr">
              <a:defRPr>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0494D142-EF1E-4E3E-8A11-81A879113278}"/>
              </a:ext>
            </a:extLst>
          </p:cNvPr>
          <p:cNvSpPr>
            <a:spLocks noGrp="1"/>
          </p:cNvSpPr>
          <p:nvPr>
            <p:ph type="subTitle" idx="1"/>
          </p:nvPr>
        </p:nvSpPr>
        <p:spPr>
          <a:xfrm>
            <a:off x="494189" y="6031582"/>
            <a:ext cx="11188223" cy="265907"/>
          </a:xfrm>
          <a:prstGeom prst="rect">
            <a:avLst/>
          </a:prstGeom>
        </p:spPr>
        <p:txBody>
          <a:bodyPr>
            <a:spAutoFit/>
          </a:bodyPr>
          <a:lstStyle>
            <a:lvl1pPr marL="0" indent="0" algn="ctr">
              <a:lnSpc>
                <a:spcPct val="96000"/>
              </a:lnSpc>
              <a:spcBef>
                <a:spcPts val="90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86353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SD Title and Content">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96390C4F-C50D-4EA4-B36C-FD3A6D8926A2}"/>
              </a:ext>
            </a:extLst>
          </p:cNvPr>
          <p:cNvSpPr>
            <a:spLocks noGrp="1"/>
          </p:cNvSpPr>
          <p:nvPr>
            <p:ph sz="quarter" idx="16"/>
          </p:nvPr>
        </p:nvSpPr>
        <p:spPr>
          <a:xfrm>
            <a:off x="494188" y="1719072"/>
            <a:ext cx="11202511"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2895"/>
            <a:ext cx="5943600" cy="118174"/>
          </a:xfrm>
        </p:spPr>
        <p:txBody>
          <a:bodyPr/>
          <a:lstStyle>
            <a:lvl1pPr>
              <a:defRPr>
                <a:solidFill>
                  <a:schemeClr val="accent5">
                    <a:lumMod val="60000"/>
                    <a:lumOff val="40000"/>
                  </a:schemeClr>
                </a:solidFill>
              </a:defRPr>
            </a:lvl1pPr>
          </a:lstStyle>
          <a:p>
            <a:pPr>
              <a:defRPr/>
            </a:pPr>
            <a:r>
              <a:rPr lang="en-US"/>
              <a:t>Media Web Symposium 2023</a:t>
            </a:r>
            <a:endParaRPr lang="en-US" dirty="0"/>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87956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8E540791-1094-491E-B994-D4D6B719CF0F}"/>
              </a:ext>
            </a:extLst>
          </p:cNvPr>
          <p:cNvSpPr>
            <a:spLocks noGrp="1"/>
          </p:cNvSpPr>
          <p:nvPr>
            <p:ph idx="1"/>
          </p:nvPr>
        </p:nvSpPr>
        <p:spPr>
          <a:xfrm>
            <a:off x="262466" y="1073889"/>
            <a:ext cx="11773799" cy="5130063"/>
          </a:xfrm>
          <a:prstGeom prst="rect">
            <a:avLst/>
          </a:prstGeom>
        </p:spPr>
        <p:txBody>
          <a:bodyPr>
            <a:normAutofit/>
          </a:bodyPr>
          <a:lstStyle>
            <a:lvl1pPr marL="342891" indent="-342891">
              <a:buClr>
                <a:srgbClr val="00A0D2"/>
              </a:buClr>
              <a:buFont typeface="Wingdings" panose="05000000000000000000" pitchFamily="2" charset="2"/>
              <a:buChar char="§"/>
              <a:defRPr sz="2667">
                <a:latin typeface="Poppins ExtraLight" panose="00000300000000000000" pitchFamily="2" charset="0"/>
                <a:cs typeface="Poppins ExtraLight" panose="00000300000000000000" pitchFamily="2" charset="0"/>
              </a:defRPr>
            </a:lvl1pPr>
            <a:lvl2pPr marL="685783" indent="-182875">
              <a:buClr>
                <a:srgbClr val="00A0D2"/>
              </a:buClr>
              <a:buFont typeface="Wingdings" panose="05000000000000000000" pitchFamily="2" charset="2"/>
              <a:buChar char="§"/>
              <a:defRPr sz="2667">
                <a:latin typeface="Poppins ExtraLight" panose="00000300000000000000" pitchFamily="2" charset="0"/>
                <a:cs typeface="Poppins ExtraLight" panose="00000300000000000000" pitchFamily="2" charset="0"/>
              </a:defRPr>
            </a:lvl2pPr>
            <a:lvl3pPr marL="1142971" indent="-182875">
              <a:buClr>
                <a:srgbClr val="00A0D2"/>
              </a:buClr>
              <a:buFont typeface="Wingdings" panose="05000000000000000000" pitchFamily="2" charset="2"/>
              <a:buChar char="§"/>
              <a:defRPr sz="2133">
                <a:latin typeface="Poppins ExtraLight" panose="00000300000000000000" pitchFamily="2" charset="0"/>
                <a:cs typeface="Poppins ExtraLight" panose="00000300000000000000" pitchFamily="2" charset="0"/>
              </a:defRPr>
            </a:lvl3pPr>
            <a:lvl4pPr marL="1600160" indent="-182875">
              <a:buClr>
                <a:srgbClr val="00A0D2"/>
              </a:buClr>
              <a:buFont typeface="Wingdings" panose="05000000000000000000" pitchFamily="2" charset="2"/>
              <a:buChar char="§"/>
              <a:defRPr sz="1867">
                <a:latin typeface="Poppins ExtraLight" panose="00000300000000000000" pitchFamily="2" charset="0"/>
                <a:cs typeface="Poppins ExtraLight" panose="00000300000000000000" pitchFamily="2" charset="0"/>
              </a:defRPr>
            </a:lvl4pPr>
            <a:lvl5pPr marL="2057349" indent="-182875">
              <a:buClr>
                <a:srgbClr val="00A0D2"/>
              </a:buClr>
              <a:buFont typeface="Wingdings" panose="05000000000000000000" pitchFamily="2" charset="2"/>
              <a:buChar char="§"/>
              <a:defRPr sz="1867">
                <a:latin typeface="Poppins ExtraLight" panose="00000300000000000000" pitchFamily="2" charset="0"/>
                <a:cs typeface="Poppins ExtraLight" panose="00000300000000000000" pitchFamily="2"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6" name="Rectángulo 20">
            <a:extLst>
              <a:ext uri="{FF2B5EF4-FFF2-40B4-BE49-F238E27FC236}">
                <a16:creationId xmlns:a16="http://schemas.microsoft.com/office/drawing/2014/main" id="{F72431F0-D87A-41CB-B47A-8071671A5AEB}"/>
              </a:ext>
            </a:extLst>
          </p:cNvPr>
          <p:cNvSpPr/>
          <p:nvPr userDrawn="1"/>
        </p:nvSpPr>
        <p:spPr>
          <a:xfrm>
            <a:off x="-104502" y="-66675"/>
            <a:ext cx="12357463" cy="863597"/>
          </a:xfrm>
          <a:prstGeom prst="rect">
            <a:avLst/>
          </a:prstGeom>
          <a:solidFill>
            <a:srgbClr val="3241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600" dirty="0">
              <a:solidFill>
                <a:schemeClr val="bg1"/>
              </a:solidFill>
              <a:latin typeface="Poppins SemiBold" panose="02000000000000000000" pitchFamily="2" charset="0"/>
              <a:cs typeface="Poppins SemiBold" panose="02000000000000000000" pitchFamily="2" charset="0"/>
            </a:endParaRPr>
          </a:p>
        </p:txBody>
      </p:sp>
      <p:sp>
        <p:nvSpPr>
          <p:cNvPr id="7" name="Título 6">
            <a:extLst>
              <a:ext uri="{FF2B5EF4-FFF2-40B4-BE49-F238E27FC236}">
                <a16:creationId xmlns:a16="http://schemas.microsoft.com/office/drawing/2014/main" id="{BCBB4516-8298-41C2-999F-B6E0453EBB2D}"/>
              </a:ext>
            </a:extLst>
          </p:cNvPr>
          <p:cNvSpPr>
            <a:spLocks noGrp="1"/>
          </p:cNvSpPr>
          <p:nvPr>
            <p:ph type="title" hasCustomPrompt="1"/>
          </p:nvPr>
        </p:nvSpPr>
        <p:spPr>
          <a:xfrm>
            <a:off x="1" y="89695"/>
            <a:ext cx="12152345" cy="630228"/>
          </a:xfrm>
          <a:prstGeom prst="rect">
            <a:avLst/>
          </a:prstGeom>
        </p:spPr>
        <p:txBody>
          <a:bodyPr tIns="72000" bIns="0" anchor="ctr"/>
          <a:lstStyle>
            <a:lvl1pPr>
              <a:lnSpc>
                <a:spcPct val="100000"/>
              </a:lnSpc>
              <a:defRPr sz="3733">
                <a:solidFill>
                  <a:schemeClr val="bg1"/>
                </a:solidFill>
                <a:latin typeface="Poppins SemiBold" panose="02000000000000000000" pitchFamily="2" charset="0"/>
                <a:cs typeface="Poppins SemiBold" panose="02000000000000000000" pitchFamily="2" charset="0"/>
              </a:defRPr>
            </a:lvl1pPr>
          </a:lstStyle>
          <a:p>
            <a:r>
              <a:rPr lang="es-ES" dirty="0" err="1"/>
              <a:t>Title</a:t>
            </a:r>
            <a:endParaRPr lang="en-GB" dirty="0"/>
          </a:p>
        </p:txBody>
      </p:sp>
      <p:sp>
        <p:nvSpPr>
          <p:cNvPr id="8" name="Slide Number Placeholder 5">
            <a:extLst>
              <a:ext uri="{FF2B5EF4-FFF2-40B4-BE49-F238E27FC236}">
                <a16:creationId xmlns:a16="http://schemas.microsoft.com/office/drawing/2014/main" id="{9ABC6D82-39CD-4ABE-A96C-A8287D29B90F}"/>
              </a:ext>
            </a:extLst>
          </p:cNvPr>
          <p:cNvSpPr>
            <a:spLocks noGrp="1"/>
          </p:cNvSpPr>
          <p:nvPr>
            <p:ph type="sldNum" sz="quarter" idx="4"/>
          </p:nvPr>
        </p:nvSpPr>
        <p:spPr>
          <a:xfrm>
            <a:off x="10621419" y="6356350"/>
            <a:ext cx="1530927" cy="365125"/>
          </a:xfrm>
          <a:prstGeom prst="rect">
            <a:avLst/>
          </a:prstGeom>
        </p:spPr>
        <p:txBody>
          <a:bodyPr vert="horz" lIns="91440" tIns="45720" rIns="91440" bIns="45720" rtlCol="0" anchor="ctr"/>
          <a:lstStyle>
            <a:lvl1pPr>
              <a:defRPr lang="fr-CH" smtClean="0"/>
            </a:lvl1pPr>
          </a:lstStyle>
          <a:p>
            <a:fld id="{4FAB73BC-B049-4115-A692-8D63A059BFB8}" type="slidenum">
              <a:rPr lang="fr-CH" smtClean="0"/>
              <a:pPr/>
              <a:t>‹#›</a:t>
            </a:fld>
            <a:endParaRPr lang="fr-CH" dirty="0"/>
          </a:p>
        </p:txBody>
      </p:sp>
      <p:sp>
        <p:nvSpPr>
          <p:cNvPr id="13" name="Date Placeholder 3">
            <a:extLst>
              <a:ext uri="{FF2B5EF4-FFF2-40B4-BE49-F238E27FC236}">
                <a16:creationId xmlns:a16="http://schemas.microsoft.com/office/drawing/2014/main" id="{9621FF13-64DA-4B2F-860F-E18B685B650D}"/>
              </a:ext>
            </a:extLst>
          </p:cNvPr>
          <p:cNvSpPr>
            <a:spLocks noGrp="1"/>
          </p:cNvSpPr>
          <p:nvPr>
            <p:ph type="dt" sz="half" idx="2"/>
          </p:nvPr>
        </p:nvSpPr>
        <p:spPr>
          <a:xfrm>
            <a:off x="541305" y="6288088"/>
            <a:ext cx="2629591" cy="483643"/>
          </a:xfrm>
          <a:prstGeom prst="rect">
            <a:avLst/>
          </a:prstGeom>
        </p:spPr>
        <p:txBody>
          <a:bodyPr lIns="0" tIns="0" rIns="0" bIns="0" anchor="b"/>
          <a:lstStyle>
            <a:lvl1pPr>
              <a:defRPr lang="en-US" smtClean="0"/>
            </a:lvl1pPr>
          </a:lstStyle>
          <a:p>
            <a:endParaRPr lang="en-US" dirty="0"/>
          </a:p>
        </p:txBody>
      </p:sp>
    </p:spTree>
    <p:extLst>
      <p:ext uri="{BB962C8B-B14F-4D97-AF65-F5344CB8AC3E}">
        <p14:creationId xmlns:p14="http://schemas.microsoft.com/office/powerpoint/2010/main" val="402217799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71056041"/>
      </p:ext>
    </p:extLst>
  </p:cSld>
  <p:clrMapOvr>
    <a:masterClrMapping/>
  </p:clrMapOvr>
  <p:transition spd="slow"/>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F6D92F93-D0A2-409A-A1DB-EF5E86A15739}"/>
              </a:ext>
            </a:extLst>
          </p:cNvPr>
          <p:cNvGrpSpPr/>
          <p:nvPr userDrawn="1"/>
        </p:nvGrpSpPr>
        <p:grpSpPr>
          <a:xfrm>
            <a:off x="-1" y="0"/>
            <a:ext cx="9773500" cy="6359178"/>
            <a:chOff x="-1" y="-2"/>
            <a:chExt cx="9773500" cy="6359178"/>
          </a:xfrm>
        </p:grpSpPr>
        <p:pic>
          <p:nvPicPr>
            <p:cNvPr id="22" name="Picture 21">
              <a:extLst>
                <a:ext uri="{FF2B5EF4-FFF2-40B4-BE49-F238E27FC236}">
                  <a16:creationId xmlns:a16="http://schemas.microsoft.com/office/drawing/2014/main" id="{37C3BEA7-94C0-4817-9E25-B2258DF18042}"/>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24" name="Rectangle 23">
              <a:extLst>
                <a:ext uri="{FF2B5EF4-FFF2-40B4-BE49-F238E27FC236}">
                  <a16:creationId xmlns:a16="http://schemas.microsoft.com/office/drawing/2014/main" id="{AD5F95C5-F137-484B-96FA-1D50F15C4B17}"/>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40" name="Rectangle: Single Corner Rounded 55">
              <a:extLst>
                <a:ext uri="{FF2B5EF4-FFF2-40B4-BE49-F238E27FC236}">
                  <a16:creationId xmlns:a16="http://schemas.microsoft.com/office/drawing/2014/main" id="{2BF664CF-D043-4EA0-BE62-154BE7186F22}"/>
                </a:ext>
              </a:extLst>
            </p:cNvPr>
            <p:cNvSpPr/>
            <p:nvPr userDrawn="1"/>
          </p:nvSpPr>
          <p:spPr bwMode="gray">
            <a:xfrm flipV="1">
              <a:off x="-1" y="0"/>
              <a:ext cx="9567417" cy="6266834"/>
            </a:xfrm>
            <a:prstGeom prst="round1Rect">
              <a:avLst>
                <a:gd name="adj" fmla="val 1969"/>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41" name="Rectangle: Single Corner Rounded 49">
              <a:extLst>
                <a:ext uri="{FF2B5EF4-FFF2-40B4-BE49-F238E27FC236}">
                  <a16:creationId xmlns:a16="http://schemas.microsoft.com/office/drawing/2014/main" id="{20D71B81-2F7B-4217-A19F-BE9105EC73B2}"/>
                </a:ext>
              </a:extLst>
            </p:cNvPr>
            <p:cNvSpPr/>
            <p:nvPr userDrawn="1"/>
          </p:nvSpPr>
          <p:spPr bwMode="gray">
            <a:xfrm flipV="1">
              <a:off x="9306878" y="0"/>
              <a:ext cx="260539" cy="6267118"/>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42" name="Rectangle 41">
              <a:extLst>
                <a:ext uri="{FF2B5EF4-FFF2-40B4-BE49-F238E27FC236}">
                  <a16:creationId xmlns:a16="http://schemas.microsoft.com/office/drawing/2014/main" id="{DEDD03CD-E8BF-4343-BEE2-411E2E2270DA}"/>
                </a:ext>
              </a:extLst>
            </p:cNvPr>
            <p:cNvSpPr/>
            <p:nvPr/>
          </p:nvSpPr>
          <p:spPr bwMode="gray">
            <a:xfrm>
              <a:off x="8707342" y="-1"/>
              <a:ext cx="115262" cy="2105026"/>
            </a:xfrm>
            <a:prstGeom prst="rect">
              <a:avLst/>
            </a:prstGeom>
            <a:solidFill>
              <a:srgbClr val="5D78C7"/>
            </a:solidFill>
            <a:ln w="10795" cap="flat" cmpd="sng" algn="ctr">
              <a:noFill/>
              <a:prstDash val="solid"/>
            </a:ln>
            <a:effectLst/>
          </p:spPr>
          <p:txBody>
            <a:bodyPr rtlCol="0" anchor="ctr"/>
            <a:lstStyle/>
            <a:p>
              <a:pPr lvl="0" algn="ctr"/>
              <a:endParaRPr lang="en-US" kern="0">
                <a:solidFill>
                  <a:prstClr val="white"/>
                </a:solidFill>
              </a:endParaRPr>
            </a:p>
          </p:txBody>
        </p:sp>
        <p:sp>
          <p:nvSpPr>
            <p:cNvPr id="43" name="Rectangle 42">
              <a:extLst>
                <a:ext uri="{FF2B5EF4-FFF2-40B4-BE49-F238E27FC236}">
                  <a16:creationId xmlns:a16="http://schemas.microsoft.com/office/drawing/2014/main" id="{5B0E5ED8-2BBE-4F4E-AFB9-74B0E0663884}"/>
                </a:ext>
              </a:extLst>
            </p:cNvPr>
            <p:cNvSpPr/>
            <p:nvPr/>
          </p:nvSpPr>
          <p:spPr bwMode="gray">
            <a:xfrm>
              <a:off x="0" y="5407887"/>
              <a:ext cx="1292743" cy="79403"/>
            </a:xfrm>
            <a:prstGeom prst="rect">
              <a:avLst/>
            </a:prstGeom>
            <a:solidFill>
              <a:srgbClr val="6B88D8"/>
            </a:solidFill>
            <a:ln w="10795" cap="flat" cmpd="sng" algn="ctr">
              <a:noFill/>
              <a:prstDash val="solid"/>
            </a:ln>
            <a:effectLst/>
          </p:spPr>
          <p:txBody>
            <a:bodyPr rtlCol="0" anchor="ctr"/>
            <a:lstStyle/>
            <a:p>
              <a:pPr lvl="0" algn="ctr"/>
              <a:endParaRPr lang="en-US" kern="0">
                <a:solidFill>
                  <a:prstClr val="white"/>
                </a:solidFill>
              </a:endParaRPr>
            </a:p>
          </p:txBody>
        </p:sp>
        <p:sp>
          <p:nvSpPr>
            <p:cNvPr id="44" name="Rectangle: Single Corner Rounded 60">
              <a:extLst>
                <a:ext uri="{FF2B5EF4-FFF2-40B4-BE49-F238E27FC236}">
                  <a16:creationId xmlns:a16="http://schemas.microsoft.com/office/drawing/2014/main" id="{0840C4E0-B781-4EFF-9E45-9DEFDD8CFA12}"/>
                </a:ext>
              </a:extLst>
            </p:cNvPr>
            <p:cNvSpPr/>
            <p:nvPr/>
          </p:nvSpPr>
          <p:spPr bwMode="gray">
            <a:xfrm flipV="1">
              <a:off x="1211478" y="2054518"/>
              <a:ext cx="7611126" cy="3432772"/>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45" name="Rectangle: Single Corner Rounded 61">
              <a:extLst>
                <a:ext uri="{FF2B5EF4-FFF2-40B4-BE49-F238E27FC236}">
                  <a16:creationId xmlns:a16="http://schemas.microsoft.com/office/drawing/2014/main" id="{43EDD8DF-E35C-423D-9ED1-976F4F48A013}"/>
                </a:ext>
              </a:extLst>
            </p:cNvPr>
            <p:cNvSpPr/>
            <p:nvPr/>
          </p:nvSpPr>
          <p:spPr bwMode="gray">
            <a:xfrm flipV="1">
              <a:off x="0" y="-2"/>
              <a:ext cx="8721596" cy="5451177"/>
            </a:xfrm>
            <a:prstGeom prst="round1Rect">
              <a:avLst>
                <a:gd name="adj" fmla="val 2348"/>
              </a:avLst>
            </a:prstGeom>
            <a:solidFill>
              <a:schemeClr val="accent1"/>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46" name="first shadow">
              <a:extLst>
                <a:ext uri="{FF2B5EF4-FFF2-40B4-BE49-F238E27FC236}">
                  <a16:creationId xmlns:a16="http://schemas.microsoft.com/office/drawing/2014/main" id="{F28D95DF-7F35-494B-9072-01F7B5B172E6}"/>
                </a:ext>
              </a:extLst>
            </p:cNvPr>
            <p:cNvSpPr/>
            <p:nvPr/>
          </p:nvSpPr>
          <p:spPr bwMode="gray">
            <a:xfrm flipV="1">
              <a:off x="7985760" y="4211"/>
              <a:ext cx="735836" cy="5446964"/>
            </a:xfrm>
            <a:prstGeom prst="round1Rect">
              <a:avLst>
                <a:gd name="adj" fmla="val 17346"/>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47" name="second shadow">
              <a:extLst>
                <a:ext uri="{FF2B5EF4-FFF2-40B4-BE49-F238E27FC236}">
                  <a16:creationId xmlns:a16="http://schemas.microsoft.com/office/drawing/2014/main" id="{037A9E0A-4022-422B-BEB2-20A49D0B64DE}"/>
                </a:ext>
              </a:extLst>
            </p:cNvPr>
            <p:cNvSpPr/>
            <p:nvPr/>
          </p:nvSpPr>
          <p:spPr bwMode="gray">
            <a:xfrm flipV="1">
              <a:off x="7899306" y="4210"/>
              <a:ext cx="735836" cy="5446965"/>
            </a:xfrm>
            <a:prstGeom prst="round1Rect">
              <a:avLst>
                <a:gd name="adj" fmla="val 5342"/>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2" name="Title 1"/>
          <p:cNvSpPr>
            <a:spLocks noGrp="1"/>
          </p:cNvSpPr>
          <p:nvPr>
            <p:ph type="ctrTitle"/>
          </p:nvPr>
        </p:nvSpPr>
        <p:spPr bwMode="gray">
          <a:xfrm>
            <a:off x="495299" y="2615706"/>
            <a:ext cx="7364367"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95299" y="4195085"/>
            <a:ext cx="7352270"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3"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77118"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5"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0" y="399994"/>
            <a:ext cx="2593918"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26"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81611"/>
            <a:ext cx="2604032"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27"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2233151"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4115912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46" name="Group 45">
            <a:extLst>
              <a:ext uri="{FF2B5EF4-FFF2-40B4-BE49-F238E27FC236}">
                <a16:creationId xmlns:a16="http://schemas.microsoft.com/office/drawing/2014/main" id="{5EE880F9-C9CF-403A-9893-83D8123510E5}"/>
              </a:ext>
            </a:extLst>
          </p:cNvPr>
          <p:cNvGrpSpPr/>
          <p:nvPr userDrawn="1"/>
        </p:nvGrpSpPr>
        <p:grpSpPr>
          <a:xfrm>
            <a:off x="-1" y="-2"/>
            <a:ext cx="9773500" cy="6359178"/>
            <a:chOff x="-1" y="-2"/>
            <a:chExt cx="9773500" cy="6359178"/>
          </a:xfrm>
        </p:grpSpPr>
        <p:pic>
          <p:nvPicPr>
            <p:cNvPr id="47" name="Picture 46">
              <a:extLst>
                <a:ext uri="{FF2B5EF4-FFF2-40B4-BE49-F238E27FC236}">
                  <a16:creationId xmlns:a16="http://schemas.microsoft.com/office/drawing/2014/main" id="{93878F0E-F90E-4D2B-9F40-2273853DAE7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48" name="Rectangle 47">
              <a:extLst>
                <a:ext uri="{FF2B5EF4-FFF2-40B4-BE49-F238E27FC236}">
                  <a16:creationId xmlns:a16="http://schemas.microsoft.com/office/drawing/2014/main" id="{9D2C8018-942E-41E7-9AAB-B43AF5F4B380}"/>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49" name="Rectangle: Single Corner Rounded 55">
              <a:extLst>
                <a:ext uri="{FF2B5EF4-FFF2-40B4-BE49-F238E27FC236}">
                  <a16:creationId xmlns:a16="http://schemas.microsoft.com/office/drawing/2014/main" id="{9CBC01BD-1F3C-40A4-8041-A2D9BA07C228}"/>
                </a:ext>
              </a:extLst>
            </p:cNvPr>
            <p:cNvSpPr/>
            <p:nvPr userDrawn="1"/>
          </p:nvSpPr>
          <p:spPr bwMode="gray">
            <a:xfrm flipV="1">
              <a:off x="-1" y="0"/>
              <a:ext cx="9567417" cy="6266834"/>
            </a:xfrm>
            <a:prstGeom prst="round1Rect">
              <a:avLst>
                <a:gd name="adj" fmla="val 2054"/>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0" name="Rectangle: Single Corner Rounded 49">
              <a:extLst>
                <a:ext uri="{FF2B5EF4-FFF2-40B4-BE49-F238E27FC236}">
                  <a16:creationId xmlns:a16="http://schemas.microsoft.com/office/drawing/2014/main" id="{1520ADEA-591A-4A5C-BBCC-4F17921F430A}"/>
                </a:ext>
              </a:extLst>
            </p:cNvPr>
            <p:cNvSpPr/>
            <p:nvPr userDrawn="1"/>
          </p:nvSpPr>
          <p:spPr bwMode="gray">
            <a:xfrm flipV="1">
              <a:off x="9306878" y="0"/>
              <a:ext cx="260539" cy="6267118"/>
            </a:xfrm>
            <a:prstGeom prst="round1Rect">
              <a:avLst>
                <a:gd name="adj" fmla="val 49135"/>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51" name="Rectangle 50">
              <a:extLst>
                <a:ext uri="{FF2B5EF4-FFF2-40B4-BE49-F238E27FC236}">
                  <a16:creationId xmlns:a16="http://schemas.microsoft.com/office/drawing/2014/main" id="{5DC53635-E05D-4645-8281-2B67D231B548}"/>
                </a:ext>
              </a:extLst>
            </p:cNvPr>
            <p:cNvSpPr/>
            <p:nvPr/>
          </p:nvSpPr>
          <p:spPr bwMode="gray">
            <a:xfrm>
              <a:off x="8707342" y="-1"/>
              <a:ext cx="115262" cy="2105026"/>
            </a:xfrm>
            <a:prstGeom prst="rect">
              <a:avLst/>
            </a:prstGeom>
            <a:solidFill>
              <a:schemeClr val="accent3">
                <a:lumMod val="75000"/>
              </a:schemeClr>
            </a:solidFill>
            <a:ln w="10795" cap="flat" cmpd="sng" algn="ctr">
              <a:noFill/>
              <a:prstDash val="solid"/>
            </a:ln>
            <a:effectLst/>
          </p:spPr>
          <p:txBody>
            <a:bodyPr rtlCol="0" anchor="ctr"/>
            <a:lstStyle/>
            <a:p>
              <a:pPr lvl="0" algn="ctr"/>
              <a:endParaRPr lang="en-US" kern="0">
                <a:solidFill>
                  <a:prstClr val="white"/>
                </a:solidFill>
              </a:endParaRPr>
            </a:p>
          </p:txBody>
        </p:sp>
        <p:sp>
          <p:nvSpPr>
            <p:cNvPr id="52" name="Rectangle 51">
              <a:extLst>
                <a:ext uri="{FF2B5EF4-FFF2-40B4-BE49-F238E27FC236}">
                  <a16:creationId xmlns:a16="http://schemas.microsoft.com/office/drawing/2014/main" id="{12585480-AB3D-4AFC-A15A-6C2370B29344}"/>
                </a:ext>
              </a:extLst>
            </p:cNvPr>
            <p:cNvSpPr/>
            <p:nvPr/>
          </p:nvSpPr>
          <p:spPr bwMode="gray">
            <a:xfrm>
              <a:off x="0" y="5407887"/>
              <a:ext cx="1292743" cy="79403"/>
            </a:xfrm>
            <a:prstGeom prst="rect">
              <a:avLst/>
            </a:prstGeom>
            <a:solidFill>
              <a:schemeClr val="accent3"/>
            </a:solidFill>
            <a:ln w="10795" cap="flat" cmpd="sng" algn="ctr">
              <a:noFill/>
              <a:prstDash val="solid"/>
            </a:ln>
            <a:effectLst/>
          </p:spPr>
          <p:txBody>
            <a:bodyPr rtlCol="0" anchor="ctr"/>
            <a:lstStyle/>
            <a:p>
              <a:pPr lvl="0" algn="ctr"/>
              <a:endParaRPr lang="en-US" kern="0">
                <a:solidFill>
                  <a:prstClr val="white"/>
                </a:solidFill>
              </a:endParaRPr>
            </a:p>
          </p:txBody>
        </p:sp>
        <p:sp>
          <p:nvSpPr>
            <p:cNvPr id="53" name="Rectangle: Single Corner Rounded 60">
              <a:extLst>
                <a:ext uri="{FF2B5EF4-FFF2-40B4-BE49-F238E27FC236}">
                  <a16:creationId xmlns:a16="http://schemas.microsoft.com/office/drawing/2014/main" id="{E01BF319-8726-4722-B5F8-12237058F4B1}"/>
                </a:ext>
              </a:extLst>
            </p:cNvPr>
            <p:cNvSpPr/>
            <p:nvPr/>
          </p:nvSpPr>
          <p:spPr bwMode="gray">
            <a:xfrm flipV="1">
              <a:off x="1211478" y="2054518"/>
              <a:ext cx="7611126" cy="3432772"/>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4" name="Rectangle: Single Corner Rounded 61">
              <a:extLst>
                <a:ext uri="{FF2B5EF4-FFF2-40B4-BE49-F238E27FC236}">
                  <a16:creationId xmlns:a16="http://schemas.microsoft.com/office/drawing/2014/main" id="{D5A7FA73-0DD4-47C4-9842-78B1C04F2180}"/>
                </a:ext>
              </a:extLst>
            </p:cNvPr>
            <p:cNvSpPr/>
            <p:nvPr/>
          </p:nvSpPr>
          <p:spPr bwMode="gray">
            <a:xfrm flipV="1">
              <a:off x="0" y="-2"/>
              <a:ext cx="8721596" cy="5451177"/>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5" name="first shadow">
              <a:extLst>
                <a:ext uri="{FF2B5EF4-FFF2-40B4-BE49-F238E27FC236}">
                  <a16:creationId xmlns:a16="http://schemas.microsoft.com/office/drawing/2014/main" id="{5C5B9B44-4D0A-482C-A248-4745703ADAE7}"/>
                </a:ext>
              </a:extLst>
            </p:cNvPr>
            <p:cNvSpPr/>
            <p:nvPr/>
          </p:nvSpPr>
          <p:spPr bwMode="gray">
            <a:xfrm flipV="1">
              <a:off x="7985760" y="4211"/>
              <a:ext cx="735836" cy="5446964"/>
            </a:xfrm>
            <a:prstGeom prst="round1Rect">
              <a:avLst>
                <a:gd name="adj" fmla="val 17346"/>
              </a:avLst>
            </a:prstGeom>
            <a:gradFill flip="none" rotWithShape="1">
              <a:gsLst>
                <a:gs pos="89000">
                  <a:schemeClr val="accent3">
                    <a:lumMod val="50000"/>
                  </a:schemeClr>
                </a:gs>
                <a:gs pos="69000">
                  <a:schemeClr val="accent3">
                    <a:lumMod val="50000"/>
                    <a:alpha val="14000"/>
                  </a:schemeClr>
                </a:gs>
                <a:gs pos="50000">
                  <a:schemeClr val="accent3">
                    <a:lumMod val="60000"/>
                    <a:lumOff val="40000"/>
                    <a:alpha val="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56" name="second shadow">
              <a:extLst>
                <a:ext uri="{FF2B5EF4-FFF2-40B4-BE49-F238E27FC236}">
                  <a16:creationId xmlns:a16="http://schemas.microsoft.com/office/drawing/2014/main" id="{254EFBAB-66AB-49CF-957C-C1D77169081F}"/>
                </a:ext>
              </a:extLst>
            </p:cNvPr>
            <p:cNvSpPr/>
            <p:nvPr/>
          </p:nvSpPr>
          <p:spPr bwMode="gray">
            <a:xfrm flipV="1">
              <a:off x="7899306" y="4210"/>
              <a:ext cx="735836" cy="5446965"/>
            </a:xfrm>
            <a:prstGeom prst="round1Rect">
              <a:avLst>
                <a:gd name="adj" fmla="val 5342"/>
              </a:avLst>
            </a:prstGeom>
            <a:gradFill flip="none" rotWithShape="1">
              <a:gsLst>
                <a:gs pos="93000">
                  <a:schemeClr val="accent3">
                    <a:lumMod val="50000"/>
                    <a:alpha val="50000"/>
                  </a:schemeClr>
                </a:gs>
                <a:gs pos="69000">
                  <a:schemeClr val="accent3">
                    <a:lumMod val="50000"/>
                    <a:alpha val="20000"/>
                  </a:schemeClr>
                </a:gs>
                <a:gs pos="20000">
                  <a:schemeClr val="accent3">
                    <a:lumMod val="60000"/>
                    <a:lumOff val="40000"/>
                    <a:alpha val="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2" name="Title 1"/>
          <p:cNvSpPr>
            <a:spLocks noGrp="1"/>
          </p:cNvSpPr>
          <p:nvPr>
            <p:ph type="ctrTitle"/>
          </p:nvPr>
        </p:nvSpPr>
        <p:spPr bwMode="gray">
          <a:xfrm>
            <a:off x="495299" y="2615706"/>
            <a:ext cx="7364367"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95299" y="4195085"/>
            <a:ext cx="7352269"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3"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77118"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0" y="399994"/>
            <a:ext cx="2593918"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25"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81611"/>
            <a:ext cx="2604032"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26"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2233151"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2876466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2793E771-B710-4404-87E3-8DB0DF720742}"/>
              </a:ext>
            </a:extLst>
          </p:cNvPr>
          <p:cNvGrpSpPr/>
          <p:nvPr userDrawn="1"/>
        </p:nvGrpSpPr>
        <p:grpSpPr>
          <a:xfrm>
            <a:off x="-1" y="-2"/>
            <a:ext cx="9773500" cy="6359178"/>
            <a:chOff x="-1" y="-2"/>
            <a:chExt cx="9773500" cy="6359178"/>
          </a:xfrm>
        </p:grpSpPr>
        <p:pic>
          <p:nvPicPr>
            <p:cNvPr id="35" name="Picture 34">
              <a:extLst>
                <a:ext uri="{FF2B5EF4-FFF2-40B4-BE49-F238E27FC236}">
                  <a16:creationId xmlns:a16="http://schemas.microsoft.com/office/drawing/2014/main" id="{E8FAA042-A6C1-4734-AADE-1D848F96BBB3}"/>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36" name="Rectangle 35">
              <a:extLst>
                <a:ext uri="{FF2B5EF4-FFF2-40B4-BE49-F238E27FC236}">
                  <a16:creationId xmlns:a16="http://schemas.microsoft.com/office/drawing/2014/main" id="{99DE6B5E-7055-4B8F-B390-B2ED964BC3AD}"/>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37" name="Rectangle: Single Corner Rounded 55">
              <a:extLst>
                <a:ext uri="{FF2B5EF4-FFF2-40B4-BE49-F238E27FC236}">
                  <a16:creationId xmlns:a16="http://schemas.microsoft.com/office/drawing/2014/main" id="{5CF2812A-400D-4064-AEC2-606067B39B6F}"/>
                </a:ext>
              </a:extLst>
            </p:cNvPr>
            <p:cNvSpPr/>
            <p:nvPr userDrawn="1"/>
          </p:nvSpPr>
          <p:spPr bwMode="gray">
            <a:xfrm flipV="1">
              <a:off x="-1" y="0"/>
              <a:ext cx="9567417" cy="6266834"/>
            </a:xfrm>
            <a:prstGeom prst="round1Rect">
              <a:avLst>
                <a:gd name="adj" fmla="val 2054"/>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39" name="Rectangle: Single Corner Rounded 49">
              <a:extLst>
                <a:ext uri="{FF2B5EF4-FFF2-40B4-BE49-F238E27FC236}">
                  <a16:creationId xmlns:a16="http://schemas.microsoft.com/office/drawing/2014/main" id="{11F321D1-D092-4D69-B5FC-A7AFD661F1D1}"/>
                </a:ext>
              </a:extLst>
            </p:cNvPr>
            <p:cNvSpPr/>
            <p:nvPr userDrawn="1"/>
          </p:nvSpPr>
          <p:spPr bwMode="gray">
            <a:xfrm flipV="1">
              <a:off x="9306878" y="0"/>
              <a:ext cx="260539" cy="6267118"/>
            </a:xfrm>
            <a:prstGeom prst="round1Rect">
              <a:avLst>
                <a:gd name="adj" fmla="val 49135"/>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40" name="Rectangle 39">
              <a:extLst>
                <a:ext uri="{FF2B5EF4-FFF2-40B4-BE49-F238E27FC236}">
                  <a16:creationId xmlns:a16="http://schemas.microsoft.com/office/drawing/2014/main" id="{8C9A8FBA-A88D-4C4A-857C-A3F42FB3723E}"/>
                </a:ext>
              </a:extLst>
            </p:cNvPr>
            <p:cNvSpPr/>
            <p:nvPr/>
          </p:nvSpPr>
          <p:spPr bwMode="gray">
            <a:xfrm>
              <a:off x="8707342" y="-1"/>
              <a:ext cx="115262" cy="2105026"/>
            </a:xfrm>
            <a:prstGeom prst="rect">
              <a:avLst/>
            </a:prstGeom>
            <a:solidFill>
              <a:schemeClr val="accent6">
                <a:lumMod val="75000"/>
              </a:schemeClr>
            </a:solidFill>
            <a:ln w="10795" cap="flat" cmpd="sng" algn="ctr">
              <a:noFill/>
              <a:prstDash val="solid"/>
            </a:ln>
            <a:effectLst/>
          </p:spPr>
          <p:txBody>
            <a:bodyPr rtlCol="0" anchor="ctr"/>
            <a:lstStyle/>
            <a:p>
              <a:pPr lvl="0" algn="ctr"/>
              <a:endParaRPr lang="en-US" kern="0">
                <a:solidFill>
                  <a:prstClr val="white"/>
                </a:solidFill>
              </a:endParaRPr>
            </a:p>
          </p:txBody>
        </p:sp>
        <p:sp>
          <p:nvSpPr>
            <p:cNvPr id="41" name="Rectangle 40">
              <a:extLst>
                <a:ext uri="{FF2B5EF4-FFF2-40B4-BE49-F238E27FC236}">
                  <a16:creationId xmlns:a16="http://schemas.microsoft.com/office/drawing/2014/main" id="{63F20C19-5E23-48A6-AEE2-0630BD0E2700}"/>
                </a:ext>
              </a:extLst>
            </p:cNvPr>
            <p:cNvSpPr/>
            <p:nvPr/>
          </p:nvSpPr>
          <p:spPr bwMode="gray">
            <a:xfrm>
              <a:off x="0" y="5407887"/>
              <a:ext cx="1292743" cy="79403"/>
            </a:xfrm>
            <a:prstGeom prst="rect">
              <a:avLst/>
            </a:prstGeom>
            <a:solidFill>
              <a:schemeClr val="accent6">
                <a:lumMod val="75000"/>
              </a:schemeClr>
            </a:solidFill>
            <a:ln w="10795" cap="flat" cmpd="sng" algn="ctr">
              <a:noFill/>
              <a:prstDash val="solid"/>
            </a:ln>
            <a:effectLst/>
          </p:spPr>
          <p:txBody>
            <a:bodyPr rtlCol="0" anchor="ctr"/>
            <a:lstStyle/>
            <a:p>
              <a:pPr lvl="0" algn="ctr"/>
              <a:endParaRPr lang="en-US" kern="0">
                <a:solidFill>
                  <a:prstClr val="white"/>
                </a:solidFill>
              </a:endParaRPr>
            </a:p>
          </p:txBody>
        </p:sp>
        <p:sp>
          <p:nvSpPr>
            <p:cNvPr id="42" name="Rectangle: Single Corner Rounded 60">
              <a:extLst>
                <a:ext uri="{FF2B5EF4-FFF2-40B4-BE49-F238E27FC236}">
                  <a16:creationId xmlns:a16="http://schemas.microsoft.com/office/drawing/2014/main" id="{CA4A2B4B-5201-4397-86ED-75EC772392D2}"/>
                </a:ext>
              </a:extLst>
            </p:cNvPr>
            <p:cNvSpPr/>
            <p:nvPr/>
          </p:nvSpPr>
          <p:spPr bwMode="gray">
            <a:xfrm flipV="1">
              <a:off x="1211478" y="2054518"/>
              <a:ext cx="7611126" cy="3432772"/>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43" name="Rectangle: Single Corner Rounded 61">
              <a:extLst>
                <a:ext uri="{FF2B5EF4-FFF2-40B4-BE49-F238E27FC236}">
                  <a16:creationId xmlns:a16="http://schemas.microsoft.com/office/drawing/2014/main" id="{C3DA4C64-D5A0-4294-9DFB-DA095FC1268F}"/>
                </a:ext>
              </a:extLst>
            </p:cNvPr>
            <p:cNvSpPr/>
            <p:nvPr/>
          </p:nvSpPr>
          <p:spPr bwMode="gray">
            <a:xfrm flipV="1">
              <a:off x="0" y="-2"/>
              <a:ext cx="8721596" cy="5451177"/>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44" name="second shadow">
              <a:extLst>
                <a:ext uri="{FF2B5EF4-FFF2-40B4-BE49-F238E27FC236}">
                  <a16:creationId xmlns:a16="http://schemas.microsoft.com/office/drawing/2014/main" id="{A0C385E7-4117-4A73-B313-58B39600984F}"/>
                </a:ext>
              </a:extLst>
            </p:cNvPr>
            <p:cNvSpPr/>
            <p:nvPr/>
          </p:nvSpPr>
          <p:spPr bwMode="gray">
            <a:xfrm flipV="1">
              <a:off x="7985760" y="4210"/>
              <a:ext cx="735836" cy="5446965"/>
            </a:xfrm>
            <a:prstGeom prst="round1Rect">
              <a:avLst>
                <a:gd name="adj" fmla="val 17397"/>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45" name="first shadow">
              <a:extLst>
                <a:ext uri="{FF2B5EF4-FFF2-40B4-BE49-F238E27FC236}">
                  <a16:creationId xmlns:a16="http://schemas.microsoft.com/office/drawing/2014/main" id="{9DBF6BFC-1FF3-4697-9516-AD4CAB4E894F}"/>
                </a:ext>
              </a:extLst>
            </p:cNvPr>
            <p:cNvSpPr/>
            <p:nvPr/>
          </p:nvSpPr>
          <p:spPr bwMode="gray">
            <a:xfrm flipV="1">
              <a:off x="7985760" y="4211"/>
              <a:ext cx="735836" cy="5446964"/>
            </a:xfrm>
            <a:prstGeom prst="round1Rect">
              <a:avLst>
                <a:gd name="adj" fmla="val 17346"/>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2" name="Title 1"/>
          <p:cNvSpPr>
            <a:spLocks noGrp="1"/>
          </p:cNvSpPr>
          <p:nvPr>
            <p:ph type="ctrTitle"/>
          </p:nvPr>
        </p:nvSpPr>
        <p:spPr bwMode="gray">
          <a:xfrm>
            <a:off x="495299" y="2615706"/>
            <a:ext cx="7364367"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95299" y="4195085"/>
            <a:ext cx="7352269"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3"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77118"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5"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0" y="399994"/>
            <a:ext cx="2593918"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26"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81611"/>
            <a:ext cx="2604032"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27"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2233151"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297954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63998-8F5A-FD4C-B33C-31783B4496BE}"/>
              </a:ext>
            </a:extLst>
          </p:cNvPr>
          <p:cNvSpPr>
            <a:spLocks noGrp="1"/>
          </p:cNvSpPr>
          <p:nvPr>
            <p:ph type="title"/>
          </p:nvPr>
        </p:nvSpPr>
        <p:spPr>
          <a:xfrm>
            <a:off x="475488" y="1335024"/>
            <a:ext cx="6446012" cy="594360"/>
          </a:xfrm>
        </p:spPr>
        <p:txBody>
          <a:bodyPr/>
          <a:lstStyle>
            <a:lvl1pPr>
              <a:defRPr sz="4400">
                <a:solidFill>
                  <a:schemeClr val="bg1"/>
                </a:solidFill>
              </a:defRPr>
            </a:lvl1pPr>
          </a:lstStyle>
          <a:p>
            <a:r>
              <a:rPr lang="en-US"/>
              <a:t>Click to edit Master title style</a:t>
            </a:r>
          </a:p>
        </p:txBody>
      </p:sp>
      <p:grpSp>
        <p:nvGrpSpPr>
          <p:cNvPr id="3" name="Group 2">
            <a:extLst>
              <a:ext uri="{FF2B5EF4-FFF2-40B4-BE49-F238E27FC236}">
                <a16:creationId xmlns:a16="http://schemas.microsoft.com/office/drawing/2014/main" id="{5A93E1C6-A3D1-164B-8E89-BD052B9AC8EA}"/>
              </a:ext>
            </a:extLst>
          </p:cNvPr>
          <p:cNvGrpSpPr/>
          <p:nvPr userDrawn="1"/>
        </p:nvGrpSpPr>
        <p:grpSpPr>
          <a:xfrm>
            <a:off x="7522778" y="-920"/>
            <a:ext cx="4669221" cy="6870764"/>
            <a:chOff x="5462564" y="-12764"/>
            <a:chExt cx="6729436" cy="6870764"/>
          </a:xfrm>
        </p:grpSpPr>
        <p:sp>
          <p:nvSpPr>
            <p:cNvPr id="4" name="Rectangle 3">
              <a:extLst>
                <a:ext uri="{FF2B5EF4-FFF2-40B4-BE49-F238E27FC236}">
                  <a16:creationId xmlns:a16="http://schemas.microsoft.com/office/drawing/2014/main" id="{21308D66-143B-A349-ACCD-3D00D906A092}"/>
                </a:ext>
              </a:extLst>
            </p:cNvPr>
            <p:cNvSpPr/>
            <p:nvPr/>
          </p:nvSpPr>
          <p:spPr>
            <a:xfrm>
              <a:off x="5462564" y="-11608"/>
              <a:ext cx="4325234"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grpSp>
          <p:nvGrpSpPr>
            <p:cNvPr id="5" name="Group 4">
              <a:extLst>
                <a:ext uri="{FF2B5EF4-FFF2-40B4-BE49-F238E27FC236}">
                  <a16:creationId xmlns:a16="http://schemas.microsoft.com/office/drawing/2014/main" id="{CC9B2647-16EA-5C46-8F4A-A8D2C0157586}"/>
                </a:ext>
              </a:extLst>
            </p:cNvPr>
            <p:cNvGrpSpPr/>
            <p:nvPr/>
          </p:nvGrpSpPr>
          <p:grpSpPr>
            <a:xfrm>
              <a:off x="8445134" y="-12764"/>
              <a:ext cx="3746866" cy="6870764"/>
              <a:chOff x="15768661" y="-13236"/>
              <a:chExt cx="4806927" cy="6871236"/>
            </a:xfrm>
          </p:grpSpPr>
          <p:sp>
            <p:nvSpPr>
              <p:cNvPr id="6" name="Rectangle 5">
                <a:extLst>
                  <a:ext uri="{FF2B5EF4-FFF2-40B4-BE49-F238E27FC236}">
                    <a16:creationId xmlns:a16="http://schemas.microsoft.com/office/drawing/2014/main" id="{491A9D0B-FE28-9048-B13B-E76F407CA744}"/>
                  </a:ext>
                </a:extLst>
              </p:cNvPr>
              <p:cNvSpPr/>
              <p:nvPr/>
            </p:nvSpPr>
            <p:spPr>
              <a:xfrm>
                <a:off x="16222663" y="-13236"/>
                <a:ext cx="4352925" cy="68603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grpSp>
            <p:nvGrpSpPr>
              <p:cNvPr id="7" name="Group 6">
                <a:extLst>
                  <a:ext uri="{FF2B5EF4-FFF2-40B4-BE49-F238E27FC236}">
                    <a16:creationId xmlns:a16="http://schemas.microsoft.com/office/drawing/2014/main" id="{93737A5A-88F9-B046-944C-16EB358A2786}"/>
                  </a:ext>
                </a:extLst>
              </p:cNvPr>
              <p:cNvGrpSpPr/>
              <p:nvPr/>
            </p:nvGrpSpPr>
            <p:grpSpPr>
              <a:xfrm>
                <a:off x="15768661" y="0"/>
                <a:ext cx="484187" cy="6858000"/>
                <a:chOff x="15033297" y="-7212"/>
                <a:chExt cx="546293" cy="6858000"/>
              </a:xfrm>
            </p:grpSpPr>
            <p:sp>
              <p:nvSpPr>
                <p:cNvPr id="8" name="Rectangle 7">
                  <a:extLst>
                    <a:ext uri="{FF2B5EF4-FFF2-40B4-BE49-F238E27FC236}">
                      <a16:creationId xmlns:a16="http://schemas.microsoft.com/office/drawing/2014/main" id="{32EA7CB1-916D-F14D-9A7B-26FFFDD0DCFF}"/>
                    </a:ext>
                  </a:extLst>
                </p:cNvPr>
                <p:cNvSpPr/>
                <p:nvPr/>
              </p:nvSpPr>
              <p:spPr>
                <a:xfrm>
                  <a:off x="15033297" y="-7212"/>
                  <a:ext cx="420624" cy="6858000"/>
                </a:xfrm>
                <a:prstGeom prst="rect">
                  <a:avLst/>
                </a:prstGeom>
                <a:gradFill flip="none" rotWithShape="1">
                  <a:gsLst>
                    <a:gs pos="0">
                      <a:schemeClr val="accent2"/>
                    </a:gs>
                    <a:gs pos="100000">
                      <a:schemeClr val="accent1">
                        <a:lumMod val="50000"/>
                        <a:alpha val="4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Microsoft Sans Serif"/>
                  </a:endParaRPr>
                </a:p>
              </p:txBody>
            </p:sp>
            <p:sp>
              <p:nvSpPr>
                <p:cNvPr id="9" name="Rectangle 8">
                  <a:extLst>
                    <a:ext uri="{FF2B5EF4-FFF2-40B4-BE49-F238E27FC236}">
                      <a16:creationId xmlns:a16="http://schemas.microsoft.com/office/drawing/2014/main" id="{9279531B-F556-484A-95DC-4AB9C9F518E1}"/>
                    </a:ext>
                  </a:extLst>
                </p:cNvPr>
                <p:cNvSpPr/>
                <p:nvPr/>
              </p:nvSpPr>
              <p:spPr>
                <a:xfrm>
                  <a:off x="15447233" y="-7212"/>
                  <a:ext cx="132357" cy="6858000"/>
                </a:xfrm>
                <a:prstGeom prst="rect">
                  <a:avLst/>
                </a:prstGeom>
                <a:gradFill flip="none" rotWithShape="1">
                  <a:gsLst>
                    <a:gs pos="0">
                      <a:schemeClr val="accent6"/>
                    </a:gs>
                    <a:gs pos="100000">
                      <a:schemeClr val="accent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a:solidFill>
                      <a:srgbClr val="FFFFFF"/>
                    </a:solidFill>
                    <a:latin typeface="Microsoft Sans Serif"/>
                  </a:endParaRPr>
                </a:p>
              </p:txBody>
            </p:sp>
          </p:grpSp>
        </p:grpSp>
      </p:grpSp>
      <p:sp>
        <p:nvSpPr>
          <p:cNvPr id="14" name="Rectangle 13">
            <a:extLst>
              <a:ext uri="{FF2B5EF4-FFF2-40B4-BE49-F238E27FC236}">
                <a16:creationId xmlns:a16="http://schemas.microsoft.com/office/drawing/2014/main" id="{78781CA6-2552-B240-8CD1-CBA5475521FA}"/>
              </a:ext>
            </a:extLst>
          </p:cNvPr>
          <p:cNvSpPr/>
          <p:nvPr userDrawn="1"/>
        </p:nvSpPr>
        <p:spPr bwMode="gray">
          <a:xfrm>
            <a:off x="9613148" y="0"/>
            <a:ext cx="239626" cy="6858000"/>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5" name="Rectangle: Single Corner Rounded 49">
            <a:extLst>
              <a:ext uri="{FF2B5EF4-FFF2-40B4-BE49-F238E27FC236}">
                <a16:creationId xmlns:a16="http://schemas.microsoft.com/office/drawing/2014/main" id="{E11A87ED-2B2A-0D4A-AEB1-DFE657558AA3}"/>
              </a:ext>
            </a:extLst>
          </p:cNvPr>
          <p:cNvSpPr/>
          <p:nvPr userDrawn="1"/>
        </p:nvSpPr>
        <p:spPr bwMode="gray">
          <a:xfrm flipV="1">
            <a:off x="9386074" y="0"/>
            <a:ext cx="260539" cy="6858000"/>
          </a:xfrm>
          <a:prstGeom prst="round1Rect">
            <a:avLst>
              <a:gd name="adj" fmla="val 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16" name="Rectangle 15">
            <a:extLst>
              <a:ext uri="{FF2B5EF4-FFF2-40B4-BE49-F238E27FC236}">
                <a16:creationId xmlns:a16="http://schemas.microsoft.com/office/drawing/2014/main" id="{C9709544-6C78-6B4F-8C2C-BCA04029680B}"/>
              </a:ext>
            </a:extLst>
          </p:cNvPr>
          <p:cNvSpPr/>
          <p:nvPr userDrawn="1"/>
        </p:nvSpPr>
        <p:spPr bwMode="gray">
          <a:xfrm>
            <a:off x="7452672" y="0"/>
            <a:ext cx="115262" cy="6858000"/>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first shadow">
            <a:extLst>
              <a:ext uri="{FF2B5EF4-FFF2-40B4-BE49-F238E27FC236}">
                <a16:creationId xmlns:a16="http://schemas.microsoft.com/office/drawing/2014/main" id="{1B057A29-ABA9-8449-ADF9-919A1C7AC24F}"/>
              </a:ext>
            </a:extLst>
          </p:cNvPr>
          <p:cNvSpPr/>
          <p:nvPr userDrawn="1"/>
        </p:nvSpPr>
        <p:spPr bwMode="gray">
          <a:xfrm flipV="1">
            <a:off x="6731090" y="0"/>
            <a:ext cx="735836" cy="6858000"/>
          </a:xfrm>
          <a:prstGeom prst="round1Rect">
            <a:avLst>
              <a:gd name="adj" fmla="val 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18" name="second shadow">
            <a:extLst>
              <a:ext uri="{FF2B5EF4-FFF2-40B4-BE49-F238E27FC236}">
                <a16:creationId xmlns:a16="http://schemas.microsoft.com/office/drawing/2014/main" id="{AE250EE7-4942-4E49-BDB1-851A7B508C77}"/>
              </a:ext>
            </a:extLst>
          </p:cNvPr>
          <p:cNvSpPr/>
          <p:nvPr userDrawn="1"/>
        </p:nvSpPr>
        <p:spPr bwMode="gray">
          <a:xfrm flipV="1">
            <a:off x="6644636" y="0"/>
            <a:ext cx="735836" cy="6858000"/>
          </a:xfrm>
          <a:prstGeom prst="round1Rect">
            <a:avLst>
              <a:gd name="adj" fmla="val 0"/>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0" name="Content Placeholder 19">
            <a:extLst>
              <a:ext uri="{FF2B5EF4-FFF2-40B4-BE49-F238E27FC236}">
                <a16:creationId xmlns:a16="http://schemas.microsoft.com/office/drawing/2014/main" id="{844D2DF1-213C-E34C-914C-F604B1F3F8D8}"/>
              </a:ext>
            </a:extLst>
          </p:cNvPr>
          <p:cNvSpPr>
            <a:spLocks noGrp="1"/>
          </p:cNvSpPr>
          <p:nvPr>
            <p:ph sz="quarter" idx="10"/>
          </p:nvPr>
        </p:nvSpPr>
        <p:spPr>
          <a:xfrm>
            <a:off x="530352" y="2368296"/>
            <a:ext cx="6391148" cy="4187952"/>
          </a:xfr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AA669E30-24D5-41CE-A6F5-96B1F5D7AD7B}"/>
              </a:ext>
            </a:extLst>
          </p:cNvPr>
          <p:cNvCxnSpPr>
            <a:cxnSpLocks/>
          </p:cNvCxnSpPr>
          <p:nvPr userDrawn="1"/>
        </p:nvCxnSpPr>
        <p:spPr>
          <a:xfrm>
            <a:off x="501650" y="2171019"/>
            <a:ext cx="6419850" cy="0"/>
          </a:xfrm>
          <a:prstGeom prst="line">
            <a:avLst/>
          </a:prstGeom>
          <a:ln w="12700" cap="rnd">
            <a:solidFill>
              <a:schemeClr val="accent2">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9" name="Freeform 5">
            <a:extLst>
              <a:ext uri="{FF2B5EF4-FFF2-40B4-BE49-F238E27FC236}">
                <a16:creationId xmlns:a16="http://schemas.microsoft.com/office/drawing/2014/main" id="{5013295B-6C6F-4B08-9856-F9CD55E0E2BC}"/>
              </a:ext>
            </a:extLst>
          </p:cNvPr>
          <p:cNvSpPr>
            <a:spLocks noEditPoints="1"/>
          </p:cNvSpPr>
          <p:nvPr userDrawn="1"/>
        </p:nvSpPr>
        <p:spPr bwMode="gray">
          <a:xfrm>
            <a:off x="10377118"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61392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Agenda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C0B89-6FFF-1040-8C71-AFAB7561ABD6}"/>
              </a:ext>
            </a:extLst>
          </p:cNvPr>
          <p:cNvSpPr>
            <a:spLocks noGrp="1"/>
          </p:cNvSpPr>
          <p:nvPr>
            <p:ph type="title"/>
          </p:nvPr>
        </p:nvSpPr>
        <p:spPr>
          <a:xfrm>
            <a:off x="3694176" y="1335024"/>
            <a:ext cx="6037874" cy="594360"/>
          </a:xfrm>
        </p:spPr>
        <p:txBody>
          <a:bodyPr/>
          <a:lstStyle>
            <a:lvl1pPr>
              <a:defRPr sz="4400"/>
            </a:lvl1pPr>
          </a:lstStyle>
          <a:p>
            <a:r>
              <a:rPr lang="en-US"/>
              <a:t>Click to edit Master title style</a:t>
            </a:r>
          </a:p>
        </p:txBody>
      </p:sp>
      <p:sp>
        <p:nvSpPr>
          <p:cNvPr id="4" name="Rectangle 3">
            <a:extLst>
              <a:ext uri="{FF2B5EF4-FFF2-40B4-BE49-F238E27FC236}">
                <a16:creationId xmlns:a16="http://schemas.microsoft.com/office/drawing/2014/main" id="{7B1049BD-3954-CA4D-8094-F10C1A4300C1}"/>
              </a:ext>
            </a:extLst>
          </p:cNvPr>
          <p:cNvSpPr/>
          <p:nvPr/>
        </p:nvSpPr>
        <p:spPr>
          <a:xfrm>
            <a:off x="2" y="-1841"/>
            <a:ext cx="1565982" cy="68598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574874" y="-1"/>
            <a:ext cx="1507861"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FE9D0CB0-3711-A044-9F3E-977FDF112553}"/>
              </a:ext>
            </a:extLst>
          </p:cNvPr>
          <p:cNvSpPr/>
          <p:nvPr/>
        </p:nvSpPr>
        <p:spPr>
          <a:xfrm>
            <a:off x="1565985" y="-1"/>
            <a:ext cx="42394" cy="6857529"/>
          </a:xfrm>
          <a:prstGeom prst="rect">
            <a:avLst/>
          </a:prstGeom>
          <a:gradFill flip="none" rotWithShape="1">
            <a:gsLst>
              <a:gs pos="0">
                <a:schemeClr val="accent1">
                  <a:lumMod val="75000"/>
                </a:schemeClr>
              </a:gs>
              <a:gs pos="100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a:solidFill>
                <a:srgbClr val="FFFFFF"/>
              </a:solidFill>
              <a:latin typeface="Microsoft Sans Serif"/>
            </a:endParaRPr>
          </a:p>
        </p:txBody>
      </p:sp>
      <p:sp>
        <p:nvSpPr>
          <p:cNvPr id="8" name="Rectangle 7">
            <a:extLst>
              <a:ext uri="{FF2B5EF4-FFF2-40B4-BE49-F238E27FC236}">
                <a16:creationId xmlns:a16="http://schemas.microsoft.com/office/drawing/2014/main" id="{78AD5883-9939-3046-B245-EBF728A6D370}"/>
              </a:ext>
            </a:extLst>
          </p:cNvPr>
          <p:cNvSpPr/>
          <p:nvPr/>
        </p:nvSpPr>
        <p:spPr bwMode="gray">
          <a:xfrm>
            <a:off x="2843109" y="0"/>
            <a:ext cx="239626" cy="6858000"/>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9" name="Rectangle: Single Corner Rounded 49">
            <a:extLst>
              <a:ext uri="{FF2B5EF4-FFF2-40B4-BE49-F238E27FC236}">
                <a16:creationId xmlns:a16="http://schemas.microsoft.com/office/drawing/2014/main" id="{CC2CF534-2BFE-AC47-85B3-37A7F3E9E505}"/>
              </a:ext>
            </a:extLst>
          </p:cNvPr>
          <p:cNvSpPr/>
          <p:nvPr/>
        </p:nvSpPr>
        <p:spPr bwMode="gray">
          <a:xfrm flipV="1">
            <a:off x="2619142" y="0"/>
            <a:ext cx="260539" cy="6857528"/>
          </a:xfrm>
          <a:prstGeom prst="round1Rect">
            <a:avLst>
              <a:gd name="adj" fmla="val 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10" name="Rectangle 9">
            <a:extLst>
              <a:ext uri="{FF2B5EF4-FFF2-40B4-BE49-F238E27FC236}">
                <a16:creationId xmlns:a16="http://schemas.microsoft.com/office/drawing/2014/main" id="{926041EC-2268-D845-B4C6-5266BA58EE6D}"/>
              </a:ext>
            </a:extLst>
          </p:cNvPr>
          <p:cNvSpPr/>
          <p:nvPr/>
        </p:nvSpPr>
        <p:spPr bwMode="gray">
          <a:xfrm>
            <a:off x="1497865" y="0"/>
            <a:ext cx="115262" cy="6858000"/>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1" name="first shadow">
            <a:extLst>
              <a:ext uri="{FF2B5EF4-FFF2-40B4-BE49-F238E27FC236}">
                <a16:creationId xmlns:a16="http://schemas.microsoft.com/office/drawing/2014/main" id="{DFFDA9EE-20C4-6D45-A683-3B4C8D83509B}"/>
              </a:ext>
            </a:extLst>
          </p:cNvPr>
          <p:cNvSpPr/>
          <p:nvPr/>
        </p:nvSpPr>
        <p:spPr bwMode="gray">
          <a:xfrm flipV="1">
            <a:off x="776283" y="-1"/>
            <a:ext cx="735836" cy="6858000"/>
          </a:xfrm>
          <a:prstGeom prst="round1Rect">
            <a:avLst>
              <a:gd name="adj" fmla="val 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12" name="second shadow">
            <a:extLst>
              <a:ext uri="{FF2B5EF4-FFF2-40B4-BE49-F238E27FC236}">
                <a16:creationId xmlns:a16="http://schemas.microsoft.com/office/drawing/2014/main" id="{150A98F0-857F-D240-B858-BC67B7655A78}"/>
              </a:ext>
            </a:extLst>
          </p:cNvPr>
          <p:cNvSpPr/>
          <p:nvPr/>
        </p:nvSpPr>
        <p:spPr bwMode="gray">
          <a:xfrm flipV="1">
            <a:off x="689829" y="-1"/>
            <a:ext cx="735836" cy="6858000"/>
          </a:xfrm>
          <a:prstGeom prst="round1Rect">
            <a:avLst>
              <a:gd name="adj" fmla="val 0"/>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8" y="2368296"/>
            <a:ext cx="6010442" cy="4187952"/>
          </a:xfr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lvl1pPr>
            <a:lvl2pPr marL="173736" indent="-173736">
              <a:lnSpc>
                <a:spcPct val="107000"/>
              </a:lnSpc>
              <a:spcBef>
                <a:spcPts val="0"/>
              </a:spcBef>
              <a:spcAft>
                <a:spcPts val="1800"/>
              </a:spcAft>
              <a:buClr>
                <a:schemeClr val="accent2"/>
              </a:buClr>
              <a:buFont typeface="Arial" panose="020B0604020202020204" pitchFamily="34" charset="0"/>
              <a:buChar char="•"/>
              <a:defRPr sz="1800"/>
            </a:lvl2pPr>
            <a:lvl3pPr marL="173736" indent="-173736">
              <a:lnSpc>
                <a:spcPct val="107000"/>
              </a:lnSpc>
              <a:spcBef>
                <a:spcPts val="0"/>
              </a:spcBef>
              <a:spcAft>
                <a:spcPts val="1800"/>
              </a:spcAft>
              <a:buClr>
                <a:schemeClr val="accent2"/>
              </a:buClr>
              <a:buFont typeface="Arial" panose="020B0604020202020204" pitchFamily="34" charset="0"/>
              <a:buChar char="•"/>
              <a:defRPr sz="1800"/>
            </a:lvl3pPr>
            <a:lvl4pPr marL="173736" indent="-173736">
              <a:lnSpc>
                <a:spcPct val="107000"/>
              </a:lnSpc>
              <a:spcBef>
                <a:spcPts val="0"/>
              </a:spcBef>
              <a:spcAft>
                <a:spcPts val="1800"/>
              </a:spcAft>
              <a:buClr>
                <a:schemeClr val="accent2"/>
              </a:buClr>
              <a:buFont typeface="Arial" panose="020B0604020202020204" pitchFamily="34" charset="0"/>
              <a:buChar char="•"/>
              <a:defRPr sz="1800"/>
            </a:lvl4pPr>
            <a:lvl5pPr marL="173736" indent="-173736">
              <a:lnSpc>
                <a:spcPct val="107000"/>
              </a:lnSpc>
              <a:spcBef>
                <a:spcPts val="0"/>
              </a:spcBef>
              <a:spcAft>
                <a:spcPts val="1800"/>
              </a:spcAft>
              <a:buClr>
                <a:schemeClr val="accent2"/>
              </a:buClr>
              <a:buFont typeface="Arial" panose="020B0604020202020204" pitchFamily="34" charset="0"/>
              <a:buChar cha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469BC1CA-B220-493E-8432-635008584584}"/>
              </a:ext>
            </a:extLst>
          </p:cNvPr>
          <p:cNvCxnSpPr>
            <a:cxnSpLocks/>
          </p:cNvCxnSpPr>
          <p:nvPr userDrawn="1"/>
        </p:nvCxnSpPr>
        <p:spPr>
          <a:xfrm>
            <a:off x="3711633" y="2171019"/>
            <a:ext cx="6051402"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414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8B39B602-3E9F-4A6B-B2D9-E79AEF4E653B}"/>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5299" y="1132232"/>
            <a:ext cx="11187113"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3748625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95300" y="820848"/>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5299" y="1377504"/>
            <a:ext cx="11187113"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grpSp>
        <p:nvGrpSpPr>
          <p:cNvPr id="7" name="Group 6">
            <a:extLst>
              <a:ext uri="{FF2B5EF4-FFF2-40B4-BE49-F238E27FC236}">
                <a16:creationId xmlns:a16="http://schemas.microsoft.com/office/drawing/2014/main" id="{1EF21AD7-019A-49D5-AE4D-DBECBB645020}"/>
              </a:ext>
            </a:extLst>
          </p:cNvPr>
          <p:cNvGrpSpPr/>
          <p:nvPr userDrawn="1"/>
        </p:nvGrpSpPr>
        <p:grpSpPr>
          <a:xfrm>
            <a:off x="9044735" y="196357"/>
            <a:ext cx="2651965" cy="510948"/>
            <a:chOff x="7933267" y="-1764080"/>
            <a:chExt cx="6936119" cy="1336366"/>
          </a:xfrm>
        </p:grpSpPr>
        <p:cxnSp>
          <p:nvCxnSpPr>
            <p:cNvPr id="8" name="Straight Arrow Connector 7">
              <a:extLst>
                <a:ext uri="{FF2B5EF4-FFF2-40B4-BE49-F238E27FC236}">
                  <a16:creationId xmlns:a16="http://schemas.microsoft.com/office/drawing/2014/main" id="{BBF25DCF-389F-499B-B3C6-CDA38B0F6CA7}"/>
                </a:ext>
              </a:extLst>
            </p:cNvPr>
            <p:cNvCxnSpPr>
              <a:cxnSpLocks/>
            </p:cNvCxnSpPr>
            <p:nvPr/>
          </p:nvCxnSpPr>
          <p:spPr>
            <a:xfrm>
              <a:off x="7933267" y="-1453476"/>
              <a:ext cx="6936119" cy="0"/>
            </a:xfrm>
            <a:prstGeom prst="straightConnector1">
              <a:avLst/>
            </a:prstGeom>
            <a:ln w="25400" cmpd="sng">
              <a:solidFill>
                <a:schemeClr val="accent6"/>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DA69E88-806B-46A5-B7FF-42F7574B7F5E}"/>
                </a:ext>
              </a:extLst>
            </p:cNvPr>
            <p:cNvGrpSpPr/>
            <p:nvPr/>
          </p:nvGrpSpPr>
          <p:grpSpPr>
            <a:xfrm>
              <a:off x="8542521" y="-1764080"/>
              <a:ext cx="742091" cy="1030474"/>
              <a:chOff x="4277996" y="-1764080"/>
              <a:chExt cx="742091" cy="1030474"/>
            </a:xfrm>
          </p:grpSpPr>
          <p:sp>
            <p:nvSpPr>
              <p:cNvPr id="30" name="TextBox 29">
                <a:extLst>
                  <a:ext uri="{FF2B5EF4-FFF2-40B4-BE49-F238E27FC236}">
                    <a16:creationId xmlns:a16="http://schemas.microsoft.com/office/drawing/2014/main" id="{BC1A5AA6-DD7C-4E63-97AB-406AA705F694}"/>
                  </a:ext>
                </a:extLst>
              </p:cNvPr>
              <p:cNvSpPr txBox="1"/>
              <p:nvPr/>
            </p:nvSpPr>
            <p:spPr>
              <a:xfrm>
                <a:off x="4277996" y="-1039497"/>
                <a:ext cx="742091" cy="305891"/>
              </a:xfrm>
              <a:prstGeom prst="rect">
                <a:avLst/>
              </a:prstGeom>
              <a:noFill/>
            </p:spPr>
            <p:txBody>
              <a:bodyPr wrap="none" lIns="0" tIns="0" rIns="0" bIns="0" rtlCol="0">
                <a:spAutoFit/>
              </a:bodyPr>
              <a:lstStyle/>
              <a:p>
                <a:pPr marL="0" marR="0" lvl="0" indent="0" algn="ctr" defTabSz="914400" rtl="0" eaLnBrk="1" fontAlgn="auto" latinLnBrk="0" hangingPunct="1">
                  <a:lnSpc>
                    <a:spcPct val="95000"/>
                  </a:lnSpc>
                  <a:spcBef>
                    <a:spcPts val="1200"/>
                  </a:spcBef>
                  <a:spcAft>
                    <a:spcPts val="0"/>
                  </a:spcAft>
                  <a:buClrTx/>
                  <a:buSzTx/>
                  <a:buFontTx/>
                  <a:buNone/>
                  <a:tabLst/>
                  <a:defRPr/>
                </a:pPr>
                <a:r>
                  <a:rPr kumimoji="0" lang="en-US" sz="800" b="0" i="0" u="none" strike="noStrike" kern="1200" cap="none" spc="0" normalizeH="0" baseline="0" noProof="0">
                    <a:ln>
                      <a:noFill/>
                    </a:ln>
                    <a:solidFill>
                      <a:schemeClr val="accent6"/>
                    </a:solidFill>
                    <a:uLnTx/>
                    <a:uFillTx/>
                    <a:latin typeface="Microsoft Sans Serif"/>
                    <a:ea typeface="+mn-ea"/>
                    <a:cs typeface="+mn-cs"/>
                  </a:rPr>
                  <a:t>Vision</a:t>
                </a:r>
              </a:p>
            </p:txBody>
          </p:sp>
          <p:sp>
            <p:nvSpPr>
              <p:cNvPr id="33" name="Oval 32">
                <a:extLst>
                  <a:ext uri="{FF2B5EF4-FFF2-40B4-BE49-F238E27FC236}">
                    <a16:creationId xmlns:a16="http://schemas.microsoft.com/office/drawing/2014/main" id="{28791ECB-886F-4D77-85EF-46C41966E81A}"/>
                  </a:ext>
                </a:extLst>
              </p:cNvPr>
              <p:cNvSpPr/>
              <p:nvPr/>
            </p:nvSpPr>
            <p:spPr bwMode="gray">
              <a:xfrm>
                <a:off x="4309599" y="-1764080"/>
                <a:ext cx="621209" cy="621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algn="ctr" defTabSz="914400" rtl="0" eaLnBrk="1" latinLnBrk="0" hangingPunct="1"/>
                <a:r>
                  <a:rPr lang="en-US" sz="1200" b="1" kern="1200">
                    <a:solidFill>
                      <a:prstClr val="white"/>
                    </a:solidFill>
                    <a:effectLst/>
                    <a:latin typeface="+mn-lt"/>
                    <a:ea typeface="+mn-ea"/>
                    <a:cs typeface="+mn-cs"/>
                  </a:rPr>
                  <a:t>1</a:t>
                </a:r>
              </a:p>
            </p:txBody>
          </p:sp>
        </p:grpSp>
        <p:grpSp>
          <p:nvGrpSpPr>
            <p:cNvPr id="10" name="Group 9">
              <a:extLst>
                <a:ext uri="{FF2B5EF4-FFF2-40B4-BE49-F238E27FC236}">
                  <a16:creationId xmlns:a16="http://schemas.microsoft.com/office/drawing/2014/main" id="{72B5E463-FFA7-4E77-9C8A-1A54C3A85E64}"/>
                </a:ext>
              </a:extLst>
            </p:cNvPr>
            <p:cNvGrpSpPr/>
            <p:nvPr/>
          </p:nvGrpSpPr>
          <p:grpSpPr>
            <a:xfrm>
              <a:off x="9640259" y="-1759147"/>
              <a:ext cx="1069114" cy="1331433"/>
              <a:chOff x="6448601" y="-1759147"/>
              <a:chExt cx="1069114" cy="1331433"/>
            </a:xfrm>
          </p:grpSpPr>
          <p:sp>
            <p:nvSpPr>
              <p:cNvPr id="29" name="Oval 28">
                <a:extLst>
                  <a:ext uri="{FF2B5EF4-FFF2-40B4-BE49-F238E27FC236}">
                    <a16:creationId xmlns:a16="http://schemas.microsoft.com/office/drawing/2014/main" id="{FB6A917C-1D87-42F5-B6FF-8AEB7B469C06}"/>
                  </a:ext>
                </a:extLst>
              </p:cNvPr>
              <p:cNvSpPr/>
              <p:nvPr/>
            </p:nvSpPr>
            <p:spPr bwMode="gray">
              <a:xfrm>
                <a:off x="6677641" y="-1759147"/>
                <a:ext cx="611346" cy="61134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algn="ctr" defTabSz="914400" rtl="0" eaLnBrk="1" latinLnBrk="0" hangingPunct="1"/>
                <a:r>
                  <a:rPr lang="en-US" sz="1200" b="1" kern="1200">
                    <a:solidFill>
                      <a:prstClr val="white"/>
                    </a:solidFill>
                    <a:effectLst/>
                    <a:latin typeface="+mn-lt"/>
                    <a:ea typeface="+mn-ea"/>
                    <a:cs typeface="+mn-cs"/>
                  </a:rPr>
                  <a:t>2</a:t>
                </a:r>
              </a:p>
            </p:txBody>
          </p:sp>
          <p:sp>
            <p:nvSpPr>
              <p:cNvPr id="27" name="TextBox 26">
                <a:extLst>
                  <a:ext uri="{FF2B5EF4-FFF2-40B4-BE49-F238E27FC236}">
                    <a16:creationId xmlns:a16="http://schemas.microsoft.com/office/drawing/2014/main" id="{840CE4DC-5421-407F-A94E-1A63220D0E6D}"/>
                  </a:ext>
                </a:extLst>
              </p:cNvPr>
              <p:cNvSpPr txBox="1"/>
              <p:nvPr/>
            </p:nvSpPr>
            <p:spPr>
              <a:xfrm>
                <a:off x="6448601" y="-1039497"/>
                <a:ext cx="1069114" cy="611783"/>
              </a:xfrm>
              <a:prstGeom prst="rect">
                <a:avLst/>
              </a:prstGeom>
              <a:noFill/>
            </p:spPr>
            <p:txBody>
              <a:bodyPr wrap="none" lIns="0" tIns="0" rIns="0" bIns="0" rtlCol="0">
                <a:spAutoFit/>
              </a:bodyPr>
              <a:lstStyle/>
              <a:p>
                <a:pPr marL="0" marR="0" lvl="0" indent="0" algn="ctr" defTabSz="914400" rtl="0" eaLnBrk="1" fontAlgn="auto" latinLnBrk="0" hangingPunct="1">
                  <a:lnSpc>
                    <a:spcPct val="95000"/>
                  </a:lnSpc>
                  <a:spcBef>
                    <a:spcPts val="1200"/>
                  </a:spcBef>
                  <a:spcAft>
                    <a:spcPts val="0"/>
                  </a:spcAft>
                  <a:buClrTx/>
                  <a:buSzTx/>
                  <a:buFontTx/>
                  <a:buNone/>
                  <a:tabLst/>
                  <a:defRPr/>
                </a:pPr>
                <a:r>
                  <a:rPr kumimoji="0" lang="en-US" sz="800" b="0" i="0" u="none" strike="noStrike" kern="1200" cap="none" spc="0" normalizeH="0" baseline="0" noProof="0">
                    <a:ln>
                      <a:noFill/>
                    </a:ln>
                    <a:solidFill>
                      <a:schemeClr val="accent6"/>
                    </a:solidFill>
                    <a:uLnTx/>
                    <a:uFillTx/>
                    <a:latin typeface="Microsoft Sans Serif"/>
                    <a:ea typeface="+mn-ea"/>
                    <a:cs typeface="+mn-cs"/>
                  </a:rPr>
                  <a:t>Project </a:t>
                </a:r>
                <a:br>
                  <a:rPr kumimoji="0" lang="en-US" sz="800" b="0" i="0" u="none" strike="noStrike" kern="1200" cap="none" spc="0" normalizeH="0" baseline="0" noProof="0">
                    <a:ln>
                      <a:noFill/>
                    </a:ln>
                    <a:solidFill>
                      <a:schemeClr val="accent6"/>
                    </a:solidFill>
                    <a:uLnTx/>
                    <a:uFillTx/>
                    <a:latin typeface="Microsoft Sans Serif"/>
                    <a:ea typeface="+mn-ea"/>
                    <a:cs typeface="+mn-cs"/>
                  </a:rPr>
                </a:br>
                <a:r>
                  <a:rPr kumimoji="0" lang="en-US" sz="800" b="0" i="0" u="none" strike="noStrike" kern="1200" cap="none" spc="0" normalizeH="0" baseline="0" noProof="0">
                    <a:ln>
                      <a:noFill/>
                    </a:ln>
                    <a:solidFill>
                      <a:schemeClr val="accent6"/>
                    </a:solidFill>
                    <a:uLnTx/>
                    <a:uFillTx/>
                    <a:latin typeface="Microsoft Sans Serif"/>
                    <a:ea typeface="+mn-ea"/>
                    <a:cs typeface="+mn-cs"/>
                  </a:rPr>
                  <a:t>Proposal</a:t>
                </a:r>
              </a:p>
            </p:txBody>
          </p:sp>
        </p:grpSp>
        <p:grpSp>
          <p:nvGrpSpPr>
            <p:cNvPr id="11" name="Group 10">
              <a:extLst>
                <a:ext uri="{FF2B5EF4-FFF2-40B4-BE49-F238E27FC236}">
                  <a16:creationId xmlns:a16="http://schemas.microsoft.com/office/drawing/2014/main" id="{2F92A107-A02F-4BB0-B41A-642C677028F7}"/>
                </a:ext>
              </a:extLst>
            </p:cNvPr>
            <p:cNvGrpSpPr/>
            <p:nvPr/>
          </p:nvGrpSpPr>
          <p:grpSpPr>
            <a:xfrm>
              <a:off x="11057215" y="-1759147"/>
              <a:ext cx="834329" cy="1331433"/>
              <a:chOff x="8849221" y="-1759147"/>
              <a:chExt cx="834329" cy="1331433"/>
            </a:xfrm>
          </p:grpSpPr>
          <p:sp>
            <p:nvSpPr>
              <p:cNvPr id="25" name="Oval 24">
                <a:extLst>
                  <a:ext uri="{FF2B5EF4-FFF2-40B4-BE49-F238E27FC236}">
                    <a16:creationId xmlns:a16="http://schemas.microsoft.com/office/drawing/2014/main" id="{A13F017F-0BA2-4922-BC03-136E2D44B9B3}"/>
                  </a:ext>
                </a:extLst>
              </p:cNvPr>
              <p:cNvSpPr/>
              <p:nvPr/>
            </p:nvSpPr>
            <p:spPr bwMode="gray">
              <a:xfrm>
                <a:off x="8940040" y="-1759147"/>
                <a:ext cx="611345" cy="61134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algn="ctr" defTabSz="914400" rtl="0" eaLnBrk="1" latinLnBrk="0" hangingPunct="1"/>
                <a:r>
                  <a:rPr lang="en-US" sz="1200" b="1" kern="1200">
                    <a:solidFill>
                      <a:prstClr val="white"/>
                    </a:solidFill>
                    <a:effectLst/>
                    <a:latin typeface="+mn-lt"/>
                    <a:ea typeface="+mn-ea"/>
                    <a:cs typeface="+mn-cs"/>
                  </a:rPr>
                  <a:t>3</a:t>
                </a:r>
              </a:p>
            </p:txBody>
          </p:sp>
          <p:sp>
            <p:nvSpPr>
              <p:cNvPr id="23" name="TextBox 22">
                <a:extLst>
                  <a:ext uri="{FF2B5EF4-FFF2-40B4-BE49-F238E27FC236}">
                    <a16:creationId xmlns:a16="http://schemas.microsoft.com/office/drawing/2014/main" id="{EB56BB64-D545-42B8-A15C-24FC4EA5188B}"/>
                  </a:ext>
                </a:extLst>
              </p:cNvPr>
              <p:cNvSpPr txBox="1"/>
              <p:nvPr/>
            </p:nvSpPr>
            <p:spPr>
              <a:xfrm>
                <a:off x="8849221" y="-1039497"/>
                <a:ext cx="834329" cy="611783"/>
              </a:xfrm>
              <a:prstGeom prst="rect">
                <a:avLst/>
              </a:prstGeom>
              <a:noFill/>
            </p:spPr>
            <p:txBody>
              <a:bodyPr wrap="none" lIns="0" tIns="0" rIns="0" bIns="0" rtlCol="0">
                <a:spAutoFit/>
              </a:bodyPr>
              <a:lstStyle/>
              <a:p>
                <a:pPr marL="0" marR="0" lvl="0" indent="0" algn="ctr" defTabSz="914400" rtl="0" eaLnBrk="1" fontAlgn="auto" latinLnBrk="0" hangingPunct="1">
                  <a:lnSpc>
                    <a:spcPct val="95000"/>
                  </a:lnSpc>
                  <a:spcBef>
                    <a:spcPts val="1200"/>
                  </a:spcBef>
                  <a:spcAft>
                    <a:spcPts val="0"/>
                  </a:spcAft>
                  <a:buClrTx/>
                  <a:buSzTx/>
                  <a:buFontTx/>
                  <a:buNone/>
                  <a:tabLst/>
                  <a:defRPr/>
                </a:pPr>
                <a:r>
                  <a:rPr kumimoji="0" lang="en-US" sz="800" b="0" i="0" u="none" strike="noStrike" kern="1200" cap="none" spc="0" normalizeH="0" baseline="0" noProof="0">
                    <a:ln>
                      <a:noFill/>
                    </a:ln>
                    <a:solidFill>
                      <a:schemeClr val="accent6"/>
                    </a:solidFill>
                    <a:uLnTx/>
                    <a:uFillTx/>
                    <a:latin typeface="Microsoft Sans Serif"/>
                    <a:ea typeface="+mn-ea"/>
                    <a:cs typeface="+mn-cs"/>
                  </a:rPr>
                  <a:t> Study </a:t>
                </a:r>
                <a:br>
                  <a:rPr lang="en-US" sz="800">
                    <a:solidFill>
                      <a:schemeClr val="accent6"/>
                    </a:solidFill>
                    <a:latin typeface="Microsoft Sans Serif"/>
                  </a:rPr>
                </a:br>
                <a:r>
                  <a:rPr kumimoji="0" lang="en-US" sz="800" b="0" i="0" u="none" strike="noStrike" kern="1200" cap="none" spc="0" normalizeH="0" baseline="0" noProof="0">
                    <a:ln>
                      <a:noFill/>
                    </a:ln>
                    <a:solidFill>
                      <a:schemeClr val="accent6"/>
                    </a:solidFill>
                    <a:uLnTx/>
                    <a:uFillTx/>
                    <a:latin typeface="Microsoft Sans Serif"/>
                    <a:ea typeface="+mn-ea"/>
                    <a:cs typeface="+mn-cs"/>
                  </a:rPr>
                  <a:t>Item</a:t>
                </a:r>
              </a:p>
            </p:txBody>
          </p:sp>
        </p:grpSp>
        <p:grpSp>
          <p:nvGrpSpPr>
            <p:cNvPr id="12" name="Group 11">
              <a:extLst>
                <a:ext uri="{FF2B5EF4-FFF2-40B4-BE49-F238E27FC236}">
                  <a16:creationId xmlns:a16="http://schemas.microsoft.com/office/drawing/2014/main" id="{C13DEC96-FFDB-42E6-9ECE-98EFC77812DF}"/>
                </a:ext>
              </a:extLst>
            </p:cNvPr>
            <p:cNvGrpSpPr/>
            <p:nvPr/>
          </p:nvGrpSpPr>
          <p:grpSpPr>
            <a:xfrm>
              <a:off x="12312890" y="-1759147"/>
              <a:ext cx="767246" cy="1331433"/>
              <a:chOff x="11244948" y="-1759147"/>
              <a:chExt cx="767246" cy="1331433"/>
            </a:xfrm>
          </p:grpSpPr>
          <p:sp>
            <p:nvSpPr>
              <p:cNvPr id="21" name="Oval 20">
                <a:extLst>
                  <a:ext uri="{FF2B5EF4-FFF2-40B4-BE49-F238E27FC236}">
                    <a16:creationId xmlns:a16="http://schemas.microsoft.com/office/drawing/2014/main" id="{D3A39F12-070F-453E-85F4-E2667F05CDA0}"/>
                  </a:ext>
                </a:extLst>
              </p:cNvPr>
              <p:cNvSpPr/>
              <p:nvPr/>
            </p:nvSpPr>
            <p:spPr bwMode="gray">
              <a:xfrm>
                <a:off x="11310788" y="-1759147"/>
                <a:ext cx="611344" cy="61134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algn="ctr" defTabSz="914400" rtl="0" eaLnBrk="1" latinLnBrk="0" hangingPunct="1"/>
                <a:r>
                  <a:rPr lang="en-US" sz="1200" b="1" kern="1200">
                    <a:solidFill>
                      <a:prstClr val="white"/>
                    </a:solidFill>
                    <a:effectLst/>
                    <a:latin typeface="+mn-lt"/>
                    <a:ea typeface="+mn-ea"/>
                    <a:cs typeface="+mn-cs"/>
                  </a:rPr>
                  <a:t>4</a:t>
                </a:r>
              </a:p>
            </p:txBody>
          </p:sp>
          <p:sp>
            <p:nvSpPr>
              <p:cNvPr id="19" name="TextBox 18">
                <a:extLst>
                  <a:ext uri="{FF2B5EF4-FFF2-40B4-BE49-F238E27FC236}">
                    <a16:creationId xmlns:a16="http://schemas.microsoft.com/office/drawing/2014/main" id="{ECE4154D-4FC3-4309-BC99-37779D5D1863}"/>
                  </a:ext>
                </a:extLst>
              </p:cNvPr>
              <p:cNvSpPr txBox="1"/>
              <p:nvPr/>
            </p:nvSpPr>
            <p:spPr>
              <a:xfrm>
                <a:off x="11244948" y="-1039497"/>
                <a:ext cx="767246" cy="611783"/>
              </a:xfrm>
              <a:prstGeom prst="rect">
                <a:avLst/>
              </a:prstGeom>
              <a:noFill/>
            </p:spPr>
            <p:txBody>
              <a:bodyPr wrap="none" lIns="0" tIns="0" rIns="0" bIns="0" rtlCol="0">
                <a:spAutoFit/>
              </a:bodyPr>
              <a:lstStyle/>
              <a:p>
                <a:pPr marL="0" marR="0" lvl="0" indent="0" algn="ctr" defTabSz="914400" rtl="0" eaLnBrk="1" fontAlgn="auto" latinLnBrk="0" hangingPunct="1">
                  <a:lnSpc>
                    <a:spcPct val="95000"/>
                  </a:lnSpc>
                  <a:spcBef>
                    <a:spcPts val="1200"/>
                  </a:spcBef>
                  <a:spcAft>
                    <a:spcPts val="0"/>
                  </a:spcAft>
                  <a:buClrTx/>
                  <a:buSzTx/>
                  <a:buFontTx/>
                  <a:buNone/>
                  <a:tabLst/>
                  <a:defRPr/>
                </a:pPr>
                <a:r>
                  <a:rPr kumimoji="0" lang="en-US" sz="800" b="0" i="0" u="none" strike="noStrike" kern="1200" cap="none" spc="0" normalizeH="0" baseline="0" noProof="0">
                    <a:ln>
                      <a:noFill/>
                    </a:ln>
                    <a:solidFill>
                      <a:schemeClr val="accent6"/>
                    </a:solidFill>
                    <a:uLnTx/>
                    <a:uFillTx/>
                    <a:latin typeface="Microsoft Sans Serif"/>
                    <a:ea typeface="+mn-ea"/>
                    <a:cs typeface="+mn-cs"/>
                  </a:rPr>
                  <a:t> Work </a:t>
                </a:r>
                <a:br>
                  <a:rPr kumimoji="0" lang="en-US" sz="800" b="0" i="0" u="none" strike="noStrike" kern="1200" cap="none" spc="0" normalizeH="0" baseline="0" noProof="0">
                    <a:ln>
                      <a:noFill/>
                    </a:ln>
                    <a:solidFill>
                      <a:schemeClr val="accent6"/>
                    </a:solidFill>
                    <a:uLnTx/>
                    <a:uFillTx/>
                    <a:latin typeface="Microsoft Sans Serif"/>
                    <a:ea typeface="+mn-ea"/>
                    <a:cs typeface="+mn-cs"/>
                  </a:rPr>
                </a:br>
                <a:r>
                  <a:rPr kumimoji="0" lang="en-US" sz="800" b="0" i="0" u="none" strike="noStrike" kern="1200" cap="none" spc="0" normalizeH="0" baseline="0" noProof="0">
                    <a:ln>
                      <a:noFill/>
                    </a:ln>
                    <a:solidFill>
                      <a:schemeClr val="accent6"/>
                    </a:solidFill>
                    <a:uLnTx/>
                    <a:uFillTx/>
                    <a:latin typeface="Microsoft Sans Serif"/>
                    <a:ea typeface="+mn-ea"/>
                    <a:cs typeface="+mn-cs"/>
                  </a:rPr>
                  <a:t>Item</a:t>
                </a:r>
              </a:p>
            </p:txBody>
          </p:sp>
        </p:grpSp>
        <p:grpSp>
          <p:nvGrpSpPr>
            <p:cNvPr id="13" name="Group 12">
              <a:extLst>
                <a:ext uri="{FF2B5EF4-FFF2-40B4-BE49-F238E27FC236}">
                  <a16:creationId xmlns:a16="http://schemas.microsoft.com/office/drawing/2014/main" id="{8C69C2A2-59A1-4D05-A4CB-5C922C713E41}"/>
                </a:ext>
              </a:extLst>
            </p:cNvPr>
            <p:cNvGrpSpPr/>
            <p:nvPr/>
          </p:nvGrpSpPr>
          <p:grpSpPr>
            <a:xfrm>
              <a:off x="13504582" y="-1764052"/>
              <a:ext cx="842712" cy="1030445"/>
              <a:chOff x="13504582" y="-1764052"/>
              <a:chExt cx="842712" cy="1030445"/>
            </a:xfrm>
          </p:grpSpPr>
          <p:sp>
            <p:nvSpPr>
              <p:cNvPr id="17" name="Oval 16">
                <a:extLst>
                  <a:ext uri="{FF2B5EF4-FFF2-40B4-BE49-F238E27FC236}">
                    <a16:creationId xmlns:a16="http://schemas.microsoft.com/office/drawing/2014/main" id="{87DE6186-2173-42AB-8658-904C326FB672}"/>
                  </a:ext>
                </a:extLst>
              </p:cNvPr>
              <p:cNvSpPr/>
              <p:nvPr/>
            </p:nvSpPr>
            <p:spPr bwMode="gray">
              <a:xfrm>
                <a:off x="13606471" y="-1764052"/>
                <a:ext cx="621155" cy="621149"/>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b="1">
                    <a:solidFill>
                      <a:prstClr val="white"/>
                    </a:solidFill>
                    <a:effectLst/>
                  </a:rPr>
                  <a:t>5</a:t>
                </a:r>
              </a:p>
            </p:txBody>
          </p:sp>
          <p:sp>
            <p:nvSpPr>
              <p:cNvPr id="15" name="TextBox 14">
                <a:extLst>
                  <a:ext uri="{FF2B5EF4-FFF2-40B4-BE49-F238E27FC236}">
                    <a16:creationId xmlns:a16="http://schemas.microsoft.com/office/drawing/2014/main" id="{49D0C2FC-D951-4F04-92BD-B2FF3A8DDF11}"/>
                  </a:ext>
                </a:extLst>
              </p:cNvPr>
              <p:cNvSpPr txBox="1"/>
              <p:nvPr/>
            </p:nvSpPr>
            <p:spPr>
              <a:xfrm>
                <a:off x="13504582" y="-1039498"/>
                <a:ext cx="842712" cy="305891"/>
              </a:xfrm>
              <a:prstGeom prst="rect">
                <a:avLst/>
              </a:prstGeom>
              <a:noFill/>
            </p:spPr>
            <p:txBody>
              <a:bodyPr wrap="none" lIns="0" tIns="0" rIns="0" bIns="0" rtlCol="0">
                <a:spAutoFit/>
              </a:bodyPr>
              <a:lstStyle/>
              <a:p>
                <a:pPr marL="0" marR="0" lvl="0" indent="0" algn="ctr" defTabSz="914400" rtl="0" eaLnBrk="1" fontAlgn="auto" latinLnBrk="0" hangingPunct="1">
                  <a:lnSpc>
                    <a:spcPct val="95000"/>
                  </a:lnSpc>
                  <a:spcBef>
                    <a:spcPts val="1200"/>
                  </a:spcBef>
                  <a:spcAft>
                    <a:spcPts val="0"/>
                  </a:spcAft>
                  <a:buClrTx/>
                  <a:buSzTx/>
                  <a:buFontTx/>
                  <a:buNone/>
                  <a:tabLst/>
                  <a:defRPr/>
                </a:pPr>
                <a:r>
                  <a:rPr kumimoji="0" lang="en-US" sz="800" b="0" i="0" u="none" strike="noStrike" kern="1200" cap="none" spc="0" normalizeH="0" baseline="0" noProof="0">
                    <a:ln>
                      <a:noFill/>
                    </a:ln>
                    <a:solidFill>
                      <a:schemeClr val="accent6"/>
                    </a:solidFill>
                    <a:uLnTx/>
                    <a:uFillTx/>
                    <a:latin typeface="Microsoft Sans Serif"/>
                    <a:ea typeface="+mn-ea"/>
                    <a:cs typeface="+mn-cs"/>
                  </a:rPr>
                  <a:t>Deploy</a:t>
                </a:r>
              </a:p>
            </p:txBody>
          </p:sp>
        </p:grpSp>
      </p:grpSp>
    </p:spTree>
    <p:extLst>
      <p:ext uri="{BB962C8B-B14F-4D97-AF65-F5344CB8AC3E}">
        <p14:creationId xmlns:p14="http://schemas.microsoft.com/office/powerpoint/2010/main" val="75489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1386039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a:xfrm>
            <a:off x="495300" y="575576"/>
            <a:ext cx="11187112" cy="429028"/>
          </a:xfrm>
        </p:spPr>
        <p:txBody>
          <a:bodyPr/>
          <a:lstStyle/>
          <a:p>
            <a:r>
              <a:rPr lang="en-US"/>
              <a:t>Click to edit Master title style</a:t>
            </a:r>
          </a:p>
        </p:txBody>
      </p:sp>
      <p:sp>
        <p:nvSpPr>
          <p:cNvPr id="6" name="Content Placeholder 5"/>
          <p:cNvSpPr>
            <a:spLocks noGrp="1"/>
          </p:cNvSpPr>
          <p:nvPr>
            <p:ph sz="quarter" idx="12"/>
          </p:nvPr>
        </p:nvSpPr>
        <p:spPr>
          <a:xfrm>
            <a:off x="495300" y="1719072"/>
            <a:ext cx="11190732" cy="468172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2850986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60"/>
            <a:ext cx="11187112" cy="429028"/>
          </a:xfrm>
        </p:spPr>
        <p:txBody>
          <a:bodyPr/>
          <a:lstStyle/>
          <a:p>
            <a:r>
              <a:rPr lang="en-US"/>
              <a:t>Click to edit Master title style</a:t>
            </a:r>
          </a:p>
        </p:txBody>
      </p: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
        <p:nvSpPr>
          <p:cNvPr id="14" name="Content Placeholder 10"/>
          <p:cNvSpPr>
            <a:spLocks noGrp="1"/>
          </p:cNvSpPr>
          <p:nvPr>
            <p:ph sz="quarter" idx="14"/>
          </p:nvPr>
        </p:nvSpPr>
        <p:spPr>
          <a:xfrm>
            <a:off x="493776" y="1719072"/>
            <a:ext cx="5467753"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2"/>
          <p:cNvSpPr>
            <a:spLocks noGrp="1"/>
          </p:cNvSpPr>
          <p:nvPr>
            <p:ph sz="quarter" idx="15" hasCustomPrompt="1"/>
          </p:nvPr>
        </p:nvSpPr>
        <p:spPr>
          <a:xfrm>
            <a:off x="6216256" y="1719072"/>
            <a:ext cx="5481968" cy="4681728"/>
          </a:xfrm>
        </p:spPr>
        <p:txBody>
          <a:bodyPr/>
          <a:lstStyle>
            <a:lvl5pPr>
              <a:defRPr/>
            </a:lvl5pPr>
            <a:lvl6pPr>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324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60"/>
            <a:ext cx="11187112" cy="429028"/>
          </a:xfrm>
        </p:spPr>
        <p:txBody>
          <a:bodyPr/>
          <a:lstStyle/>
          <a:p>
            <a:r>
              <a:rPr lang="en-US"/>
              <a:t>Click to edit Master title style</a:t>
            </a:r>
          </a:p>
        </p:txBody>
      </p: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
        <p:nvSpPr>
          <p:cNvPr id="16" name="Content Placeholder 11"/>
          <p:cNvSpPr>
            <a:spLocks noGrp="1"/>
          </p:cNvSpPr>
          <p:nvPr>
            <p:ph sz="quarter" idx="15"/>
          </p:nvPr>
        </p:nvSpPr>
        <p:spPr>
          <a:xfrm>
            <a:off x="495300" y="1719072"/>
            <a:ext cx="3564636"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16"/>
          </p:nvPr>
        </p:nvSpPr>
        <p:spPr>
          <a:xfrm>
            <a:off x="4308762" y="1719072"/>
            <a:ext cx="3564221"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6"/>
          <p:cNvSpPr>
            <a:spLocks noGrp="1"/>
          </p:cNvSpPr>
          <p:nvPr>
            <p:ph sz="quarter" idx="17"/>
          </p:nvPr>
        </p:nvSpPr>
        <p:spPr>
          <a:xfrm>
            <a:off x="8123750" y="1719072"/>
            <a:ext cx="3580265"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145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95301"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4"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5300" y="1719072"/>
            <a:ext cx="11189474"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110549"/>
            <a:ext cx="10223342" cy="131703"/>
          </a:xfrm>
          <a:prstGeom prst="rect">
            <a:avLst/>
          </a:prstGeom>
        </p:spPr>
        <p:txBody>
          <a:bodyPr vert="horz" wrap="square" lIns="0" tIns="0" rIns="0" bIns="0" rtlCol="0" anchor="b">
            <a:spAutoFit/>
          </a:bodyPr>
          <a:lstStyle>
            <a:lvl1pPr algn="l">
              <a:lnSpc>
                <a:spcPct val="107000"/>
              </a:lnSpc>
              <a:defRPr sz="800">
                <a:solidFill>
                  <a:schemeClr val="tx1">
                    <a:lumMod val="50000"/>
                    <a:lumOff val="50000"/>
                  </a:schemeClr>
                </a:solidFill>
              </a:defRPr>
            </a:lvl1pPr>
          </a:lstStyle>
          <a:p>
            <a:r>
              <a:rPr lang="en-US"/>
              <a:t>Media Web Symposium 2023</a:t>
            </a:r>
          </a:p>
        </p:txBody>
      </p:sp>
      <p:sp>
        <p:nvSpPr>
          <p:cNvPr id="16" name="TextBox 15"/>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878803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4"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5300" y="1719072"/>
            <a:ext cx="11189474"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110549"/>
            <a:ext cx="10223342" cy="131703"/>
          </a:xfrm>
          <a:prstGeom prst="rect">
            <a:avLst/>
          </a:prstGeom>
        </p:spPr>
        <p:txBody>
          <a:bodyPr vert="horz" wrap="square" lIns="0" tIns="0" rIns="0" bIns="0" rtlCol="0" anchor="b">
            <a:spAutoFit/>
          </a:bodyPr>
          <a:lstStyle>
            <a:lvl1pPr algn="l">
              <a:lnSpc>
                <a:spcPct val="107000"/>
              </a:lnSpc>
              <a:defRPr sz="800">
                <a:solidFill>
                  <a:schemeClr val="tx1">
                    <a:lumMod val="50000"/>
                    <a:lumOff val="50000"/>
                  </a:schemeClr>
                </a:solidFill>
              </a:defRPr>
            </a:lvl1pPr>
          </a:lstStyle>
          <a:p>
            <a:r>
              <a:rPr lang="en-US"/>
              <a:t>Media Web Symposium 2023</a:t>
            </a:r>
          </a:p>
        </p:txBody>
      </p:sp>
      <p:sp>
        <p:nvSpPr>
          <p:cNvPr id="16" name="TextBox 15"/>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95869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4"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5300" y="1719072"/>
            <a:ext cx="11189474"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110549"/>
            <a:ext cx="10223342" cy="131703"/>
          </a:xfrm>
          <a:prstGeom prst="rect">
            <a:avLst/>
          </a:prstGeom>
        </p:spPr>
        <p:txBody>
          <a:bodyPr vert="horz" wrap="square" lIns="0" tIns="0" rIns="0" bIns="0" rtlCol="0" anchor="b">
            <a:spAutoFit/>
          </a:bodyPr>
          <a:lstStyle>
            <a:lvl1pPr algn="l">
              <a:lnSpc>
                <a:spcPct val="107000"/>
              </a:lnSpc>
              <a:defRPr sz="800">
                <a:solidFill>
                  <a:schemeClr val="tx1">
                    <a:lumMod val="50000"/>
                    <a:lumOff val="50000"/>
                  </a:schemeClr>
                </a:solidFill>
              </a:defRPr>
            </a:lvl1pPr>
          </a:lstStyle>
          <a:p>
            <a:r>
              <a:rPr lang="en-US"/>
              <a:t>Media Web Symposium 2023</a:t>
            </a:r>
          </a:p>
        </p:txBody>
      </p:sp>
      <p:sp>
        <p:nvSpPr>
          <p:cNvPr id="16" name="TextBox 15"/>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485399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4"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5300" y="1719072"/>
            <a:ext cx="11189474"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110549"/>
            <a:ext cx="10223342" cy="131703"/>
          </a:xfrm>
          <a:prstGeom prst="rect">
            <a:avLst/>
          </a:prstGeom>
        </p:spPr>
        <p:txBody>
          <a:bodyPr vert="horz" wrap="square" lIns="0" tIns="0" rIns="0" bIns="0" rtlCol="0" anchor="b">
            <a:spAutoFit/>
          </a:bodyPr>
          <a:lstStyle>
            <a:lvl1pPr algn="l">
              <a:lnSpc>
                <a:spcPct val="107000"/>
              </a:lnSpc>
              <a:defRPr sz="800">
                <a:solidFill>
                  <a:schemeClr val="tx1">
                    <a:lumMod val="50000"/>
                    <a:lumOff val="50000"/>
                  </a:schemeClr>
                </a:solidFill>
              </a:defRPr>
            </a:lvl1pPr>
          </a:lstStyle>
          <a:p>
            <a:r>
              <a:rPr lang="en-US"/>
              <a:t>Media Web Symposium 2023</a:t>
            </a:r>
          </a:p>
        </p:txBody>
      </p:sp>
      <p:sp>
        <p:nvSpPr>
          <p:cNvPr id="16" name="TextBox 15"/>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846059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03B992C9-C291-4BB9-8C07-959F7EFB9F0B}"/>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95300" y="575576"/>
            <a:ext cx="5115142"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29768"/>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19072"/>
            <a:ext cx="5119689" cy="4681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
        <p:nvSpPr>
          <p:cNvPr id="17" name="TextBox 16"/>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375783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Fifty Fifty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95300" y="575576"/>
            <a:ext cx="5115142" cy="429028"/>
          </a:xfrm>
        </p:spPr>
        <p:txBody>
          <a:bodyPr/>
          <a:lstStyle>
            <a:lvl1pPr>
              <a:defRPr>
                <a:solidFill>
                  <a:schemeClr val="bg1"/>
                </a:solidFill>
              </a:defRPr>
            </a:lvl1p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
        <p:nvSpPr>
          <p:cNvPr id="17" name="TextBox 16"/>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330945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95300" y="575576"/>
            <a:ext cx="5115142" cy="429028"/>
          </a:xfrm>
        </p:spPr>
        <p:txBody>
          <a:bodyPr/>
          <a:lstStyle/>
          <a:p>
            <a:r>
              <a:rPr lang="en-US"/>
              <a:t>Click to edit Master title style</a:t>
            </a: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
        <p:nvSpPr>
          <p:cNvPr id="2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29768"/>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26"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27"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19072"/>
            <a:ext cx="5119689" cy="4681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0FAEB6D3-8A14-45FF-AFC9-7560CC33DC0D}"/>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308643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95300" y="576072"/>
            <a:ext cx="5115142" cy="429028"/>
          </a:xfrm>
        </p:spPr>
        <p:txBody>
          <a:bodyPr/>
          <a:lstStyle/>
          <a:p>
            <a:r>
              <a:rPr lang="en-US"/>
              <a:t>Click to edit Master title style</a:t>
            </a: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
        <p:nvSpPr>
          <p:cNvPr id="1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6072"/>
            <a:ext cx="5119689" cy="429768"/>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20"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21"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19072"/>
            <a:ext cx="5119689" cy="4681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148022F4-7AAA-4729-B9C4-92BDED53EDA6}"/>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465771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93776" y="575576"/>
            <a:ext cx="5116666" cy="429028"/>
          </a:xfrm>
        </p:spPr>
        <p:txBody>
          <a:bodyPr/>
          <a:lstStyle/>
          <a:p>
            <a:r>
              <a:rPr lang="en-US"/>
              <a:t>Click to edit Master title style</a:t>
            </a: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
        <p:nvSpPr>
          <p:cNvPr id="1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29768"/>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20"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21"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19072"/>
            <a:ext cx="5119689" cy="4681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DB7F33C7-E4F0-4672-AA7D-78E09470B93A}"/>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99479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95300" y="575576"/>
            <a:ext cx="6426833" cy="429028"/>
          </a:xfrm>
        </p:spPr>
        <p:txBody>
          <a:bodyPr/>
          <a:lstStyle/>
          <a:p>
            <a:r>
              <a:rPr lang="en-US"/>
              <a:t>Click to edit Master title style</a:t>
            </a: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94188" y="1132232"/>
            <a:ext cx="64273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5576"/>
            <a:ext cx="3576828" cy="582522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
        <p:nvSpPr>
          <p:cNvPr id="11" name="TextBox 10">
            <a:extLst>
              <a:ext uri="{FF2B5EF4-FFF2-40B4-BE49-F238E27FC236}">
                <a16:creationId xmlns:a16="http://schemas.microsoft.com/office/drawing/2014/main" id="{4E9B8B53-7B6C-4626-8973-3D014E3B8FC1}"/>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77748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95300" y="575576"/>
            <a:ext cx="6426834" cy="429028"/>
          </a:xfrm>
        </p:spPr>
        <p:txBody>
          <a:bodyPr/>
          <a:lstStyle/>
          <a:p>
            <a:r>
              <a:rPr lang="en-US"/>
              <a:t>Click to edit Master title style</a:t>
            </a: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95300" y="1132232"/>
            <a:ext cx="6426200"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8" cy="5824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
        <p:nvSpPr>
          <p:cNvPr id="11" name="TextBox 10">
            <a:extLst>
              <a:ext uri="{FF2B5EF4-FFF2-40B4-BE49-F238E27FC236}">
                <a16:creationId xmlns:a16="http://schemas.microsoft.com/office/drawing/2014/main" id="{531BD8B9-DB8E-4BCA-B606-ACB91911BD0C}"/>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60171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95300" y="575576"/>
            <a:ext cx="6426834" cy="429028"/>
          </a:xfrm>
        </p:spPr>
        <p:txBody>
          <a:bodyPr/>
          <a:lstStyle/>
          <a:p>
            <a:r>
              <a:rPr lang="en-US"/>
              <a:t>Click to edit Master title style</a:t>
            </a: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95300" y="1132232"/>
            <a:ext cx="6426200"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8" cy="5824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
        <p:nvSpPr>
          <p:cNvPr id="11" name="TextBox 10">
            <a:extLst>
              <a:ext uri="{FF2B5EF4-FFF2-40B4-BE49-F238E27FC236}">
                <a16:creationId xmlns:a16="http://schemas.microsoft.com/office/drawing/2014/main" id="{2B657D28-EE18-4DAD-9F88-267DBF1BDC66}"/>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76812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94188" y="575576"/>
            <a:ext cx="6427945" cy="429028"/>
          </a:xfrm>
        </p:spPr>
        <p:txBody>
          <a:bodyPr/>
          <a:lstStyle/>
          <a:p>
            <a:r>
              <a:rPr lang="en-US"/>
              <a:t>Click to edit Master title style</a:t>
            </a: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95300" y="1132232"/>
            <a:ext cx="6426200"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8" cy="5824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5490455" cy="131703"/>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
        <p:nvSpPr>
          <p:cNvPr id="11" name="TextBox 10">
            <a:extLst>
              <a:ext uri="{FF2B5EF4-FFF2-40B4-BE49-F238E27FC236}">
                <a16:creationId xmlns:a16="http://schemas.microsoft.com/office/drawing/2014/main" id="{35A00055-63DF-4E5F-9CDA-9330890DB382}"/>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869292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0"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1993"/>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12"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14"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8119872" y="6529307"/>
            <a:ext cx="3575304"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
        <p:nvSpPr>
          <p:cNvPr id="9" name="TextBox 8">
            <a:extLst>
              <a:ext uri="{FF2B5EF4-FFF2-40B4-BE49-F238E27FC236}">
                <a16:creationId xmlns:a16="http://schemas.microsoft.com/office/drawing/2014/main" id="{4B746C8D-1A62-4F65-903E-505B70EBA689}"/>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39702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10" name="Footer Placeholder 4">
            <a:extLst>
              <a:ext uri="{FF2B5EF4-FFF2-40B4-BE49-F238E27FC236}">
                <a16:creationId xmlns:a16="http://schemas.microsoft.com/office/drawing/2014/main" id="{D7823B63-13DA-4A78-952C-6373AA3502D7}"/>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0"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9"/>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12"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14"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8119872" y="6529307"/>
            <a:ext cx="3575304"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
        <p:nvSpPr>
          <p:cNvPr id="9" name="TextBox 8">
            <a:extLst>
              <a:ext uri="{FF2B5EF4-FFF2-40B4-BE49-F238E27FC236}">
                <a16:creationId xmlns:a16="http://schemas.microsoft.com/office/drawing/2014/main" id="{CDB93D7A-E9C6-457C-A848-6E8C8BF7B4AC}"/>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190792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0"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1994"/>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12"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14"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8119872" y="6529307"/>
            <a:ext cx="3575304"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
        <p:nvSpPr>
          <p:cNvPr id="9" name="TextBox 8">
            <a:extLst>
              <a:ext uri="{FF2B5EF4-FFF2-40B4-BE49-F238E27FC236}">
                <a16:creationId xmlns:a16="http://schemas.microsoft.com/office/drawing/2014/main" id="{00695E15-3652-4BEE-B738-FB4760B5B5DC}"/>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948102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0"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8540"/>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12"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14"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8119872" y="6529307"/>
            <a:ext cx="3575304"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
        <p:nvSpPr>
          <p:cNvPr id="9" name="TextBox 8">
            <a:extLst>
              <a:ext uri="{FF2B5EF4-FFF2-40B4-BE49-F238E27FC236}">
                <a16:creationId xmlns:a16="http://schemas.microsoft.com/office/drawing/2014/main" id="{CA22589C-4ACD-444B-8848-DC35354FE0C4}"/>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811180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8"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38"/>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10"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95300" y="2740859"/>
            <a:ext cx="3556000" cy="1843840"/>
          </a:xfrm>
        </p:spPr>
        <p:txBody>
          <a:bodyPr/>
          <a:lstStyle>
            <a:lvl1pPr>
              <a:lnSpc>
                <a:spcPct val="88000"/>
              </a:lnSpc>
              <a:defRPr sz="3400">
                <a:solidFill>
                  <a:schemeClr val="bg1"/>
                </a:solidFill>
              </a:defRPr>
            </a:lvl1pPr>
          </a:lstStyle>
          <a:p>
            <a:r>
              <a:rPr lang="en-US"/>
              <a:t>Click to edit Master title style</a:t>
            </a:r>
          </a:p>
        </p:txBody>
      </p:sp>
      <p:sp>
        <p:nvSpPr>
          <p:cNvPr id="11"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3557111"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2574132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8"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9"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95300" y="2740859"/>
            <a:ext cx="3556000" cy="1843840"/>
          </a:xfrm>
        </p:spPr>
        <p:txBody>
          <a:bodyPr/>
          <a:lstStyle>
            <a:lvl1pPr>
              <a:lnSpc>
                <a:spcPct val="88000"/>
              </a:lnSpc>
              <a:defRPr sz="3400">
                <a:solidFill>
                  <a:schemeClr val="bg1"/>
                </a:solidFill>
              </a:defRPr>
            </a:lvl1pPr>
          </a:lstStyle>
          <a:p>
            <a:r>
              <a:rPr lang="en-US"/>
              <a:t>Click to edit Master title style</a:t>
            </a:r>
          </a:p>
        </p:txBody>
      </p:sp>
      <p:sp>
        <p:nvSpPr>
          <p:cNvPr id="11"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3557111"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2852455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8"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2"/>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10"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95300" y="2740859"/>
            <a:ext cx="3556000" cy="1843840"/>
          </a:xfrm>
        </p:spPr>
        <p:txBody>
          <a:bodyPr/>
          <a:lstStyle>
            <a:lvl1pPr>
              <a:lnSpc>
                <a:spcPct val="88000"/>
              </a:lnSpc>
              <a:defRPr sz="3400">
                <a:solidFill>
                  <a:schemeClr val="bg1"/>
                </a:solidFill>
              </a:defRPr>
            </a:lvl1pPr>
          </a:lstStyle>
          <a:p>
            <a:r>
              <a:rPr lang="en-US"/>
              <a:t>Click to edit Master title style</a:t>
            </a:r>
          </a:p>
        </p:txBody>
      </p:sp>
      <p:sp>
        <p:nvSpPr>
          <p:cNvPr id="11"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3557111"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1895761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8"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10"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95300" y="2740859"/>
            <a:ext cx="3556000" cy="1843840"/>
          </a:xfrm>
        </p:spPr>
        <p:txBody>
          <a:bodyPr/>
          <a:lstStyle>
            <a:lvl1pPr>
              <a:lnSpc>
                <a:spcPct val="88000"/>
              </a:lnSpc>
              <a:defRPr sz="3400">
                <a:solidFill>
                  <a:schemeClr val="bg1"/>
                </a:solidFill>
              </a:defRPr>
            </a:lvl1pPr>
          </a:lstStyle>
          <a:p>
            <a:r>
              <a:rPr lang="en-US"/>
              <a:t>Click to edit Master title style</a:t>
            </a:r>
          </a:p>
        </p:txBody>
      </p:sp>
      <p:sp>
        <p:nvSpPr>
          <p:cNvPr id="11"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3557111"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364697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49"/>
            <a:ext cx="2606675" cy="372743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373"/>
            <a:ext cx="2605088" cy="1301247"/>
          </a:xfrm>
        </p:spPr>
        <p:txBody>
          <a:bodyPr/>
          <a:lstStyle>
            <a:lvl1pPr>
              <a:lnSpc>
                <a:spcPct val="89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2606199"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435823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49"/>
            <a:ext cx="2606675" cy="372744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373"/>
            <a:ext cx="2605088" cy="1301247"/>
          </a:xfrm>
        </p:spPr>
        <p:txBody>
          <a:bodyPr/>
          <a:lstStyle>
            <a:lvl1pPr>
              <a:lnSpc>
                <a:spcPct val="89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2606199"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272162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49"/>
            <a:ext cx="2606675" cy="372743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373"/>
            <a:ext cx="2605088" cy="1301247"/>
          </a:xfrm>
        </p:spPr>
        <p:txBody>
          <a:bodyPr/>
          <a:lstStyle>
            <a:lvl1pPr>
              <a:lnSpc>
                <a:spcPct val="89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2606199"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220354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44039381-74AB-4696-9CB0-B73CD547BD94}"/>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49"/>
            <a:ext cx="2606675" cy="372744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373"/>
            <a:ext cx="2605088" cy="1301247"/>
          </a:xfrm>
        </p:spPr>
        <p:txBody>
          <a:bodyPr/>
          <a:lstStyle>
            <a:lvl1pPr>
              <a:lnSpc>
                <a:spcPct val="89000"/>
              </a:lnSpc>
              <a:defRPr sz="28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Footer Placeholder 4">
            <a:extLst>
              <a:ext uri="{FF2B5EF4-FFF2-40B4-BE49-F238E27FC236}">
                <a16:creationId xmlns:a16="http://schemas.microsoft.com/office/drawing/2014/main" id="{4F71B6DD-DC70-4A3D-871F-D53EC201908A}"/>
              </a:ext>
            </a:extLst>
          </p:cNvPr>
          <p:cNvSpPr>
            <a:spLocks noGrp="1"/>
          </p:cNvSpPr>
          <p:nvPr>
            <p:ph type="ftr" sz="quarter" idx="3"/>
          </p:nvPr>
        </p:nvSpPr>
        <p:spPr>
          <a:xfrm>
            <a:off x="494189" y="6527571"/>
            <a:ext cx="2606199" cy="131703"/>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1870605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solidFill>
              <a:schemeClr val="accent1"/>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95300" y="1383898"/>
            <a:ext cx="5115141" cy="2211454"/>
          </a:xfrm>
        </p:spPr>
        <p:txBody>
          <a:bodyPr/>
          <a:lstStyle>
            <a:lvl1pPr>
              <a:lnSpc>
                <a:spcPct val="90000"/>
              </a:lnSpc>
              <a:defRPr sz="6000">
                <a:solidFill>
                  <a:schemeClr val="bg1"/>
                </a:solidFill>
              </a:defRPr>
            </a:lvl1pPr>
          </a:lstStyle>
          <a:p>
            <a:r>
              <a:rPr lang="en-US"/>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8486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11696700" cy="6400800"/>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solidFill>
              <a:schemeClr val="accent1"/>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7714"/>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16" name="Pentagon 6">
            <a:extLst>
              <a:ext uri="{FF2B5EF4-FFF2-40B4-BE49-F238E27FC236}">
                <a16:creationId xmlns:a16="http://schemas.microsoft.com/office/drawing/2014/main" id="{27F13CB6-3F73-4727-82B6-01604B62EC5E}"/>
              </a:ext>
            </a:extLst>
          </p:cNvPr>
          <p:cNvSpPr/>
          <p:nvPr userDrawn="1"/>
        </p:nvSpPr>
        <p:spPr>
          <a:xfrm>
            <a:off x="1" y="1219737"/>
            <a:ext cx="11034584" cy="1369115"/>
          </a:xfrm>
          <a:prstGeom prst="homePlate">
            <a:avLst>
              <a:gd name="adj" fmla="val 23974"/>
            </a:avLst>
          </a:prstGeom>
          <a:gradFill flip="none" rotWithShape="1">
            <a:gsLst>
              <a:gs pos="23000">
                <a:schemeClr val="accent2">
                  <a:alpha val="0"/>
                </a:schemeClr>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95300" y="2588851"/>
            <a:ext cx="10189633" cy="2157967"/>
          </a:xfrm>
        </p:spPr>
        <p:txBody>
          <a:bodyPr/>
          <a:lstStyle>
            <a:lvl1pPr>
              <a:lnSpc>
                <a:spcPct val="90000"/>
              </a:lnSpc>
              <a:defRPr sz="6000">
                <a:solidFill>
                  <a:schemeClr val="bg1"/>
                </a:solidFill>
              </a:defRPr>
            </a:lvl1pPr>
          </a:lstStyle>
          <a:p>
            <a:r>
              <a:rPr lang="en-US"/>
              <a:t>Segue title</a:t>
            </a:r>
          </a:p>
        </p:txBody>
      </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972998"/>
            <a:ext cx="10191629"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11" name="Group 10">
            <a:extLst>
              <a:ext uri="{FF2B5EF4-FFF2-40B4-BE49-F238E27FC236}">
                <a16:creationId xmlns:a16="http://schemas.microsoft.com/office/drawing/2014/main" id="{107461A6-261B-402B-98E6-84510013E14C}"/>
              </a:ext>
            </a:extLst>
          </p:cNvPr>
          <p:cNvGrpSpPr/>
          <p:nvPr userDrawn="1"/>
        </p:nvGrpSpPr>
        <p:grpSpPr>
          <a:xfrm>
            <a:off x="495300" y="571500"/>
            <a:ext cx="2665588" cy="2665588"/>
            <a:chOff x="9606762" y="2391273"/>
            <a:chExt cx="2011778" cy="2007833"/>
          </a:xfrm>
        </p:grpSpPr>
        <p:sp>
          <p:nvSpPr>
            <p:cNvPr id="13" name="Oval 12">
              <a:extLst>
                <a:ext uri="{FF2B5EF4-FFF2-40B4-BE49-F238E27FC236}">
                  <a16:creationId xmlns:a16="http://schemas.microsoft.com/office/drawing/2014/main" id="{DBEDEF1D-249D-4E8A-9676-660DB37A6B41}"/>
                </a:ext>
              </a:extLst>
            </p:cNvPr>
            <p:cNvSpPr/>
            <p:nvPr/>
          </p:nvSpPr>
          <p:spPr bwMode="gray">
            <a:xfrm>
              <a:off x="9606762" y="2391273"/>
              <a:ext cx="2011778" cy="2007833"/>
            </a:xfrm>
            <a:prstGeom prst="ellipse">
              <a:avLst/>
            </a:prstGeom>
            <a:gradFill>
              <a:gsLst>
                <a:gs pos="0">
                  <a:srgbClr val="ECEFF3"/>
                </a:gs>
                <a:gs pos="65000">
                  <a:schemeClr val="bg1">
                    <a:lumMod val="0"/>
                    <a:lumOff val="100000"/>
                  </a:schemeClr>
                </a:gs>
              </a:gsLst>
              <a:lin ang="189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7724" tIns="38862" rIns="77724" bIns="38862" numCol="1" spcCol="0" rtlCol="0" fromWordArt="0" anchor="ctr" anchorCtr="0" forceAA="0" compatLnSpc="1">
              <a:prstTxWarp prst="textNoShape">
                <a:avLst/>
              </a:prstTxWarp>
              <a:noAutofit/>
            </a:bodyPr>
            <a:lstStyle/>
            <a:p>
              <a:pPr algn="ctr"/>
              <a:endParaRPr lang="en-US" sz="6000" b="1" err="1">
                <a:solidFill>
                  <a:srgbClr val="4A5A74"/>
                </a:solidFill>
                <a:effectLst>
                  <a:innerShdw blurRad="63500" dist="50800" dir="13500000">
                    <a:srgbClr val="314FD5">
                      <a:lumMod val="50000"/>
                      <a:alpha val="15000"/>
                    </a:srgbClr>
                  </a:innerShdw>
                </a:effectLst>
                <a:latin typeface="Microsoft Sans Serif" panose="020B0604020202020204" pitchFamily="34" charset="0"/>
              </a:endParaRPr>
            </a:p>
          </p:txBody>
        </p:sp>
        <p:sp>
          <p:nvSpPr>
            <p:cNvPr id="14" name="Oval 13">
              <a:extLst>
                <a:ext uri="{FF2B5EF4-FFF2-40B4-BE49-F238E27FC236}">
                  <a16:creationId xmlns:a16="http://schemas.microsoft.com/office/drawing/2014/main" id="{423CDF1A-9AF4-4A45-9F8E-D6535E29C8E1}"/>
                </a:ext>
              </a:extLst>
            </p:cNvPr>
            <p:cNvSpPr/>
            <p:nvPr/>
          </p:nvSpPr>
          <p:spPr bwMode="gray">
            <a:xfrm>
              <a:off x="9688492" y="2471036"/>
              <a:ext cx="1848319" cy="1848306"/>
            </a:xfrm>
            <a:prstGeom prst="ellipse">
              <a:avLst/>
            </a:prstGeom>
            <a:gradFill>
              <a:gsLst>
                <a:gs pos="0">
                  <a:schemeClr val="accent1">
                    <a:lumMod val="75000"/>
                  </a:schemeClr>
                </a:gs>
                <a:gs pos="100000">
                  <a:schemeClr val="accent1"/>
                </a:gs>
              </a:gsLst>
              <a:lin ang="18900000" scaled="0"/>
            </a:gradFill>
            <a:ln>
              <a:noFill/>
            </a:ln>
            <a:effectLst>
              <a:outerShdw blurRad="520700" dist="558800" dir="10800000" sx="91000" sy="91000" algn="r" rotWithShape="0">
                <a:prstClr val="black">
                  <a:alpha val="5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6000" err="1">
                <a:solidFill>
                  <a:prstClr val="white"/>
                </a:solidFill>
                <a:latin typeface="Microsoft Sans Serif" panose="020B0604020202020204" pitchFamily="34" charset="0"/>
              </a:endParaRPr>
            </a:p>
          </p:txBody>
        </p:sp>
        <p:sp>
          <p:nvSpPr>
            <p:cNvPr id="15" name="Oval 14">
              <a:extLst>
                <a:ext uri="{FF2B5EF4-FFF2-40B4-BE49-F238E27FC236}">
                  <a16:creationId xmlns:a16="http://schemas.microsoft.com/office/drawing/2014/main" id="{50FD2F5B-FE53-4666-880B-82FD5CD22CDD}"/>
                </a:ext>
              </a:extLst>
            </p:cNvPr>
            <p:cNvSpPr/>
            <p:nvPr/>
          </p:nvSpPr>
          <p:spPr bwMode="gray">
            <a:xfrm>
              <a:off x="9829743" y="2612290"/>
              <a:ext cx="1565805" cy="1565798"/>
            </a:xfrm>
            <a:prstGeom prst="ellipse">
              <a:avLst/>
            </a:prstGeom>
            <a:gradFill flip="none" rotWithShape="1">
              <a:gsLst>
                <a:gs pos="100000">
                  <a:srgbClr val="5B83E7"/>
                </a:gs>
                <a:gs pos="15000">
                  <a:schemeClr val="accent1"/>
                </a:gs>
              </a:gsLst>
              <a:lin ang="0" scaled="1"/>
              <a:tileRect/>
            </a:gradFill>
            <a:ln>
              <a:noFill/>
            </a:ln>
            <a:effectLst>
              <a:outerShdw blurRad="317500" dist="342900" dir="8100000" sx="90000" sy="90000" algn="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7724" tIns="38862" rIns="77724" bIns="38862" numCol="1" spcCol="0" rtlCol="0" fromWordArt="0" anchor="ctr" anchorCtr="0" forceAA="0" compatLnSpc="1">
              <a:prstTxWarp prst="textNoShape">
                <a:avLst/>
              </a:prstTxWarp>
              <a:noAutofit/>
            </a:bodyPr>
            <a:lstStyle/>
            <a:p>
              <a:pPr algn="ctr"/>
              <a:endParaRPr lang="en-US" sz="6000" b="1">
                <a:solidFill>
                  <a:srgbClr val="4A5A74"/>
                </a:solidFill>
                <a:effectLst>
                  <a:innerShdw blurRad="63500" dist="50800" dir="13500000">
                    <a:srgbClr val="314FD5">
                      <a:lumMod val="50000"/>
                      <a:alpha val="15000"/>
                    </a:srgbClr>
                  </a:innerShdw>
                </a:effectLst>
                <a:latin typeface="Microsoft Sans Serif" panose="020B0604020202020204" pitchFamily="34" charset="0"/>
              </a:endParaRPr>
            </a:p>
          </p:txBody>
        </p:sp>
      </p:grpSp>
    </p:spTree>
    <p:extLst>
      <p:ext uri="{BB962C8B-B14F-4D97-AF65-F5344CB8AC3E}">
        <p14:creationId xmlns:p14="http://schemas.microsoft.com/office/powerpoint/2010/main" val="118132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D2181632-DE20-432F-879B-9CF4F68D28AC}"/>
              </a:ext>
            </a:extLst>
          </p:cNvPr>
          <p:cNvGrpSpPr/>
          <p:nvPr userDrawn="1"/>
        </p:nvGrpSpPr>
        <p:grpSpPr>
          <a:xfrm>
            <a:off x="0" y="0"/>
            <a:ext cx="6116442" cy="6023894"/>
            <a:chOff x="0" y="0"/>
            <a:chExt cx="6116442" cy="6023894"/>
          </a:xfrm>
        </p:grpSpPr>
        <p:sp>
          <p:nvSpPr>
            <p:cNvPr id="15" name="Rectangle: Single Corner Rounded 14">
              <a:extLst>
                <a:ext uri="{FF2B5EF4-FFF2-40B4-BE49-F238E27FC236}">
                  <a16:creationId xmlns:a16="http://schemas.microsoft.com/office/drawing/2014/main" id="{085032E6-CCFF-472C-868C-2A68B44DC91E}"/>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7" name="Rectangle: Single Corner Rounded 16">
              <a:extLst>
                <a:ext uri="{FF2B5EF4-FFF2-40B4-BE49-F238E27FC236}">
                  <a16:creationId xmlns:a16="http://schemas.microsoft.com/office/drawing/2014/main" id="{E2156E45-E26F-4BD5-AA36-7E6AEEAA84DE}"/>
                </a:ext>
              </a:extLst>
            </p:cNvPr>
            <p:cNvSpPr/>
            <p:nvPr userDrawn="1"/>
          </p:nvSpPr>
          <p:spPr>
            <a:xfrm flipV="1">
              <a:off x="0" y="0"/>
              <a:ext cx="6116442" cy="5917440"/>
            </a:xfrm>
            <a:prstGeom prst="round1Rect">
              <a:avLst>
                <a:gd name="adj" fmla="val 3163"/>
              </a:avLst>
            </a:prstGeom>
            <a:gradFill>
              <a:gsLst>
                <a:gs pos="15000">
                  <a:schemeClr val="accent3"/>
                </a:gs>
                <a:gs pos="100000">
                  <a:srgbClr val="4F9781"/>
                </a:gs>
              </a:gsLst>
              <a:lin ang="18900000" scaled="0"/>
            </a:gradFill>
            <a:ln w="25400" cap="flat" cmpd="sng" algn="ctr">
              <a:noFill/>
              <a:prstDash val="solid"/>
            </a:ln>
            <a:effectLst>
              <a:outerShdw blurRad="38100" dist="12700" dir="1800000" algn="tl" rotWithShape="0">
                <a:prstClr val="black">
                  <a:alpha val="31000"/>
                </a:prstClr>
              </a:out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4BCB0B3A-8C06-4319-AAD4-5F984957B91B}"/>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95300" y="1383898"/>
            <a:ext cx="5115141"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2390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C3C5D551-0D9C-42AC-A377-0FBC2776A464}"/>
              </a:ext>
            </a:extLst>
          </p:cNvPr>
          <p:cNvGrpSpPr/>
          <p:nvPr userDrawn="1"/>
        </p:nvGrpSpPr>
        <p:grpSpPr>
          <a:xfrm>
            <a:off x="0" y="0"/>
            <a:ext cx="6116442" cy="6023894"/>
            <a:chOff x="0" y="0"/>
            <a:chExt cx="6116442" cy="6023894"/>
          </a:xfrm>
        </p:grpSpPr>
        <p:sp>
          <p:nvSpPr>
            <p:cNvPr id="15" name="Rectangle: Single Corner Rounded 14">
              <a:extLst>
                <a:ext uri="{FF2B5EF4-FFF2-40B4-BE49-F238E27FC236}">
                  <a16:creationId xmlns:a16="http://schemas.microsoft.com/office/drawing/2014/main" id="{A73BF767-9230-4032-B276-EF03D902C6CA}"/>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7" name="Rectangle: Single Corner Rounded 16">
              <a:extLst>
                <a:ext uri="{FF2B5EF4-FFF2-40B4-BE49-F238E27FC236}">
                  <a16:creationId xmlns:a16="http://schemas.microsoft.com/office/drawing/2014/main" id="{2F887A92-F523-4499-ADE6-8629F1A6E1A1}"/>
                </a:ext>
              </a:extLst>
            </p:cNvPr>
            <p:cNvSpPr/>
            <p:nvPr userDrawn="1"/>
          </p:nvSpPr>
          <p:spPr>
            <a:xfrm flipV="1">
              <a:off x="0" y="0"/>
              <a:ext cx="6116442" cy="5917440"/>
            </a:xfrm>
            <a:prstGeom prst="round1Rect">
              <a:avLst>
                <a:gd name="adj" fmla="val 3163"/>
              </a:avLst>
            </a:prstGeom>
            <a:gradFill>
              <a:gsLst>
                <a:gs pos="15000">
                  <a:srgbClr val="697790"/>
                </a:gs>
                <a:gs pos="100000">
                  <a:schemeClr val="accent5"/>
                </a:gs>
              </a:gsLst>
              <a:lin ang="18900000" scaled="0"/>
            </a:gradFill>
            <a:ln w="25400" cap="flat" cmpd="sng" algn="ctr">
              <a:noFill/>
              <a:prstDash val="solid"/>
            </a:ln>
            <a:effectLst>
              <a:outerShdw blurRad="38100" dist="12700" dir="1800000" algn="tl" rotWithShape="0">
                <a:prstClr val="black">
                  <a:alpha val="31000"/>
                </a:prstClr>
              </a:out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422251A8-EA28-404E-97A7-A22CA6456C5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95300" y="1383898"/>
            <a:ext cx="5115141"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7715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29486"/>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29486"/>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395662"/>
            <a:ext cx="10222231"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E5F6A748-1092-4A15-85E8-D8B16595332B}"/>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34235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7" name="Text Placeholder 43">
            <a:extLst>
              <a:ext uri="{FF2B5EF4-FFF2-40B4-BE49-F238E27FC236}">
                <a16:creationId xmlns:a16="http://schemas.microsoft.com/office/drawing/2014/main" id="{97C06A68-BEF2-4839-A13F-55CE9BFC23AE}"/>
              </a:ext>
            </a:extLst>
          </p:cNvPr>
          <p:cNvSpPr>
            <a:spLocks noGrp="1"/>
          </p:cNvSpPr>
          <p:nvPr>
            <p:ph type="body" sz="quarter" idx="10" hasCustomPrompt="1"/>
          </p:nvPr>
        </p:nvSpPr>
        <p:spPr bwMode="black">
          <a:xfrm>
            <a:off x="481807" y="6171314"/>
            <a:ext cx="2623343" cy="229486"/>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EF04A54E-4839-4512-A9B2-20E5D8E34D7D}"/>
              </a:ext>
            </a:extLst>
          </p:cNvPr>
          <p:cNvSpPr>
            <a:spLocks noGrp="1"/>
          </p:cNvSpPr>
          <p:nvPr>
            <p:ph type="body" sz="quarter" idx="11" hasCustomPrompt="1"/>
          </p:nvPr>
        </p:nvSpPr>
        <p:spPr bwMode="black">
          <a:xfrm>
            <a:off x="3340102" y="6171314"/>
            <a:ext cx="2613026" cy="229486"/>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3A9A91AE-1636-412A-BB68-E8E23C7F65C5}"/>
              </a:ext>
            </a:extLst>
          </p:cNvPr>
          <p:cNvSpPr>
            <a:spLocks noGrp="1"/>
          </p:cNvSpPr>
          <p:nvPr>
            <p:ph type="body" sz="quarter" idx="12" hasCustomPrompt="1"/>
          </p:nvPr>
        </p:nvSpPr>
        <p:spPr bwMode="black">
          <a:xfrm>
            <a:off x="495299" y="395662"/>
            <a:ext cx="10222231"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11" name="Oval 10">
            <a:extLst>
              <a:ext uri="{FF2B5EF4-FFF2-40B4-BE49-F238E27FC236}">
                <a16:creationId xmlns:a16="http://schemas.microsoft.com/office/drawing/2014/main" id="{0D3297C9-98AB-4F21-8EF4-9D02E4976D40}"/>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36331E57-25C7-4421-ACF9-BC5EDCED172E}"/>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39184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7" name="Text Placeholder 43">
            <a:extLst>
              <a:ext uri="{FF2B5EF4-FFF2-40B4-BE49-F238E27FC236}">
                <a16:creationId xmlns:a16="http://schemas.microsoft.com/office/drawing/2014/main" id="{4CEBED27-6A2B-4129-B25F-53D057D12558}"/>
              </a:ext>
            </a:extLst>
          </p:cNvPr>
          <p:cNvSpPr>
            <a:spLocks noGrp="1"/>
          </p:cNvSpPr>
          <p:nvPr>
            <p:ph type="body" sz="quarter" idx="10" hasCustomPrompt="1"/>
          </p:nvPr>
        </p:nvSpPr>
        <p:spPr bwMode="black">
          <a:xfrm>
            <a:off x="481807" y="6171314"/>
            <a:ext cx="2623343" cy="229486"/>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F3285D2E-D6F7-4583-825B-6C6072B8004D}"/>
              </a:ext>
            </a:extLst>
          </p:cNvPr>
          <p:cNvSpPr>
            <a:spLocks noGrp="1"/>
          </p:cNvSpPr>
          <p:nvPr>
            <p:ph type="body" sz="quarter" idx="11" hasCustomPrompt="1"/>
          </p:nvPr>
        </p:nvSpPr>
        <p:spPr bwMode="black">
          <a:xfrm>
            <a:off x="3340102" y="6171314"/>
            <a:ext cx="2613026" cy="229486"/>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9B4EDE63-91C9-4D64-8B42-7A7F1CE183D4}"/>
              </a:ext>
            </a:extLst>
          </p:cNvPr>
          <p:cNvSpPr>
            <a:spLocks noGrp="1"/>
          </p:cNvSpPr>
          <p:nvPr>
            <p:ph type="body" sz="quarter" idx="12" hasCustomPrompt="1"/>
          </p:nvPr>
        </p:nvSpPr>
        <p:spPr bwMode="black">
          <a:xfrm>
            <a:off x="495299" y="395662"/>
            <a:ext cx="10222231"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11" name="Oval 10">
            <a:extLst>
              <a:ext uri="{FF2B5EF4-FFF2-40B4-BE49-F238E27FC236}">
                <a16:creationId xmlns:a16="http://schemas.microsoft.com/office/drawing/2014/main" id="{A8A955A9-5B26-47C4-9680-3F81410297F4}"/>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D6D5CA1-E75C-45C2-BC1C-C525730252EB}"/>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957573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7" name="Text Placeholder 43">
            <a:extLst>
              <a:ext uri="{FF2B5EF4-FFF2-40B4-BE49-F238E27FC236}">
                <a16:creationId xmlns:a16="http://schemas.microsoft.com/office/drawing/2014/main" id="{C59CEA6D-8186-49F1-AB5A-06B2E4159659}"/>
              </a:ext>
            </a:extLst>
          </p:cNvPr>
          <p:cNvSpPr>
            <a:spLocks noGrp="1"/>
          </p:cNvSpPr>
          <p:nvPr>
            <p:ph type="body" sz="quarter" idx="10" hasCustomPrompt="1"/>
          </p:nvPr>
        </p:nvSpPr>
        <p:spPr bwMode="black">
          <a:xfrm>
            <a:off x="481807" y="6171314"/>
            <a:ext cx="2623343" cy="229486"/>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C83FB8D6-B1B5-4A22-A097-2898E8A7406E}"/>
              </a:ext>
            </a:extLst>
          </p:cNvPr>
          <p:cNvSpPr>
            <a:spLocks noGrp="1"/>
          </p:cNvSpPr>
          <p:nvPr>
            <p:ph type="body" sz="quarter" idx="11" hasCustomPrompt="1"/>
          </p:nvPr>
        </p:nvSpPr>
        <p:spPr bwMode="black">
          <a:xfrm>
            <a:off x="3340102" y="6171314"/>
            <a:ext cx="2613026" cy="229486"/>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F3A76F51-D652-4F4F-BBA5-0484A0D9AD9A}"/>
              </a:ext>
            </a:extLst>
          </p:cNvPr>
          <p:cNvSpPr>
            <a:spLocks noGrp="1"/>
          </p:cNvSpPr>
          <p:nvPr>
            <p:ph type="body" sz="quarter" idx="12" hasCustomPrompt="1"/>
          </p:nvPr>
        </p:nvSpPr>
        <p:spPr bwMode="black">
          <a:xfrm>
            <a:off x="495299" y="395662"/>
            <a:ext cx="10222231"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11" name="Oval 10">
            <a:extLst>
              <a:ext uri="{FF2B5EF4-FFF2-40B4-BE49-F238E27FC236}">
                <a16:creationId xmlns:a16="http://schemas.microsoft.com/office/drawing/2014/main" id="{357FC832-9F4D-41C6-8212-C098432FB403}"/>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1A0CFEB1-98F0-43C6-AEE0-D35944B1CF80}"/>
              </a:ext>
            </a:extLst>
          </p:cNvPr>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684496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
        <p:nvSpPr>
          <p:cNvPr id="19" name="TextBox 18">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20" name="TextBox 19">
            <a:extLst>
              <a:ext uri="{FF2B5EF4-FFF2-40B4-BE49-F238E27FC236}">
                <a16:creationId xmlns:a16="http://schemas.microsoft.com/office/drawing/2014/main" id="{1CA64EC1-A159-47CC-BBC8-86849D0369FF}"/>
              </a:ext>
            </a:extLst>
          </p:cNvPr>
          <p:cNvSpPr txBox="1"/>
          <p:nvPr userDrawn="1"/>
        </p:nvSpPr>
        <p:spPr bwMode="gray">
          <a:xfrm>
            <a:off x="495300" y="1128889"/>
            <a:ext cx="3940004" cy="88966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21" name="Group 20">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22"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23" name="Group 22">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25"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27"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4"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grpSp>
        <p:nvGrpSpPr>
          <p:cNvPr id="28" name="Group 4">
            <a:extLst>
              <a:ext uri="{FF2B5EF4-FFF2-40B4-BE49-F238E27FC236}">
                <a16:creationId xmlns:a16="http://schemas.microsoft.com/office/drawing/2014/main" id="{DE886775-9812-41F6-8105-104E35541267}"/>
              </a:ext>
            </a:extLst>
          </p:cNvPr>
          <p:cNvGrpSpPr>
            <a:grpSpLocks noChangeAspect="1"/>
          </p:cNvGrpSpPr>
          <p:nvPr userDrawn="1"/>
        </p:nvGrpSpPr>
        <p:grpSpPr bwMode="auto">
          <a:xfrm>
            <a:off x="2392834" y="2381801"/>
            <a:ext cx="164453" cy="164592"/>
            <a:chOff x="2653" y="972"/>
            <a:chExt cx="2372" cy="2374"/>
          </a:xfrm>
          <a:solidFill>
            <a:schemeClr val="tx1">
              <a:lumMod val="85000"/>
              <a:lumOff val="15000"/>
            </a:schemeClr>
          </a:solidFill>
        </p:grpSpPr>
        <p:sp>
          <p:nvSpPr>
            <p:cNvPr id="29" name="Freeform 5">
              <a:extLst>
                <a:ext uri="{FF2B5EF4-FFF2-40B4-BE49-F238E27FC236}">
                  <a16:creationId xmlns:a16="http://schemas.microsoft.com/office/drawing/2014/main" id="{D707ECAF-1E15-4D8A-8721-BDD7B299EC08}"/>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
              <a:extLst>
                <a:ext uri="{FF2B5EF4-FFF2-40B4-BE49-F238E27FC236}">
                  <a16:creationId xmlns:a16="http://schemas.microsoft.com/office/drawing/2014/main" id="{AA020C44-A552-4F62-B5BF-29E7AF67A73E}"/>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7">
              <a:extLst>
                <a:ext uri="{FF2B5EF4-FFF2-40B4-BE49-F238E27FC236}">
                  <a16:creationId xmlns:a16="http://schemas.microsoft.com/office/drawing/2014/main" id="{501F78CB-8C7C-4CFB-8E9A-5B5DD83FBBD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2112332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23F0CF35-D904-4B08-9483-EDB0B91BC534}"/>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15" name="TextBox 14">
            <a:extLst>
              <a:ext uri="{FF2B5EF4-FFF2-40B4-BE49-F238E27FC236}">
                <a16:creationId xmlns:a16="http://schemas.microsoft.com/office/drawing/2014/main" id="{B56BFB76-A92A-4105-B0D9-0E302868BBF0}"/>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3669838D-40C6-4B3C-A350-21FE990CABD1}"/>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
        <p:nvSpPr>
          <p:cNvPr id="21" name="TextBox 20">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22" name="TextBox 21">
            <a:extLst>
              <a:ext uri="{FF2B5EF4-FFF2-40B4-BE49-F238E27FC236}">
                <a16:creationId xmlns:a16="http://schemas.microsoft.com/office/drawing/2014/main" id="{1CA64EC1-A159-47CC-BBC8-86849D0369FF}"/>
              </a:ext>
            </a:extLst>
          </p:cNvPr>
          <p:cNvSpPr txBox="1"/>
          <p:nvPr userDrawn="1"/>
        </p:nvSpPr>
        <p:spPr bwMode="gray">
          <a:xfrm>
            <a:off x="495300" y="1128889"/>
            <a:ext cx="3940004" cy="88966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23" name="Group 22">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24"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25" name="Group 24">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2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2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grpSp>
        <p:nvGrpSpPr>
          <p:cNvPr id="30" name="Group 4">
            <a:extLst>
              <a:ext uri="{FF2B5EF4-FFF2-40B4-BE49-F238E27FC236}">
                <a16:creationId xmlns:a16="http://schemas.microsoft.com/office/drawing/2014/main" id="{DE886775-9812-41F6-8105-104E35541267}"/>
              </a:ext>
            </a:extLst>
          </p:cNvPr>
          <p:cNvGrpSpPr>
            <a:grpSpLocks noChangeAspect="1"/>
          </p:cNvGrpSpPr>
          <p:nvPr userDrawn="1"/>
        </p:nvGrpSpPr>
        <p:grpSpPr bwMode="auto">
          <a:xfrm>
            <a:off x="2392834" y="2381801"/>
            <a:ext cx="164453" cy="164592"/>
            <a:chOff x="2653" y="972"/>
            <a:chExt cx="2372" cy="2374"/>
          </a:xfrm>
          <a:solidFill>
            <a:schemeClr val="tx1">
              <a:lumMod val="85000"/>
              <a:lumOff val="15000"/>
            </a:schemeClr>
          </a:solidFill>
        </p:grpSpPr>
        <p:sp>
          <p:nvSpPr>
            <p:cNvPr id="31" name="Freeform 5">
              <a:extLst>
                <a:ext uri="{FF2B5EF4-FFF2-40B4-BE49-F238E27FC236}">
                  <a16:creationId xmlns:a16="http://schemas.microsoft.com/office/drawing/2014/main" id="{D707ECAF-1E15-4D8A-8721-BDD7B299EC08}"/>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a:extLst>
                <a:ext uri="{FF2B5EF4-FFF2-40B4-BE49-F238E27FC236}">
                  <a16:creationId xmlns:a16="http://schemas.microsoft.com/office/drawing/2014/main" id="{AA020C44-A552-4F62-B5BF-29E7AF67A73E}"/>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7">
              <a:extLst>
                <a:ext uri="{FF2B5EF4-FFF2-40B4-BE49-F238E27FC236}">
                  <a16:creationId xmlns:a16="http://schemas.microsoft.com/office/drawing/2014/main" id="{501F78CB-8C7C-4CFB-8E9A-5B5DD83FBBD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2646257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15" name="TextBox 14">
            <a:extLst>
              <a:ext uri="{FF2B5EF4-FFF2-40B4-BE49-F238E27FC236}">
                <a16:creationId xmlns:a16="http://schemas.microsoft.com/office/drawing/2014/main" id="{C8FEDB5B-F5A8-47E1-B761-005A9BC51F0D}"/>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FECEED46-2313-4721-8D5B-5C9CD22906CD}"/>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
        <p:nvSpPr>
          <p:cNvPr id="21" name="TextBox 20">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22" name="TextBox 21">
            <a:extLst>
              <a:ext uri="{FF2B5EF4-FFF2-40B4-BE49-F238E27FC236}">
                <a16:creationId xmlns:a16="http://schemas.microsoft.com/office/drawing/2014/main" id="{1CA64EC1-A159-47CC-BBC8-86849D0369FF}"/>
              </a:ext>
            </a:extLst>
          </p:cNvPr>
          <p:cNvSpPr txBox="1"/>
          <p:nvPr userDrawn="1"/>
        </p:nvSpPr>
        <p:spPr bwMode="gray">
          <a:xfrm>
            <a:off x="495300" y="1128889"/>
            <a:ext cx="3940004" cy="88966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23" name="Group 22">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24"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25" name="Group 24">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2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2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grpSp>
        <p:nvGrpSpPr>
          <p:cNvPr id="30" name="Group 4">
            <a:extLst>
              <a:ext uri="{FF2B5EF4-FFF2-40B4-BE49-F238E27FC236}">
                <a16:creationId xmlns:a16="http://schemas.microsoft.com/office/drawing/2014/main" id="{DE886775-9812-41F6-8105-104E35541267}"/>
              </a:ext>
            </a:extLst>
          </p:cNvPr>
          <p:cNvGrpSpPr>
            <a:grpSpLocks noChangeAspect="1"/>
          </p:cNvGrpSpPr>
          <p:nvPr userDrawn="1"/>
        </p:nvGrpSpPr>
        <p:grpSpPr bwMode="auto">
          <a:xfrm>
            <a:off x="2392834" y="2381801"/>
            <a:ext cx="164453" cy="164592"/>
            <a:chOff x="2653" y="972"/>
            <a:chExt cx="2372" cy="2374"/>
          </a:xfrm>
          <a:solidFill>
            <a:schemeClr val="tx1">
              <a:lumMod val="85000"/>
              <a:lumOff val="15000"/>
            </a:schemeClr>
          </a:solidFill>
        </p:grpSpPr>
        <p:sp>
          <p:nvSpPr>
            <p:cNvPr id="31" name="Freeform 5">
              <a:extLst>
                <a:ext uri="{FF2B5EF4-FFF2-40B4-BE49-F238E27FC236}">
                  <a16:creationId xmlns:a16="http://schemas.microsoft.com/office/drawing/2014/main" id="{D707ECAF-1E15-4D8A-8721-BDD7B299EC08}"/>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a:extLst>
                <a:ext uri="{FF2B5EF4-FFF2-40B4-BE49-F238E27FC236}">
                  <a16:creationId xmlns:a16="http://schemas.microsoft.com/office/drawing/2014/main" id="{AA020C44-A552-4F62-B5BF-29E7AF67A73E}"/>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7">
              <a:extLst>
                <a:ext uri="{FF2B5EF4-FFF2-40B4-BE49-F238E27FC236}">
                  <a16:creationId xmlns:a16="http://schemas.microsoft.com/office/drawing/2014/main" id="{501F78CB-8C7C-4CFB-8E9A-5B5DD83FBBD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47297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idx="10"/>
          </p:nvPr>
        </p:nvSpPr>
        <p:spPr>
          <a:xfrm>
            <a:off x="479793" y="1132232"/>
            <a:ext cx="11202619" cy="431657"/>
          </a:xfrm>
        </p:spPr>
        <p:txBody>
          <a:bodyPr anchor="t">
            <a:noAutofit/>
          </a:bodyPr>
          <a:lstStyle>
            <a:lvl1pPr marL="0" indent="0">
              <a:lnSpc>
                <a:spcPct val="83000"/>
              </a:lnSpc>
              <a:buNone/>
              <a:defRPr lang="en-US" sz="2400" b="0" kern="1200" baseline="0" dirty="0" smtClean="0">
                <a:solidFill>
                  <a:schemeClr val="accent4">
                    <a:lumMod val="75000"/>
                  </a:schemeClr>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83000"/>
              </a:lnSpc>
              <a:spcBef>
                <a:spcPts val="1800"/>
              </a:spcBef>
              <a:buFont typeface="Tahoma" panose="020B0604030504040204" pitchFamily="34" charset="0"/>
              <a:buNone/>
            </a:pPr>
            <a:r>
              <a:rPr lang="en-US"/>
              <a:t>Edit Master text styles</a:t>
            </a:r>
          </a:p>
        </p:txBody>
      </p:sp>
      <p:sp>
        <p:nvSpPr>
          <p:cNvPr id="7" name="Footer Placeholder 4"/>
          <p:cNvSpPr>
            <a:spLocks noGrp="1"/>
          </p:cNvSpPr>
          <p:nvPr>
            <p:ph type="ftr" sz="quarter" idx="3"/>
          </p:nvPr>
        </p:nvSpPr>
        <p:spPr>
          <a:xfrm>
            <a:off x="494189" y="6536104"/>
            <a:ext cx="10223342" cy="138243"/>
          </a:xfrm>
          <a:prstGeom prst="rect">
            <a:avLst/>
          </a:prstGeom>
        </p:spPr>
        <p:txBody>
          <a:bodyPr vert="horz" wrap="square" lIns="0" tIns="0" rIns="0" bIns="0" rtlCol="0" anchor="b">
            <a:noAutofit/>
          </a:bodyPr>
          <a:lstStyle>
            <a:lvl1pPr algn="l">
              <a:lnSpc>
                <a:spcPct val="125000"/>
              </a:lnSpc>
              <a:defRPr sz="800">
                <a:solidFill>
                  <a:schemeClr val="tx1">
                    <a:tint val="75000"/>
                  </a:schemeClr>
                </a:solidFill>
              </a:defRPr>
            </a:lvl1pPr>
          </a:lstStyle>
          <a:p>
            <a:r>
              <a:rPr lang="en-US"/>
              <a:t>Media Web Symposium 2023</a:t>
            </a:r>
          </a:p>
        </p:txBody>
      </p:sp>
    </p:spTree>
    <p:extLst>
      <p:ext uri="{BB962C8B-B14F-4D97-AF65-F5344CB8AC3E}">
        <p14:creationId xmlns:p14="http://schemas.microsoft.com/office/powerpoint/2010/main" val="2363350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userDrawn="1">
  <p:cSld name="Title Blue 10-24 gradien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358651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393716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906336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438976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64590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3079410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80549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77B9D6E5-F171-494D-94DE-4A2A42FD61F8}"/>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608077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2933369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422242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90643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203060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857717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3193612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722916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4180286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2568524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78EB4748-3AA6-4452-86F7-F6049F2A2921}"/>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3136483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517195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4143972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648797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659601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244065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183985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313543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327502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372172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38F21933-2100-46CB-AAA1-652FE7F65C7D}"/>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177184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1038189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136230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357723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3342705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1862485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84007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9359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42477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830857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1D9B2014-BAFE-4354-B535-BB6AE1F3C7AA}"/>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35133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478567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53343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84826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and Snapdragon are trademarks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73452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99031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81435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D929F898-A466-4045-8A64-1BBDCCB15AC1}"/>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3480620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30678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471674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469245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985610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9611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542168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2041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91244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23091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21755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55239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
        <p:nvSpPr>
          <p:cNvPr id="10" name="TextBox 9">
            <a:extLst>
              <a:ext uri="{FF2B5EF4-FFF2-40B4-BE49-F238E27FC236}">
                <a16:creationId xmlns:a16="http://schemas.microsoft.com/office/drawing/2014/main" id="{2ED98F5D-AA42-4DA4-9F3D-D3CBAD7AC2C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581282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274484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59293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127793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249491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140361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56581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Media Web Symposium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17196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13302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C41093D2-6585-419A-9C70-622FBF7494A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651232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4789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0772DE95-5F40-4C88-9E16-D7F56635871C}"/>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6645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A01FA77F-3D40-4DEB-9A7F-D3D4CF616BD2}"/>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02367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A01FA77F-3D40-4DEB-9A7F-D3D4CF616BD2}"/>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10976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5B138D84-381C-4F04-90C0-74D8D751D69B}"/>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36781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5B138D84-381C-4F04-90C0-74D8D751D69B}"/>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41976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F0C5CF58-2DC9-4B23-82BD-713A6628DCFA}"/>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73336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F8FDABDB-EFAA-43E9-B631-2683EEC8D15D}"/>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4281022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50F9C47B-623B-44C7-9C7F-1F500BFC4F8F}"/>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954112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50F9C47B-623B-44C7-9C7F-1F500BFC4F8F}"/>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623832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B05E7361-44C3-46E4-A8A9-F1B52C8F206B}"/>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83889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B05E7361-44C3-46E4-A8A9-F1B52C8F206B}"/>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64669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3457504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241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71273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00218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15199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24681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337311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68544918-59EA-42FF-BD90-3E9394ACFC21}"/>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44931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11" name="TextBox 10">
            <a:extLst>
              <a:ext uri="{FF2B5EF4-FFF2-40B4-BE49-F238E27FC236}">
                <a16:creationId xmlns:a16="http://schemas.microsoft.com/office/drawing/2014/main" id="{0778670D-4F69-4C4D-B117-2B7F0B321896}"/>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216910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23FD9A0F-97F7-4850-8C6F-60BFF40BC6F0}"/>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815809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23FD9A0F-97F7-4850-8C6F-60BFF40BC6F0}"/>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310894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11" name="TextBox 10">
            <a:extLst>
              <a:ext uri="{FF2B5EF4-FFF2-40B4-BE49-F238E27FC236}">
                <a16:creationId xmlns:a16="http://schemas.microsoft.com/office/drawing/2014/main" id="{435DC34B-0DF9-44EF-8844-6F6CC8EEFC02}"/>
              </a:ext>
            </a:extLst>
          </p:cNvPr>
          <p:cNvSpPr txBox="1"/>
          <p:nvPr/>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091566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435DC34B-0DF9-44EF-8844-6F6CC8EEFC02}"/>
              </a:ext>
            </a:extLst>
          </p:cNvPr>
          <p:cNvSpPr txBox="1"/>
          <p:nvPr/>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040747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83545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93292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2106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3724352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799040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3472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65320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483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15569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81886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52528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51492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181011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066028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228705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414245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428937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6" name="Oval 5">
            <a:extLst>
              <a:ext uri="{FF2B5EF4-FFF2-40B4-BE49-F238E27FC236}">
                <a16:creationId xmlns:a16="http://schemas.microsoft.com/office/drawing/2014/main" id="{1321BDBD-A319-4A9D-A52B-4542BAE8D156}"/>
              </a:ext>
            </a:extLst>
          </p:cNvPr>
          <p:cNvSpPr>
            <a:spLocks/>
          </p:cNvSpPr>
          <p:nvPr/>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631291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358090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34855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4114068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408262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4084339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89159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047388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4178957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257631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84826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and Snapdragon are trademarks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8378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18660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75562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783703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5EC78DCF-1518-4FD3-8C9A-D0613D2948A1}"/>
              </a:ext>
            </a:extLst>
          </p:cNvPr>
          <p:cNvSpPr txBox="1"/>
          <p:nvPr/>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9CDBF691-FA8F-4C88-8AEC-051F05CF7527}"/>
              </a:ext>
            </a:extLst>
          </p:cNvPr>
          <p:cNvSpPr txBox="1"/>
          <p:nvPr/>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94181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B2778F07-F3E7-47FA-AC3D-F54B1F2EC247}"/>
              </a:ext>
            </a:extLst>
          </p:cNvPr>
          <p:cNvSpPr txBox="1"/>
          <p:nvPr/>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8FDD115-2D89-4909-A1A6-2C7FC32DD4C9}"/>
              </a:ext>
            </a:extLst>
          </p:cNvPr>
          <p:cNvSpPr txBox="1"/>
          <p:nvPr/>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794357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C51D2F3D-2B2F-4F39-B5E2-A9CC9DA8643C}"/>
              </a:ext>
            </a:extLst>
          </p:cNvPr>
          <p:cNvSpPr txBox="1"/>
          <p:nvPr/>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5397636F-5BB7-4E70-97D3-6AE2F2B6095E}"/>
              </a:ext>
            </a:extLst>
          </p:cNvPr>
          <p:cNvSpPr txBox="1"/>
          <p:nvPr/>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062276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85630625-5612-4F53-BD70-66D7CC0D175C}"/>
              </a:ext>
            </a:extLst>
          </p:cNvPr>
          <p:cNvSpPr txBox="1"/>
          <p:nvPr/>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7883068-1DCD-419F-B0B8-46532DC1A89B}"/>
              </a:ext>
            </a:extLst>
          </p:cNvPr>
          <p:cNvSpPr txBox="1"/>
          <p:nvPr/>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5665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F341B794-4284-4622-9DB9-1B89EA5B9BE3}"/>
              </a:ext>
            </a:extLst>
          </p:cNvPr>
          <p:cNvSpPr txBox="1"/>
          <p:nvPr/>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7589ED4C-A871-488E-A454-365FF2228CDF}"/>
              </a:ext>
            </a:extLst>
          </p:cNvPr>
          <p:cNvSpPr txBox="1"/>
          <p:nvPr/>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32357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2173" y="432100"/>
            <a:ext cx="11210239" cy="429028"/>
          </a:xfrm>
        </p:spPr>
        <p:txBody>
          <a:bodyPr anchor="t"/>
          <a:lstStyle>
            <a:lvl1pPr>
              <a:lnSpc>
                <a:spcPct val="89000"/>
              </a:lnSpc>
              <a:defRPr sz="4400">
                <a:solidFill>
                  <a:schemeClr val="bg1"/>
                </a:solidFill>
              </a:defRPr>
            </a:lvl1pPr>
          </a:lstStyle>
          <a:p>
            <a:r>
              <a:rPr lang="en-US"/>
              <a:t>Click to edit</a:t>
            </a:r>
            <a:br>
              <a:rPr lang="en-US"/>
            </a:br>
            <a:r>
              <a:rPr lang="en-US"/>
              <a:t>Master title style</a:t>
            </a:r>
          </a:p>
        </p:txBody>
      </p:sp>
    </p:spTree>
    <p:extLst>
      <p:ext uri="{BB962C8B-B14F-4D97-AF65-F5344CB8AC3E}">
        <p14:creationId xmlns:p14="http://schemas.microsoft.com/office/powerpoint/2010/main" val="3422859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B56BFB76-A92A-4105-B0D9-0E302868BBF0}"/>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3669838D-40C6-4B3C-A350-21FE990CABD1}"/>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7D136-E164-49A6-96F8-C960B02E8D4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3CFF812-5B15-4756-B2C1-F4E48921473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A34887B-A20D-41DE-B72A-120019D902B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33F1C86-19C8-443B-B849-32AC854B83DD}"/>
              </a:ext>
            </a:extLst>
          </p:cNvPr>
          <p:cNvSpPr>
            <a:spLocks noGrp="1"/>
          </p:cNvSpPr>
          <p:nvPr>
            <p:ph type="ftr" sz="quarter" idx="11"/>
          </p:nvPr>
        </p:nvSpPr>
        <p:spPr/>
        <p:txBody>
          <a:bodyPr/>
          <a:lstStyle/>
          <a:p>
            <a:r>
              <a:rPr lang="en-US"/>
              <a:t>Media Web Symposium 2023</a:t>
            </a:r>
          </a:p>
        </p:txBody>
      </p:sp>
      <p:sp>
        <p:nvSpPr>
          <p:cNvPr id="6" name="Slide Number Placeholder 5">
            <a:extLst>
              <a:ext uri="{FF2B5EF4-FFF2-40B4-BE49-F238E27FC236}">
                <a16:creationId xmlns:a16="http://schemas.microsoft.com/office/drawing/2014/main" id="{EB319D67-0A07-4D74-81B3-49A325F61EF5}"/>
              </a:ext>
            </a:extLst>
          </p:cNvPr>
          <p:cNvSpPr>
            <a:spLocks noGrp="1"/>
          </p:cNvSpPr>
          <p:nvPr>
            <p:ph type="sldNum" sz="quarter" idx="12"/>
          </p:nvPr>
        </p:nvSpPr>
        <p:spPr/>
        <p:txBody>
          <a:bodyPr/>
          <a:lstStyle/>
          <a:p>
            <a:fld id="{3A7F93A9-2488-4690-B84F-F8704013CE88}" type="slidenum">
              <a:rPr lang="en-US" smtClean="0"/>
              <a:t>‹#›</a:t>
            </a:fld>
            <a:endParaRPr lang="en-US"/>
          </a:p>
        </p:txBody>
      </p:sp>
    </p:spTree>
    <p:extLst>
      <p:ext uri="{BB962C8B-B14F-4D97-AF65-F5344CB8AC3E}">
        <p14:creationId xmlns:p14="http://schemas.microsoft.com/office/powerpoint/2010/main" val="238429714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BE254-951D-496D-9D6C-F6B8979F69C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311093D-0235-41A3-AD6F-DFF42EBCACCA}"/>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4A2C622-F4A9-4694-9E16-1FFB66361676}"/>
              </a:ext>
            </a:extLst>
          </p:cNvPr>
          <p:cNvSpPr>
            <a:spLocks noGrp="1"/>
          </p:cNvSpPr>
          <p:nvPr>
            <p:ph type="ftr" sz="quarter" idx="11"/>
          </p:nvPr>
        </p:nvSpPr>
        <p:spPr/>
        <p:txBody>
          <a:bodyPr/>
          <a:lstStyle/>
          <a:p>
            <a:r>
              <a:rPr lang="en-US"/>
              <a:t>Media Web Symposium 2023</a:t>
            </a:r>
          </a:p>
        </p:txBody>
      </p:sp>
      <p:sp>
        <p:nvSpPr>
          <p:cNvPr id="5" name="Slide Number Placeholder 4">
            <a:extLst>
              <a:ext uri="{FF2B5EF4-FFF2-40B4-BE49-F238E27FC236}">
                <a16:creationId xmlns:a16="http://schemas.microsoft.com/office/drawing/2014/main" id="{959AD613-65C7-457E-AF63-0BEEE3F9B06C}"/>
              </a:ext>
            </a:extLst>
          </p:cNvPr>
          <p:cNvSpPr>
            <a:spLocks noGrp="1"/>
          </p:cNvSpPr>
          <p:nvPr>
            <p:ph type="sldNum" sz="quarter" idx="12"/>
          </p:nvPr>
        </p:nvSpPr>
        <p:spPr/>
        <p:txBody>
          <a:bodyPr/>
          <a:lstStyle/>
          <a:p>
            <a:fld id="{3CB9A250-0591-44BA-B4C3-5196FD2DD8F1}" type="slidenum">
              <a:rPr lang="en-US" smtClean="0"/>
              <a:t>‹#›</a:t>
            </a:fld>
            <a:endParaRPr lang="en-US"/>
          </a:p>
        </p:txBody>
      </p:sp>
    </p:spTree>
    <p:extLst>
      <p:ext uri="{BB962C8B-B14F-4D97-AF65-F5344CB8AC3E}">
        <p14:creationId xmlns:p14="http://schemas.microsoft.com/office/powerpoint/2010/main" val="365631323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Content Placeholder 2"/>
          <p:cNvSpPr>
            <a:spLocks noGrp="1"/>
          </p:cNvSpPr>
          <p:nvPr>
            <p:ph idx="1"/>
          </p:nvPr>
        </p:nvSpPr>
        <p:spPr>
          <a:xfrm>
            <a:off x="289062" y="1417835"/>
            <a:ext cx="11430000" cy="5015238"/>
          </a:xfrm>
          <a:prstGeom prst="rect">
            <a:avLst/>
          </a:prstGeom>
        </p:spPr>
        <p:txBody>
          <a:bodyPr/>
          <a:lstStyle>
            <a:lvl1pPr>
              <a:defRPr/>
            </a:lvl1pPr>
            <a:lvl2pPr>
              <a:defRPr/>
            </a:lvl2pPr>
            <a:lvl3pPr>
              <a:defRPr/>
            </a:lvl3pPr>
            <a:lvl4pPr>
              <a:defRPr lang="en-US" sz="2095" kern="1200" baseline="0" dirty="0">
                <a:solidFill>
                  <a:prstClr val="black">
                    <a:lumMod val="75000"/>
                    <a:lumOff val="25000"/>
                  </a:prstClr>
                </a:solidFill>
                <a:latin typeface="Qualcomm Office Regular" pitchFamily="34" charset="0"/>
                <a:ea typeface="+mn-ea"/>
                <a:cs typeface="Arial" pitchFamily="34" charset="0"/>
              </a:defRPr>
            </a:lvl4pPr>
            <a:lvl5pPr marL="1596400" indent="-346647">
              <a:buFont typeface="Qualcomm Regular" pitchFamily="34" charset="0"/>
              <a:buChar char="−"/>
              <a:defRPr/>
            </a:lvl5pPr>
            <a:lvl6pPr marL="2166543" indent="0">
              <a:buNone/>
              <a:defRPr sz="1596"/>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itle Placeholder 1"/>
          <p:cNvSpPr>
            <a:spLocks noGrp="1"/>
          </p:cNvSpPr>
          <p:nvPr>
            <p:ph type="title"/>
          </p:nvPr>
        </p:nvSpPr>
        <p:spPr>
          <a:xfrm>
            <a:off x="283542" y="605095"/>
            <a:ext cx="11432977" cy="755640"/>
          </a:xfrm>
          <a:prstGeom prst="rect">
            <a:avLst/>
          </a:prstGeom>
        </p:spPr>
        <p:txBody>
          <a:bodyPr vert="horz" wrap="square" lIns="91424" tIns="45712" rIns="91424" bIns="45712" rtlCol="0" anchor="ctr">
            <a:spAutoFit/>
          </a:bodyPr>
          <a:lstStyle>
            <a:lvl1pPr>
              <a:defRPr sz="4789"/>
            </a:lvl1pPr>
          </a:lstStyle>
          <a:p>
            <a:r>
              <a:rPr lang="en-US"/>
              <a:t>Click to edit Master title style</a:t>
            </a:r>
          </a:p>
        </p:txBody>
      </p:sp>
      <p:cxnSp>
        <p:nvCxnSpPr>
          <p:cNvPr id="14" name="Straight Connector 13"/>
          <p:cNvCxnSpPr/>
          <p:nvPr userDrawn="1"/>
        </p:nvCxnSpPr>
        <p:spPr>
          <a:xfrm>
            <a:off x="370366"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5" name="Date Placeholder 3"/>
          <p:cNvSpPr>
            <a:spLocks noGrp="1"/>
          </p:cNvSpPr>
          <p:nvPr>
            <p:ph type="dt" sz="half" idx="10"/>
          </p:nvPr>
        </p:nvSpPr>
        <p:spPr>
          <a:xfrm>
            <a:off x="1024129" y="6481462"/>
            <a:ext cx="2154143" cy="274320"/>
          </a:xfrm>
        </p:spPr>
        <p:txBody>
          <a:bodyPr/>
          <a:lstStyle/>
          <a:p>
            <a:endParaRPr lang="en-US"/>
          </a:p>
        </p:txBody>
      </p:sp>
      <p:sp>
        <p:nvSpPr>
          <p:cNvPr id="6" name="Footer Placeholder 4"/>
          <p:cNvSpPr>
            <a:spLocks noGrp="1"/>
          </p:cNvSpPr>
          <p:nvPr>
            <p:ph type="ftr" sz="quarter" idx="11"/>
          </p:nvPr>
        </p:nvSpPr>
        <p:spPr>
          <a:xfrm>
            <a:off x="4842932" y="6481462"/>
            <a:ext cx="5901459" cy="274320"/>
          </a:xfrm>
        </p:spPr>
        <p:txBody>
          <a:bodyPr/>
          <a:lstStyle/>
          <a:p>
            <a:r>
              <a:rPr lang="en-US"/>
              <a:t>Media Web Symposium 2023</a:t>
            </a:r>
          </a:p>
        </p:txBody>
      </p:sp>
      <p:sp>
        <p:nvSpPr>
          <p:cNvPr id="8" name="Slide Number Placeholder 5"/>
          <p:cNvSpPr>
            <a:spLocks noGrp="1"/>
          </p:cNvSpPr>
          <p:nvPr>
            <p:ph type="sldNum" sz="quarter" idx="12"/>
          </p:nvPr>
        </p:nvSpPr>
        <p:spPr>
          <a:xfrm>
            <a:off x="10837333" y="6481462"/>
            <a:ext cx="973667" cy="274320"/>
          </a:xfrm>
        </p:spPr>
        <p:txBody>
          <a:bodyPr/>
          <a:lstStyle/>
          <a:p>
            <a:fld id="{7986E0E3-0C10-4AB1-9C60-C3995D4BF4BF}" type="slidenum">
              <a:rPr lang="en-US" smtClean="0"/>
              <a:t>‹#›</a:t>
            </a:fld>
            <a:endParaRPr lang="en-US"/>
          </a:p>
        </p:txBody>
      </p:sp>
    </p:spTree>
    <p:extLst>
      <p:ext uri="{BB962C8B-B14F-4D97-AF65-F5344CB8AC3E}">
        <p14:creationId xmlns:p14="http://schemas.microsoft.com/office/powerpoint/2010/main" val="498373074"/>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Blank (with logo)">
    <p:spTree>
      <p:nvGrpSpPr>
        <p:cNvPr id="1" name=""/>
        <p:cNvGrpSpPr/>
        <p:nvPr/>
      </p:nvGrpSpPr>
      <p:grpSpPr>
        <a:xfrm>
          <a:off x="0" y="0"/>
          <a:ext cx="0" cy="0"/>
          <a:chOff x="0" y="0"/>
          <a:chExt cx="0" cy="0"/>
        </a:xfrm>
      </p:grpSpPr>
      <p:pic>
        <p:nvPicPr>
          <p:cNvPr id="2" name="Picture 1" descr="A picture containing vector graphics&#10;&#10;Description automatically generated">
            <a:extLst>
              <a:ext uri="{FF2B5EF4-FFF2-40B4-BE49-F238E27FC236}">
                <a16:creationId xmlns:a16="http://schemas.microsoft.com/office/drawing/2014/main" id="{C3B2B874-D1C2-4673-87CD-FAF5ECC6272F}"/>
              </a:ext>
            </a:extLst>
          </p:cNvPr>
          <p:cNvPicPr>
            <a:picLocks noChangeAspect="1"/>
          </p:cNvPicPr>
          <p:nvPr userDrawn="1"/>
        </p:nvPicPr>
        <p:blipFill>
          <a:blip r:embed="rId2"/>
          <a:stretch>
            <a:fillRect/>
          </a:stretch>
        </p:blipFill>
        <p:spPr>
          <a:xfrm>
            <a:off x="10936943" y="6182044"/>
            <a:ext cx="1057835" cy="453811"/>
          </a:xfrm>
          <a:prstGeom prst="rect">
            <a:avLst/>
          </a:prstGeom>
        </p:spPr>
      </p:pic>
    </p:spTree>
    <p:extLst>
      <p:ext uri="{BB962C8B-B14F-4D97-AF65-F5344CB8AC3E}">
        <p14:creationId xmlns:p14="http://schemas.microsoft.com/office/powerpoint/2010/main" val="329542190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03531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4275725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4285339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1777453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871156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4086119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C8FEDB5B-F5A8-47E1-B761-005A9BC51F0D}"/>
              </a:ext>
            </a:extLst>
          </p:cNvPr>
          <p:cNvSpPr txBox="1"/>
          <p:nvPr userDrawn="1"/>
        </p:nvSpPr>
        <p:spPr bwMode="gray">
          <a:xfrm>
            <a:off x="494974" y="4086843"/>
            <a:ext cx="3456432" cy="184826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and Snapdragon are trademarks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FECEED46-2313-4721-8D5B-5C9CD22906CD}"/>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05328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75857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35769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11405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046285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63935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14200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548362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939614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26255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C0654CC4-725A-43B9-BDE5-0E4BF4BD43DA}"/>
              </a:ext>
            </a:extLst>
          </p:cNvPr>
          <p:cNvSpPr>
            <a:spLocks noGrp="1"/>
          </p:cNvSpPr>
          <p:nvPr>
            <p:ph type="ftr" sz="quarter" idx="3"/>
          </p:nvPr>
        </p:nvSpPr>
        <p:spPr>
          <a:xfrm>
            <a:off x="477078" y="6484546"/>
            <a:ext cx="356616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388857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103644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23181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Media Web Symposium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85129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6853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4752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67654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8625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96799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61210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2804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tx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C8744E5A-C06A-4B60-BDC7-1D821CA9F5B0}"/>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38" name="Text Placeholder 7"/>
          <p:cNvSpPr>
            <a:spLocks noGrp="1"/>
          </p:cNvSpPr>
          <p:nvPr>
            <p:ph type="body" sz="quarter" idx="10" hasCustomPrompt="1"/>
          </p:nvPr>
        </p:nvSpPr>
        <p:spPr bwMode="black">
          <a:xfrm>
            <a:off x="495299" y="4195085"/>
            <a:ext cx="7352269"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r>
              <a:rPr lang="en-US"/>
              <a:t>Employing Entity</a:t>
            </a:r>
          </a:p>
        </p:txBody>
      </p:sp>
      <p:sp>
        <p:nvSpPr>
          <p:cNvPr id="9" name="Text Placeholder 7">
            <a:extLst>
              <a:ext uri="{FF2B5EF4-FFF2-40B4-BE49-F238E27FC236}">
                <a16:creationId xmlns:a16="http://schemas.microsoft.com/office/drawing/2014/main" id="{7E8F1094-26FF-4F59-824D-BD7309313BFD}"/>
              </a:ext>
            </a:extLst>
          </p:cNvPr>
          <p:cNvSpPr>
            <a:spLocks noGrp="1"/>
          </p:cNvSpPr>
          <p:nvPr>
            <p:ph type="body" sz="quarter" idx="11" hasCustomPrompt="1"/>
          </p:nvPr>
        </p:nvSpPr>
        <p:spPr bwMode="black">
          <a:xfrm>
            <a:off x="9076177" y="393192"/>
            <a:ext cx="2620523" cy="221599"/>
          </a:xfrm>
          <a:prstGeom prst="rect">
            <a:avLst/>
          </a:prstGeom>
        </p:spPr>
        <p:txBody>
          <a:bodyPr wrap="square" anchor="b">
            <a:spAutoFit/>
          </a:bodyPr>
          <a:lstStyle>
            <a:lvl1pPr marL="0" marR="0" indent="0" algn="r"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0"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bwMode="black">
          <a:xfrm>
            <a:off x="3350218" y="393192"/>
            <a:ext cx="2608489"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1"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bwMode="black">
          <a:xfrm>
            <a:off x="6214734" y="393192"/>
            <a:ext cx="2605416"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Location</a:t>
            </a:r>
          </a:p>
        </p:txBody>
      </p:sp>
      <p:sp>
        <p:nvSpPr>
          <p:cNvPr id="15" name="Freeform 5">
            <a:extLst>
              <a:ext uri="{FF2B5EF4-FFF2-40B4-BE49-F238E27FC236}">
                <a16:creationId xmlns:a16="http://schemas.microsoft.com/office/drawing/2014/main" id="{08A2CE3D-9628-4F81-80DA-E800C027873F}"/>
              </a:ext>
            </a:extLst>
          </p:cNvPr>
          <p:cNvSpPr>
            <a:spLocks noChangeAspect="1" noEditPoints="1"/>
          </p:cNvSpPr>
          <p:nvPr userDrawn="1"/>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C95B7907-90A3-47AE-BAA5-1FA8721F650D}"/>
              </a:ext>
            </a:extLst>
          </p:cNvPr>
          <p:cNvSpPr>
            <a:spLocks noGrp="1"/>
          </p:cNvSpPr>
          <p:nvPr>
            <p:ph type="title"/>
          </p:nvPr>
        </p:nvSpPr>
        <p:spPr>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810487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756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821679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737126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864644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887252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50407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69623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253030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4256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83617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901883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40929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77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26240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522645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353563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84899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9694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118813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041514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29905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10886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793945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204197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7510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1473658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569244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666015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397377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0292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0895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3817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37177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106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7361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687561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563385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52961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27302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359807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708068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346540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995367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1387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770886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88566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903277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14004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322449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159191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527616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667083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74529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490290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950542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80546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5EC78DCF-1518-4FD3-8C9A-D0613D2948A1}"/>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9CDBF691-FA8F-4C88-8AEC-051F05CF7527}"/>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440602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B2778F07-F3E7-47FA-AC3D-F54B1F2EC247}"/>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8FDD115-2D89-4909-A1A6-2C7FC32DD4C9}"/>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134287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C51D2F3D-2B2F-4F39-B5E2-A9CC9DA8643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5397636F-5BB7-4E70-97D3-6AE2F2B6095E}"/>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739107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85630625-5612-4F53-BD70-66D7CC0D175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7883068-1DCD-419F-B0B8-46532DC1A89B}"/>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27960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F341B794-4284-4622-9DB9-1B89EA5B9BE3}"/>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7589ED4C-A871-488E-A454-365FF2228CDF}"/>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23535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218002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Qualcomm Next" pitchFamily="50" charset="0"/>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883667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32966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latin typeface="Qualcomm Next" pitchFamily="50" charset="0"/>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latin typeface="Qualcomm Next" pitchFamily="50" charset="0"/>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266987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7CB806AF-A4FA-41A7-9F03-EB95AAD40144}"/>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400554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58061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latin typeface="Qualcomm Next" pitchFamily="50" charset="0"/>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17722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Qualcomm Next" pitchFamily="50" charset="0"/>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322491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Qualcomm Next" pitchFamily="50" charset="0"/>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Qualcomm Next" pitchFamily="50" charset="0"/>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651504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latin typeface="Qualcomm Next" pitchFamily="50" charset="0"/>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Qualcomm Next" pitchFamily="50" charset="0"/>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Qualcomm Next" pitchFamily="50" charset="0"/>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latin typeface="Qualcomm Next" pitchFamily="50" charset="0"/>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787792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Qualcomm Next" pitchFamily="50" charset="0"/>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079067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Qualcomm Next" pitchFamily="50" charset="0"/>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6592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723538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Qualcomm Next" pitchFamily="50" charset="0"/>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Qualcomm Next" pitchFamily="50" charset="0"/>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59801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latin typeface="Qualcomm Next" pitchFamily="50" charset="0"/>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Qualcomm Next" pitchFamily="50" charset="0"/>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latin typeface="Qualcomm Next" pitchFamily="50" charset="0"/>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65747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59389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latin typeface="Qualcomm Next" pitchFamily="50" charset="0"/>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72515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Qualcomm Next" pitchFamily="50" charset="0"/>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602160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Qualcomm Next" pitchFamily="50" charset="0"/>
                <a:ea typeface="+mn-ea"/>
                <a:cs typeface="+mn-cs"/>
              </a:defRPr>
            </a:lvl1pPr>
          </a:lstStyle>
          <a:p>
            <a:r>
              <a:rPr lang="en-US"/>
              <a:t>Media Web Symposium 2023</a:t>
            </a:r>
          </a:p>
        </p:txBody>
      </p:sp>
    </p:spTree>
    <p:extLst>
      <p:ext uri="{BB962C8B-B14F-4D97-AF65-F5344CB8AC3E}">
        <p14:creationId xmlns:p14="http://schemas.microsoft.com/office/powerpoint/2010/main" val="412381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Qualcomm Next" pitchFamily="50" charset="0"/>
                <a:ea typeface="+mn-ea"/>
                <a:cs typeface="+mn-cs"/>
              </a:defRPr>
            </a:lvl1pPr>
          </a:lstStyle>
          <a:p>
            <a:r>
              <a:rPr lang="en-US"/>
              <a:t>Media Web Symposium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Qualcomm Next" pitchFamily="50"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21238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Media Web Symposium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Qualcomm Next" pitchFamily="50"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74066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21244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282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92795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9325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98969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21385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72452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9821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57939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Qualcomm Next" pitchFamily="50" charset="0"/>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065436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Qualcomm Next" pitchFamily="50" charset="0"/>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045079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Qualcomm Next" pitchFamily="50" charset="0"/>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270237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Qualcomm Next" pitchFamily="50" charset="0"/>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894504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Qualcomm Next" pitchFamily="50" charset="0"/>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634539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Qualcomm Next" pitchFamily="50" charset="0"/>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447870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Tree>
    <p:extLst>
      <p:ext uri="{BB962C8B-B14F-4D97-AF65-F5344CB8AC3E}">
        <p14:creationId xmlns:p14="http://schemas.microsoft.com/office/powerpoint/2010/main" val="132583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292789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20649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latin typeface="Qualcomm Next" pitchFamily="50" charset="0"/>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14133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0256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1965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447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Qualcomm Next" pitchFamily="50" charset="0"/>
                <a:ea typeface="+mn-ea"/>
                <a:cs typeface="+mn-cs"/>
              </a:defRPr>
            </a:lvl1pPr>
          </a:lstStyle>
          <a:p>
            <a:r>
              <a:rPr lang="en-US"/>
              <a:t>Media Web Symposium 2023</a:t>
            </a:r>
          </a:p>
        </p:txBody>
      </p:sp>
    </p:spTree>
    <p:extLst>
      <p:ext uri="{BB962C8B-B14F-4D97-AF65-F5344CB8AC3E}">
        <p14:creationId xmlns:p14="http://schemas.microsoft.com/office/powerpoint/2010/main" val="4030867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Qualcomm Next" pitchFamily="50" charset="0"/>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7295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Qualcomm Next" pitchFamily="50" charset="0"/>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60415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latin typeface="Qualcomm Next" pitchFamily="50" charset="0"/>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Qualcomm Next" pitchFamily="50" charset="0"/>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417782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84580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938824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Qualcomm Next" pitchFamily="50" charset="0"/>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97883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46786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8539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09474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4395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981261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538922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389840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434310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73767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8865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0903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8114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39426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latin typeface="Qualcomm Next" pitchFamily="50" charset="0"/>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2162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grpSp>
        <p:nvGrpSpPr>
          <p:cNvPr id="6" name="Group 5">
            <a:extLst>
              <a:ext uri="{FF2B5EF4-FFF2-40B4-BE49-F238E27FC236}">
                <a16:creationId xmlns:a16="http://schemas.microsoft.com/office/drawing/2014/main" id="{99315E7A-F98F-4117-BFB1-EB0D3289C8CA}"/>
              </a:ext>
            </a:extLst>
          </p:cNvPr>
          <p:cNvGrpSpPr>
            <a:grpSpLocks noChangeAspect="1"/>
          </p:cNvGrpSpPr>
          <p:nvPr userDrawn="1"/>
        </p:nvGrpSpPr>
        <p:grpSpPr>
          <a:xfrm>
            <a:off x="8160646" y="2913424"/>
            <a:ext cx="1565538" cy="1026600"/>
            <a:chOff x="3517616" y="3354969"/>
            <a:chExt cx="949556" cy="622671"/>
          </a:xfrm>
        </p:grpSpPr>
        <p:sp>
          <p:nvSpPr>
            <p:cNvPr id="9" name="Freeform 11">
              <a:extLst>
                <a:ext uri="{FF2B5EF4-FFF2-40B4-BE49-F238E27FC236}">
                  <a16:creationId xmlns:a16="http://schemas.microsoft.com/office/drawing/2014/main" id="{3204FF1D-1DA1-4997-9119-D30FE86A4B71}"/>
                </a:ext>
              </a:extLst>
            </p:cNvPr>
            <p:cNvSpPr>
              <a:spLocks/>
            </p:cNvSpPr>
            <p:nvPr/>
          </p:nvSpPr>
          <p:spPr bwMode="auto">
            <a:xfrm>
              <a:off x="3517616" y="3354969"/>
              <a:ext cx="949556" cy="622671"/>
            </a:xfrm>
            <a:custGeom>
              <a:avLst/>
              <a:gdLst>
                <a:gd name="T0" fmla="*/ 1011 w 1051"/>
                <a:gd name="T1" fmla="*/ 689 h 689"/>
                <a:gd name="T2" fmla="*/ 40 w 1051"/>
                <a:gd name="T3" fmla="*/ 689 h 689"/>
                <a:gd name="T4" fmla="*/ 0 w 1051"/>
                <a:gd name="T5" fmla="*/ 649 h 689"/>
                <a:gd name="T6" fmla="*/ 0 w 1051"/>
                <a:gd name="T7" fmla="*/ 40 h 689"/>
                <a:gd name="T8" fmla="*/ 40 w 1051"/>
                <a:gd name="T9" fmla="*/ 0 h 689"/>
                <a:gd name="T10" fmla="*/ 1011 w 1051"/>
                <a:gd name="T11" fmla="*/ 0 h 689"/>
                <a:gd name="T12" fmla="*/ 1051 w 1051"/>
                <a:gd name="T13" fmla="*/ 40 h 689"/>
                <a:gd name="T14" fmla="*/ 1051 w 1051"/>
                <a:gd name="T15" fmla="*/ 649 h 689"/>
                <a:gd name="T16" fmla="*/ 1011 w 1051"/>
                <a:gd name="T17" fmla="*/ 689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1" h="689">
                  <a:moveTo>
                    <a:pt x="1011" y="689"/>
                  </a:moveTo>
                  <a:cubicBezTo>
                    <a:pt x="40" y="689"/>
                    <a:pt x="40" y="689"/>
                    <a:pt x="40" y="689"/>
                  </a:cubicBezTo>
                  <a:cubicBezTo>
                    <a:pt x="18" y="689"/>
                    <a:pt x="0" y="671"/>
                    <a:pt x="0" y="649"/>
                  </a:cubicBezTo>
                  <a:cubicBezTo>
                    <a:pt x="0" y="40"/>
                    <a:pt x="0" y="40"/>
                    <a:pt x="0" y="40"/>
                  </a:cubicBezTo>
                  <a:cubicBezTo>
                    <a:pt x="0" y="18"/>
                    <a:pt x="18" y="0"/>
                    <a:pt x="40" y="0"/>
                  </a:cubicBezTo>
                  <a:cubicBezTo>
                    <a:pt x="1011" y="0"/>
                    <a:pt x="1011" y="0"/>
                    <a:pt x="1011" y="0"/>
                  </a:cubicBezTo>
                  <a:cubicBezTo>
                    <a:pt x="1033" y="0"/>
                    <a:pt x="1051" y="18"/>
                    <a:pt x="1051" y="40"/>
                  </a:cubicBezTo>
                  <a:cubicBezTo>
                    <a:pt x="1051" y="649"/>
                    <a:pt x="1051" y="649"/>
                    <a:pt x="1051" y="649"/>
                  </a:cubicBezTo>
                  <a:cubicBezTo>
                    <a:pt x="1051" y="671"/>
                    <a:pt x="1033" y="689"/>
                    <a:pt x="1011" y="689"/>
                  </a:cubicBezTo>
                </a:path>
              </a:pathLst>
            </a:custGeom>
            <a:solidFill>
              <a:schemeClr val="accent2">
                <a:lumMod val="20000"/>
                <a:lumOff val="8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1" name="Freeform 12">
              <a:extLst>
                <a:ext uri="{FF2B5EF4-FFF2-40B4-BE49-F238E27FC236}">
                  <a16:creationId xmlns:a16="http://schemas.microsoft.com/office/drawing/2014/main" id="{E951590B-2C36-4D63-9A1E-EB36A69B20E2}"/>
                </a:ext>
              </a:extLst>
            </p:cNvPr>
            <p:cNvSpPr>
              <a:spLocks/>
            </p:cNvSpPr>
            <p:nvPr/>
          </p:nvSpPr>
          <p:spPr bwMode="auto">
            <a:xfrm>
              <a:off x="3882700" y="3533793"/>
              <a:ext cx="232234" cy="261982"/>
            </a:xfrm>
            <a:custGeom>
              <a:avLst/>
              <a:gdLst>
                <a:gd name="T0" fmla="*/ 21 w 257"/>
                <a:gd name="T1" fmla="*/ 0 h 290"/>
                <a:gd name="T2" fmla="*/ 0 w 257"/>
                <a:gd name="T3" fmla="*/ 21 h 290"/>
                <a:gd name="T4" fmla="*/ 0 w 257"/>
                <a:gd name="T5" fmla="*/ 269 h 290"/>
                <a:gd name="T6" fmla="*/ 21 w 257"/>
                <a:gd name="T7" fmla="*/ 290 h 290"/>
                <a:gd name="T8" fmla="*/ 30 w 257"/>
                <a:gd name="T9" fmla="*/ 288 h 290"/>
                <a:gd name="T10" fmla="*/ 30 w 257"/>
                <a:gd name="T11" fmla="*/ 288 h 290"/>
                <a:gd name="T12" fmla="*/ 31 w 257"/>
                <a:gd name="T13" fmla="*/ 288 h 290"/>
                <a:gd name="T14" fmla="*/ 33 w 257"/>
                <a:gd name="T15" fmla="*/ 287 h 290"/>
                <a:gd name="T16" fmla="*/ 244 w 257"/>
                <a:gd name="T17" fmla="*/ 165 h 290"/>
                <a:gd name="T18" fmla="*/ 244 w 257"/>
                <a:gd name="T19" fmla="*/ 164 h 290"/>
                <a:gd name="T20" fmla="*/ 257 w 257"/>
                <a:gd name="T21" fmla="*/ 145 h 290"/>
                <a:gd name="T22" fmla="*/ 245 w 257"/>
                <a:gd name="T23" fmla="*/ 126 h 290"/>
                <a:gd name="T24" fmla="*/ 245 w 257"/>
                <a:gd name="T25" fmla="*/ 126 h 290"/>
                <a:gd name="T26" fmla="*/ 33 w 257"/>
                <a:gd name="T27" fmla="*/ 3 h 290"/>
                <a:gd name="T28" fmla="*/ 32 w 257"/>
                <a:gd name="T29" fmla="*/ 3 h 290"/>
                <a:gd name="T30" fmla="*/ 30 w 257"/>
                <a:gd name="T31" fmla="*/ 2 h 290"/>
                <a:gd name="T32" fmla="*/ 30 w 257"/>
                <a:gd name="T33" fmla="*/ 2 h 290"/>
                <a:gd name="T34" fmla="*/ 21 w 257"/>
                <a:gd name="T35"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7" h="290">
                  <a:moveTo>
                    <a:pt x="21" y="0"/>
                  </a:moveTo>
                  <a:cubicBezTo>
                    <a:pt x="9" y="0"/>
                    <a:pt x="0" y="9"/>
                    <a:pt x="0" y="21"/>
                  </a:cubicBezTo>
                  <a:cubicBezTo>
                    <a:pt x="0" y="269"/>
                    <a:pt x="0" y="269"/>
                    <a:pt x="0" y="269"/>
                  </a:cubicBezTo>
                  <a:cubicBezTo>
                    <a:pt x="0" y="281"/>
                    <a:pt x="9" y="290"/>
                    <a:pt x="21" y="290"/>
                  </a:cubicBezTo>
                  <a:cubicBezTo>
                    <a:pt x="24" y="290"/>
                    <a:pt x="27" y="290"/>
                    <a:pt x="30" y="288"/>
                  </a:cubicBezTo>
                  <a:cubicBezTo>
                    <a:pt x="30" y="288"/>
                    <a:pt x="30" y="288"/>
                    <a:pt x="30" y="288"/>
                  </a:cubicBezTo>
                  <a:cubicBezTo>
                    <a:pt x="31" y="288"/>
                    <a:pt x="31" y="288"/>
                    <a:pt x="31" y="288"/>
                  </a:cubicBezTo>
                  <a:cubicBezTo>
                    <a:pt x="32" y="287"/>
                    <a:pt x="32" y="287"/>
                    <a:pt x="33" y="287"/>
                  </a:cubicBezTo>
                  <a:cubicBezTo>
                    <a:pt x="244" y="165"/>
                    <a:pt x="244" y="165"/>
                    <a:pt x="244" y="165"/>
                  </a:cubicBezTo>
                  <a:cubicBezTo>
                    <a:pt x="244" y="164"/>
                    <a:pt x="244" y="164"/>
                    <a:pt x="244" y="164"/>
                  </a:cubicBezTo>
                  <a:cubicBezTo>
                    <a:pt x="252" y="161"/>
                    <a:pt x="257" y="154"/>
                    <a:pt x="257" y="145"/>
                  </a:cubicBezTo>
                  <a:cubicBezTo>
                    <a:pt x="257" y="137"/>
                    <a:pt x="252" y="129"/>
                    <a:pt x="245" y="126"/>
                  </a:cubicBezTo>
                  <a:cubicBezTo>
                    <a:pt x="245" y="126"/>
                    <a:pt x="245" y="126"/>
                    <a:pt x="245" y="126"/>
                  </a:cubicBezTo>
                  <a:cubicBezTo>
                    <a:pt x="33" y="3"/>
                    <a:pt x="33" y="3"/>
                    <a:pt x="33" y="3"/>
                  </a:cubicBezTo>
                  <a:cubicBezTo>
                    <a:pt x="32" y="3"/>
                    <a:pt x="32" y="3"/>
                    <a:pt x="32" y="3"/>
                  </a:cubicBezTo>
                  <a:cubicBezTo>
                    <a:pt x="30" y="2"/>
                    <a:pt x="30" y="2"/>
                    <a:pt x="30" y="2"/>
                  </a:cubicBezTo>
                  <a:cubicBezTo>
                    <a:pt x="30" y="2"/>
                    <a:pt x="30" y="2"/>
                    <a:pt x="30" y="2"/>
                  </a:cubicBezTo>
                  <a:cubicBezTo>
                    <a:pt x="27" y="1"/>
                    <a:pt x="24" y="0"/>
                    <a:pt x="21" y="0"/>
                  </a:cubicBezTo>
                </a:path>
              </a:pathLst>
            </a:custGeom>
            <a:solidFill>
              <a:schemeClr val="accent2"/>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spTree>
    <p:extLst>
      <p:ext uri="{BB962C8B-B14F-4D97-AF65-F5344CB8AC3E}">
        <p14:creationId xmlns:p14="http://schemas.microsoft.com/office/powerpoint/2010/main" val="1038686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403460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670089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306973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22527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899603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269595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latin typeface="Qualcomm Next" pitchFamily="50" charset="0"/>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Qualcomm Next" pitchFamily="50" charset="0"/>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361592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latin typeface="Qualcomm Next" pitchFamily="50" charset="0"/>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latin typeface="Qualcomm Next" pitchFamily="50" charset="0"/>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657509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latin typeface="Qualcomm Next" pitchFamily="50" charset="0"/>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90832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latin typeface="Qualcomm Next" pitchFamily="50" charset="0"/>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277336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latin typeface="Qualcomm Next" pitchFamily="50" charset="0"/>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4053652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latin typeface="Qualcomm Next" pitchFamily="50" charset="0"/>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01925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Tree>
    <p:extLst>
      <p:ext uri="{BB962C8B-B14F-4D97-AF65-F5344CB8AC3E}">
        <p14:creationId xmlns:p14="http://schemas.microsoft.com/office/powerpoint/2010/main" val="4265937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Tree>
    <p:extLst>
      <p:ext uri="{BB962C8B-B14F-4D97-AF65-F5344CB8AC3E}">
        <p14:creationId xmlns:p14="http://schemas.microsoft.com/office/powerpoint/2010/main" val="1091519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Tree>
    <p:extLst>
      <p:ext uri="{BB962C8B-B14F-4D97-AF65-F5344CB8AC3E}">
        <p14:creationId xmlns:p14="http://schemas.microsoft.com/office/powerpoint/2010/main" val="3321298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latin typeface="Qualcomm Next" pitchFamily="50" charset="0"/>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Tree>
    <p:extLst>
      <p:ext uri="{BB962C8B-B14F-4D97-AF65-F5344CB8AC3E}">
        <p14:creationId xmlns:p14="http://schemas.microsoft.com/office/powerpoint/2010/main" val="10383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2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213485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Qualcomm Next" pitchFamily="50" charset="0"/>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Tree>
    <p:extLst>
      <p:ext uri="{BB962C8B-B14F-4D97-AF65-F5344CB8AC3E}">
        <p14:creationId xmlns:p14="http://schemas.microsoft.com/office/powerpoint/2010/main" val="3903835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Qualcomm Next" pitchFamily="50" charset="0"/>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latin typeface="Qualcomm Next" pitchFamily="50" charset="0"/>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6475" y="6509854"/>
            <a:ext cx="120225" cy="14221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Qualcomm Next" pitchFamily="50" charset="0"/>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Qualcomm Next" pitchFamily="50" charset="0"/>
              <a:ea typeface="+mn-ea"/>
              <a:cs typeface="+mn-cs"/>
            </a:endParaRPr>
          </a:p>
        </p:txBody>
      </p:sp>
    </p:spTree>
    <p:extLst>
      <p:ext uri="{BB962C8B-B14F-4D97-AF65-F5344CB8AC3E}">
        <p14:creationId xmlns:p14="http://schemas.microsoft.com/office/powerpoint/2010/main" val="3841079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104958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Qualcomm Next Medium" pitchFamily="50"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Qualcomm Next" pitchFamily="50"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Qualcomm Next" pitchFamily="50" charset="0"/>
                <a:ea typeface="+mn-ea"/>
                <a:cs typeface="+mn-cs"/>
              </a:rPr>
              <a:t>©2018-2020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Qualcomm Next" pitchFamily="50" charset="0"/>
                <a:ea typeface="+mn-ea"/>
                <a:cs typeface="+mn-cs"/>
              </a:rPr>
              <a:t>Qualcomm and Snapdragon are trademarks or registered trademarks of Qualcomm Incorporated.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Qualcomm Next" pitchFamily="50"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111131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104958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Qualcomm Next Medium" pitchFamily="50"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21" name="TextBox 20">
            <a:extLst>
              <a:ext uri="{FF2B5EF4-FFF2-40B4-BE49-F238E27FC236}">
                <a16:creationId xmlns:a16="http://schemas.microsoft.com/office/drawing/2014/main" id="{1BBFAAC6-E06B-C74C-A467-BC88626AAE54}"/>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Qualcomm Next" pitchFamily="50"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Qualcomm Next" pitchFamily="50" charset="0"/>
                <a:ea typeface="+mn-ea"/>
                <a:cs typeface="+mn-cs"/>
              </a:rPr>
              <a:t>©2018-2020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Qualcomm Next" pitchFamily="50" charset="0"/>
                <a:ea typeface="+mn-ea"/>
                <a:cs typeface="+mn-cs"/>
              </a:rPr>
              <a:t>Qualcomm is a trademark or registered trademark of Qualcomm Incorporated. Other products and brand names may be trademarks or registered trademarks of their respective owners.</a:t>
            </a:r>
          </a:p>
        </p:txBody>
      </p:sp>
      <p:sp>
        <p:nvSpPr>
          <p:cNvPr id="22" name="TextBox 21">
            <a:extLst>
              <a:ext uri="{FF2B5EF4-FFF2-40B4-BE49-F238E27FC236}">
                <a16:creationId xmlns:a16="http://schemas.microsoft.com/office/drawing/2014/main" id="{09CCF517-B68B-5F48-A691-33CE4DBDE9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Qualcomm Next" pitchFamily="50"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78514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104958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Qualcomm Next Medium" pitchFamily="50"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22" name="TextBox 21">
            <a:extLst>
              <a:ext uri="{FF2B5EF4-FFF2-40B4-BE49-F238E27FC236}">
                <a16:creationId xmlns:a16="http://schemas.microsoft.com/office/drawing/2014/main" id="{F2222AFD-0CBF-8243-B676-CA738970C263}"/>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Qualcomm Next" pitchFamily="50"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Qualcomm Next" pitchFamily="50" charset="0"/>
                <a:ea typeface="+mn-ea"/>
                <a:cs typeface="+mn-cs"/>
              </a:rPr>
              <a:t>©2018-2020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Qualcomm Next" pitchFamily="50" charset="0"/>
                <a:ea typeface="+mn-ea"/>
                <a:cs typeface="+mn-cs"/>
              </a:rPr>
              <a:t>Qualcomm is a trademark or registered trademark of Qualcomm Incorporated. Other products and brand names may be trademarks or registered trademarks of their respective owners.</a:t>
            </a:r>
          </a:p>
        </p:txBody>
      </p:sp>
      <p:sp>
        <p:nvSpPr>
          <p:cNvPr id="23" name="TextBox 22">
            <a:extLst>
              <a:ext uri="{FF2B5EF4-FFF2-40B4-BE49-F238E27FC236}">
                <a16:creationId xmlns:a16="http://schemas.microsoft.com/office/drawing/2014/main" id="{C206C87A-8BF9-3648-94EC-1F790D730DB3}"/>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Qualcomm Next" pitchFamily="50"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951961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104958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Qualcomm Next Medium" pitchFamily="50"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19" name="TextBox 18">
            <a:extLst>
              <a:ext uri="{FF2B5EF4-FFF2-40B4-BE49-F238E27FC236}">
                <a16:creationId xmlns:a16="http://schemas.microsoft.com/office/drawing/2014/main" id="{E6895FC1-2374-754F-91A0-8E84D6EDD07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Qualcomm Next" pitchFamily="50"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Qualcomm Next" pitchFamily="50" charset="0"/>
                <a:ea typeface="+mn-ea"/>
                <a:cs typeface="+mn-cs"/>
              </a:rPr>
              <a:t>©2018-2020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Qualcomm Next" pitchFamily="50" charset="0"/>
                <a:ea typeface="+mn-ea"/>
                <a:cs typeface="+mn-cs"/>
              </a:rPr>
              <a:t>Qualcomm is a trademark or registered trademark of Qualcomm Incorporated. Other products and brand names may be trademarks or registered trademarks of their respective owners.</a:t>
            </a:r>
          </a:p>
        </p:txBody>
      </p:sp>
      <p:sp>
        <p:nvSpPr>
          <p:cNvPr id="21" name="TextBox 20">
            <a:extLst>
              <a:ext uri="{FF2B5EF4-FFF2-40B4-BE49-F238E27FC236}">
                <a16:creationId xmlns:a16="http://schemas.microsoft.com/office/drawing/2014/main" id="{91774D6F-B47A-8040-85E7-4783F532851B}"/>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Qualcomm Next" pitchFamily="50"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7819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104958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Qualcomm Next Medium" pitchFamily="50"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26" name="TextBox 25">
            <a:extLst>
              <a:ext uri="{FF2B5EF4-FFF2-40B4-BE49-F238E27FC236}">
                <a16:creationId xmlns:a16="http://schemas.microsoft.com/office/drawing/2014/main" id="{1332D5EF-0B87-2441-A8D2-15FC67610C42}"/>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Qualcomm Next" pitchFamily="50"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Qualcomm Next" pitchFamily="50" charset="0"/>
                <a:ea typeface="+mn-ea"/>
                <a:cs typeface="+mn-cs"/>
              </a:rPr>
              <a:t>©2018-2020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Qualcomm Next" pitchFamily="50" charset="0"/>
                <a:ea typeface="+mn-ea"/>
                <a:cs typeface="+mn-cs"/>
              </a:rPr>
              <a:t>Qualcomm is a trademark or registered trademark of Qualcomm Incorporated. Other products and brand names may be trademarks or registered trademarks of their respective owners.</a:t>
            </a:r>
          </a:p>
        </p:txBody>
      </p:sp>
      <p:sp>
        <p:nvSpPr>
          <p:cNvPr id="27" name="TextBox 26">
            <a:extLst>
              <a:ext uri="{FF2B5EF4-FFF2-40B4-BE49-F238E27FC236}">
                <a16:creationId xmlns:a16="http://schemas.microsoft.com/office/drawing/2014/main" id="{220136A9-10B0-484B-B43C-1C5D81399F7F}"/>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Qualcomm Next" pitchFamily="50"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86515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latin typeface="Qualcomm Next" pitchFamily="50" charset="0"/>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104958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Qualcomm Next" pitchFamily="50"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Qualcomm Next Medium" pitchFamily="50"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Qualcomm Next" pitchFamily="50"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Qualcomm Next" pitchFamily="50" charset="0"/>
                </a:endParaRPr>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lcomm Next" pitchFamily="50" charset="0"/>
              <a:ea typeface="+mn-ea"/>
              <a:cs typeface="+mn-cs"/>
            </a:endParaRPr>
          </a:p>
        </p:txBody>
      </p:sp>
      <p:sp>
        <p:nvSpPr>
          <p:cNvPr id="21" name="TextBox 20">
            <a:extLst>
              <a:ext uri="{FF2B5EF4-FFF2-40B4-BE49-F238E27FC236}">
                <a16:creationId xmlns:a16="http://schemas.microsoft.com/office/drawing/2014/main" id="{EC8C761A-7658-7849-96A2-FD27800E6D59}"/>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Qualcomm Next" pitchFamily="50"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Qualcomm Next" pitchFamily="50" charset="0"/>
                <a:ea typeface="+mn-ea"/>
                <a:cs typeface="+mn-cs"/>
              </a:rPr>
              <a:t>©2018-2020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Qualcomm Next" pitchFamily="50" charset="0"/>
                <a:ea typeface="+mn-ea"/>
                <a:cs typeface="+mn-cs"/>
              </a:rPr>
              <a:t>Qualcomm is a trademark or registered trademark of Qualcomm Incorporated. Other products and brand names may be trademarks or registered trademarks of their respective owners.</a:t>
            </a:r>
          </a:p>
        </p:txBody>
      </p:sp>
      <p:sp>
        <p:nvSpPr>
          <p:cNvPr id="22" name="TextBox 21">
            <a:extLst>
              <a:ext uri="{FF2B5EF4-FFF2-40B4-BE49-F238E27FC236}">
                <a16:creationId xmlns:a16="http://schemas.microsoft.com/office/drawing/2014/main" id="{61E0F077-22C5-9C4D-AB1E-4CDF5BE7E8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Qualcomm Next" pitchFamily="50"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47427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779440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3265341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956481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689799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21480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7CB806AF-A4FA-41A7-9F03-EB95AAD40144}"/>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153430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A7B100CC-8F88-4029-AD1D-D7AAE0BEEC08}"/>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3308669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1388EE7B-1BDF-4D7A-9EB0-37C7C5CBCFE0}"/>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306546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9DEC851D-52A4-45B1-A1B3-95021CB3C76C}"/>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310403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379BCE9F-B7E9-445D-B396-3D6F276DBE2C}"/>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244294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E2F519A5-130D-4941-BEF9-DDD491D70F82}"/>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3804927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4D3FDB3F-CC2C-493E-9337-92AA33E854AD}"/>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994579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68255D0C-1EDE-493B-8DA6-8F3EFAE77D5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2916001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49171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F2873F8E-D55D-4D2D-A442-8CAB320EA0D6}"/>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78994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004F05D8-16DB-47B4-B03A-20CC6481F45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935013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2AEF9882-55A2-4990-AF93-2A804C461C6E}"/>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735496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0D78F864-5081-4829-A827-7CD95C8E7C7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61937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4357B337-8EA8-457A-B703-E670FE99BC8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4267760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A98B9663-351A-4691-9442-67EA99C6E7F7}"/>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058826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81D1DAAF-B7C7-4017-BB53-6EBBC3E73A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363428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994BC86A-E0A0-4527-8786-B580DFD9705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85581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FAE9398D-2BD9-4C16-8323-2756D6CD9752}"/>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D2246FF4-5C3D-473C-B3FF-4C0A7056FA2E}"/>
                  </a:ext>
                </a:extLst>
              </p14:cNvPr>
              <p14:cNvContentPartPr/>
              <p14:nvPr userDrawn="1"/>
            </p14:nvContentPartPr>
            <p14:xfrm>
              <a:off x="8145224" y="6609376"/>
              <a:ext cx="9072" cy="4608"/>
            </p14:xfrm>
          </p:contentPart>
        </mc:Choice>
        <mc:Fallback xmlns="">
          <p:pic>
            <p:nvPicPr>
              <p:cNvPr id="2" name="Ink 1">
                <a:extLst>
                  <a:ext uri="{FF2B5EF4-FFF2-40B4-BE49-F238E27FC236}">
                    <a16:creationId xmlns:a16="http://schemas.microsoft.com/office/drawing/2014/main" id="{D2246FF4-5C3D-473C-B3FF-4C0A7056FA2E}"/>
                  </a:ext>
                </a:extLst>
              </p:cNvPr>
              <p:cNvPicPr/>
              <p:nvPr/>
            </p:nvPicPr>
            <p:blipFill>
              <a:blip r:embed="rId3"/>
              <a:stretch>
                <a:fillRect/>
              </a:stretch>
            </p:blipFill>
            <p:spPr>
              <a:xfrm>
                <a:off x="8141595" y="6605831"/>
                <a:ext cx="15967" cy="11343"/>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57488EDB-6A64-4E7A-8BD3-8FD86C89C038}"/>
                  </a:ext>
                </a:extLst>
              </p14:cNvPr>
              <p14:cNvContentPartPr/>
              <p14:nvPr userDrawn="1"/>
            </p14:nvContentPartPr>
            <p14:xfrm>
              <a:off x="8149688" y="6520528"/>
              <a:ext cx="9072" cy="144"/>
            </p14:xfrm>
          </p:contentPart>
        </mc:Choice>
        <mc:Fallback xmlns="">
          <p:pic>
            <p:nvPicPr>
              <p:cNvPr id="4" name="Ink 3">
                <a:extLst>
                  <a:ext uri="{FF2B5EF4-FFF2-40B4-BE49-F238E27FC236}">
                    <a16:creationId xmlns:a16="http://schemas.microsoft.com/office/drawing/2014/main" id="{57488EDB-6A64-4E7A-8BD3-8FD86C89C038}"/>
                  </a:ext>
                </a:extLst>
              </p:cNvPr>
              <p:cNvPicPr/>
              <p:nvPr/>
            </p:nvPicPr>
            <p:blipFill>
              <a:blip r:embed="rId5"/>
              <a:stretch>
                <a:fillRect/>
              </a:stretch>
            </p:blipFill>
            <p:spPr>
              <a:xfrm>
                <a:off x="8146199" y="6519088"/>
                <a:ext cx="15702" cy="2880"/>
              </a:xfrm>
              <a:prstGeom prst="rect">
                <a:avLst/>
              </a:prstGeom>
            </p:spPr>
          </p:pic>
        </mc:Fallback>
      </mc:AlternateContent>
    </p:spTree>
    <p:extLst>
      <p:ext uri="{BB962C8B-B14F-4D97-AF65-F5344CB8AC3E}">
        <p14:creationId xmlns:p14="http://schemas.microsoft.com/office/powerpoint/2010/main" val="76357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8EB6F0EA-8370-42FA-A0A4-5D838789374E}"/>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672415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A7B100CC-8F88-4029-AD1D-D7AAE0BEEC08}"/>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36140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54A385DC-4C7B-4594-ABA3-100A9815F765}"/>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102367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8B39B602-3E9F-4A6B-B2D9-E79AEF4E653B}"/>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2006980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03B992C9-C291-4BB9-8C07-959F7EFB9F0B}"/>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3674534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10" name="Footer Placeholder 4">
            <a:extLst>
              <a:ext uri="{FF2B5EF4-FFF2-40B4-BE49-F238E27FC236}">
                <a16:creationId xmlns:a16="http://schemas.microsoft.com/office/drawing/2014/main" id="{D7823B63-13DA-4A78-952C-6373AA3502D7}"/>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1682083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44039381-74AB-4696-9CB0-B73CD547BD94}"/>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2942096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23F0CF35-D904-4B08-9483-EDB0B91BC534}"/>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2403157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77B9D6E5-F171-494D-94DE-4A2A42FD61F8}"/>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2341817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78EB4748-3AA6-4452-86F7-F6049F2A2921}"/>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50535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38F21933-2100-46CB-AAA1-652FE7F65C7D}"/>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36961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1D9B2014-BAFE-4354-B535-BB6AE1F3C7AA}"/>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2965850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5904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57824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9251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87543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58793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515111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740756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56474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84826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and Snapdragon are trademarks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786500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B56BFB76-A92A-4105-B0D9-0E302868BBF0}"/>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3669838D-40C6-4B3C-A350-21FE990CABD1}"/>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80424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C8FEDB5B-F5A8-47E1-B761-005A9BC51F0D}"/>
              </a:ext>
            </a:extLst>
          </p:cNvPr>
          <p:cNvSpPr txBox="1"/>
          <p:nvPr userDrawn="1"/>
        </p:nvSpPr>
        <p:spPr bwMode="gray">
          <a:xfrm>
            <a:off x="494974" y="4086843"/>
            <a:ext cx="3456432" cy="1848263"/>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and Snapdragon are trademarks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FECEED46-2313-4721-8D5B-5C9CD22906CD}"/>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807426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934518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0.xml><?xml version="1.0" encoding="utf-8"?>
<p:sldLayout xmlns:a="http://schemas.openxmlformats.org/drawingml/2006/main" xmlns:r="http://schemas.openxmlformats.org/officeDocument/2006/relationships" xmlns:p="http://schemas.openxmlformats.org/presentationml/2006/main" userDrawn="1">
  <p:cSld name="1_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C0654CC4-725A-43B9-BDE5-0E4BF4BD43DA}"/>
              </a:ext>
            </a:extLst>
          </p:cNvPr>
          <p:cNvSpPr>
            <a:spLocks noGrp="1"/>
          </p:cNvSpPr>
          <p:nvPr>
            <p:ph type="ftr" sz="quarter" idx="3"/>
          </p:nvPr>
        </p:nvSpPr>
        <p:spPr>
          <a:xfrm>
            <a:off x="477078" y="6484546"/>
            <a:ext cx="356616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r>
              <a:rPr lang="en-US"/>
              <a:t>Media Web Symposium 2023</a:t>
            </a:r>
          </a:p>
        </p:txBody>
      </p:sp>
    </p:spTree>
    <p:extLst>
      <p:ext uri="{BB962C8B-B14F-4D97-AF65-F5344CB8AC3E}">
        <p14:creationId xmlns:p14="http://schemas.microsoft.com/office/powerpoint/2010/main" val="212075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955348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107884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06641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72893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165963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6.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02511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339818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86596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65563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113172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702521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90559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16029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419509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Agenda 2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228341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292006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01267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257479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74566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97024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52976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208895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6011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Media Web Symposium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6878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3304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2391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71824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30191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7614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6043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73704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Media Web Symposium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1478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9556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615581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741370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45143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405100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746937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523153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2787712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2987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73233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16851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77908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87030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78658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3751228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254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65352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833564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1903386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70787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345312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8386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730873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253426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259097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377104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838894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79906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1319977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8481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44077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0345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5094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35906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7942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339365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54180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83662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42248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15494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10229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602676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364841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49491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44661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82844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846884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12996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551741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531394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671361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630326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218263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59000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1388EE7B-1BDF-4D7A-9EB0-37C7C5CBCFE0}"/>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1668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0.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05918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1.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5EC78DCF-1518-4FD3-8C9A-D0613D2948A1}"/>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9CDBF691-FA8F-4C88-8AEC-051F05CF7527}"/>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44824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2.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B2778F07-F3E7-47FA-AC3D-F54B1F2EC247}"/>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8FDD115-2D89-4909-A1A6-2C7FC32DD4C9}"/>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436702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3.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C51D2F3D-2B2F-4F39-B5E2-A9CC9DA8643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5397636F-5BB7-4E70-97D3-6AE2F2B6095E}"/>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914115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4.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85630625-5612-4F53-BD70-66D7CC0D175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7883068-1DCD-419F-B0B8-46532DC1A89B}"/>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49118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5.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F341B794-4284-4622-9DB9-1B89EA5B9BE3}"/>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7589ED4C-A871-488E-A454-365FF2228CDF}"/>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674455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6.xml><?xml version="1.0" encoding="utf-8"?>
<p:sldLayout xmlns:a="http://schemas.openxmlformats.org/drawingml/2006/main" xmlns:r="http://schemas.openxmlformats.org/officeDocument/2006/relationships" xmlns:p="http://schemas.openxmlformats.org/presentationml/2006/main" showMasterSp="0" userDrawn="1">
  <p:cSld name="1_Title Photo">
    <p:bg>
      <p:bgPr>
        <a:solidFill>
          <a:schemeClr val="tx2"/>
        </a:solidFill>
        <a:effectLst/>
      </p:bgPr>
    </p:bg>
    <p:spTree>
      <p:nvGrpSpPr>
        <p:cNvPr id="1" name=""/>
        <p:cNvGrpSpPr/>
        <p:nvPr/>
      </p:nvGrpSpPr>
      <p:grpSpPr>
        <a:xfrm>
          <a:off x="0" y="0"/>
          <a:ext cx="0" cy="0"/>
          <a:chOff x="0" y="0"/>
          <a:chExt cx="0" cy="0"/>
        </a:xfrm>
      </p:grpSpPr>
      <p:sp>
        <p:nvSpPr>
          <p:cNvPr id="38" name="Text Placeholder 7"/>
          <p:cNvSpPr>
            <a:spLocks noGrp="1"/>
          </p:cNvSpPr>
          <p:nvPr>
            <p:ph type="body" sz="quarter" idx="10" hasCustomPrompt="1"/>
          </p:nvPr>
        </p:nvSpPr>
        <p:spPr bwMode="black">
          <a:xfrm>
            <a:off x="495299" y="4195085"/>
            <a:ext cx="7352269"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r>
              <a:rPr lang="en-US"/>
              <a:t>Employing Entity</a:t>
            </a:r>
          </a:p>
        </p:txBody>
      </p:sp>
      <p:sp>
        <p:nvSpPr>
          <p:cNvPr id="9" name="Text Placeholder 7">
            <a:extLst>
              <a:ext uri="{FF2B5EF4-FFF2-40B4-BE49-F238E27FC236}">
                <a16:creationId xmlns:a16="http://schemas.microsoft.com/office/drawing/2014/main" id="{7E8F1094-26FF-4F59-824D-BD7309313BFD}"/>
              </a:ext>
            </a:extLst>
          </p:cNvPr>
          <p:cNvSpPr>
            <a:spLocks noGrp="1"/>
          </p:cNvSpPr>
          <p:nvPr>
            <p:ph type="body" sz="quarter" idx="11" hasCustomPrompt="1"/>
          </p:nvPr>
        </p:nvSpPr>
        <p:spPr bwMode="black">
          <a:xfrm>
            <a:off x="9076177" y="393192"/>
            <a:ext cx="2620523" cy="221599"/>
          </a:xfrm>
          <a:prstGeom prst="rect">
            <a:avLst/>
          </a:prstGeom>
        </p:spPr>
        <p:txBody>
          <a:bodyPr wrap="square" anchor="b">
            <a:spAutoFit/>
          </a:bodyPr>
          <a:lstStyle>
            <a:lvl1pPr marL="0" marR="0" indent="0" algn="r"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0"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bwMode="black">
          <a:xfrm>
            <a:off x="3350218" y="393192"/>
            <a:ext cx="2608489"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1"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bwMode="black">
          <a:xfrm>
            <a:off x="6214734" y="393192"/>
            <a:ext cx="2605416" cy="214226"/>
          </a:xfrm>
          <a:prstGeom prst="rect">
            <a:avLst/>
          </a:prstGeom>
        </p:spPr>
        <p:txBody>
          <a:bodyPr wrap="square" anchor="b">
            <a:spAutoFit/>
          </a:bodyPr>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Location</a:t>
            </a:r>
          </a:p>
        </p:txBody>
      </p:sp>
      <p:sp>
        <p:nvSpPr>
          <p:cNvPr id="15" name="Freeform 5">
            <a:extLst>
              <a:ext uri="{FF2B5EF4-FFF2-40B4-BE49-F238E27FC236}">
                <a16:creationId xmlns:a16="http://schemas.microsoft.com/office/drawing/2014/main" id="{08A2CE3D-9628-4F81-80DA-E800C027873F}"/>
              </a:ext>
            </a:extLst>
          </p:cNvPr>
          <p:cNvSpPr>
            <a:spLocks noChangeAspect="1" noEditPoints="1"/>
          </p:cNvSpPr>
          <p:nvPr userDrawn="1"/>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C95B7907-90A3-47AE-BAA5-1FA8721F650D}"/>
              </a:ext>
            </a:extLst>
          </p:cNvPr>
          <p:cNvSpPr>
            <a:spLocks noGrp="1"/>
          </p:cNvSpPr>
          <p:nvPr>
            <p:ph type="title"/>
          </p:nvPr>
        </p:nvSpPr>
        <p:spPr>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466174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7.xml><?xml version="1.0" encoding="utf-8"?>
<p:sldLayout xmlns:a="http://schemas.openxmlformats.org/drawingml/2006/main" xmlns:r="http://schemas.openxmlformats.org/officeDocument/2006/relationships" xmlns:p="http://schemas.openxmlformats.org/presentationml/2006/main"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4188" y="1719072"/>
            <a:ext cx="11190585"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4124973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userDrawn="1">
  <p:cSld name="2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2173" y="432100"/>
            <a:ext cx="11210239" cy="429028"/>
          </a:xfrm>
        </p:spPr>
        <p:txBody>
          <a:bodyPr anchor="t"/>
          <a:lstStyle>
            <a:lvl1pPr>
              <a:lnSpc>
                <a:spcPct val="89000"/>
              </a:lnSpc>
              <a:defRPr sz="4400">
                <a:solidFill>
                  <a:schemeClr val="bg1"/>
                </a:solidFill>
              </a:defRPr>
            </a:lvl1pPr>
          </a:lstStyle>
          <a:p>
            <a:r>
              <a:rPr lang="en-US"/>
              <a:t>Click to edit</a:t>
            </a:r>
            <a:br>
              <a:rPr lang="en-US"/>
            </a:br>
            <a:r>
              <a:rPr lang="en-US"/>
              <a:t>Master title style</a:t>
            </a:r>
          </a:p>
        </p:txBody>
      </p:sp>
    </p:spTree>
    <p:extLst>
      <p:ext uri="{BB962C8B-B14F-4D97-AF65-F5344CB8AC3E}">
        <p14:creationId xmlns:p14="http://schemas.microsoft.com/office/powerpoint/2010/main" val="413788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9.xml><?xml version="1.0" encoding="utf-8"?>
<p:sldLayout xmlns:a="http://schemas.openxmlformats.org/drawingml/2006/main" xmlns:r="http://schemas.openxmlformats.org/officeDocument/2006/relationships" xmlns:p="http://schemas.openxmlformats.org/presentationml/2006/main" showMasterSp="0"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128889"/>
            <a:ext cx="3940004" cy="98058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15" name="TextBox 14">
            <a:extLst>
              <a:ext uri="{FF2B5EF4-FFF2-40B4-BE49-F238E27FC236}">
                <a16:creationId xmlns:a16="http://schemas.microsoft.com/office/drawing/2014/main" id="{EA5B5189-69A1-47BC-BD79-D73DFFB29359}"/>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4260FD85-9A18-4996-BED2-E9130B09695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574887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52270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0.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85662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11.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35923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12.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9718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13.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667009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14.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604758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15.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51765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665866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77176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01708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260454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81694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68271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50512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93782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92836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61760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03251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374606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16308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Media Web Symposium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82053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17780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2561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00441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87406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63350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8600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3185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71534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87815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752698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538548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8593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256212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3804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66072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819514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142054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6801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57157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7747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64901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04591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1967402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123043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751931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59339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327477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2396043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082233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077787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493261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455147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54536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345659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492206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89807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168625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115349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2144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0773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4225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98464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3670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72389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1028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346757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238435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59907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95346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821183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039896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099016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1398274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03702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2946628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798834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79705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501759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133853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008818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385162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973083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44281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6.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722760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7.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1BBFAAC6-E06B-C74C-A467-BC88626AAE54}"/>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09CCF517-B68B-5F48-A691-33CE4DBDE9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016517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8.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2" name="TextBox 21">
            <a:extLst>
              <a:ext uri="{FF2B5EF4-FFF2-40B4-BE49-F238E27FC236}">
                <a16:creationId xmlns:a16="http://schemas.microsoft.com/office/drawing/2014/main" id="{F2222AFD-0CBF-8243-B676-CA738970C263}"/>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3" name="TextBox 22">
            <a:extLst>
              <a:ext uri="{FF2B5EF4-FFF2-40B4-BE49-F238E27FC236}">
                <a16:creationId xmlns:a16="http://schemas.microsoft.com/office/drawing/2014/main" id="{C206C87A-8BF9-3648-94EC-1F790D730DB3}"/>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499316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9.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9" name="TextBox 18">
            <a:extLst>
              <a:ext uri="{FF2B5EF4-FFF2-40B4-BE49-F238E27FC236}">
                <a16:creationId xmlns:a16="http://schemas.microsoft.com/office/drawing/2014/main" id="{E6895FC1-2374-754F-91A0-8E84D6EDD075}"/>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1" name="TextBox 20">
            <a:extLst>
              <a:ext uri="{FF2B5EF4-FFF2-40B4-BE49-F238E27FC236}">
                <a16:creationId xmlns:a16="http://schemas.microsoft.com/office/drawing/2014/main" id="{91774D6F-B47A-8040-85E7-4783F532851B}"/>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2"/>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41378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167178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0.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6" name="TextBox 25">
            <a:extLst>
              <a:ext uri="{FF2B5EF4-FFF2-40B4-BE49-F238E27FC236}">
                <a16:creationId xmlns:a16="http://schemas.microsoft.com/office/drawing/2014/main" id="{1332D5EF-0B87-2441-A8D2-15FC67610C42}"/>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7" name="TextBox 26">
            <a:extLst>
              <a:ext uri="{FF2B5EF4-FFF2-40B4-BE49-F238E27FC236}">
                <a16:creationId xmlns:a16="http://schemas.microsoft.com/office/drawing/2014/main" id="{220136A9-10B0-484B-B43C-1C5D81399F7F}"/>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493733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1.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EC8C761A-7658-7849-96A2-FD27800E6D59}"/>
              </a:ext>
            </a:extLst>
          </p:cNvPr>
          <p:cNvSpPr txBox="1"/>
          <p:nvPr userDrawn="1"/>
        </p:nvSpPr>
        <p:spPr bwMode="gray">
          <a:xfrm>
            <a:off x="494974" y="4086843"/>
            <a:ext cx="329470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61E0F077-22C5-9C4D-AB1E-4CDF5BE7E874}"/>
              </a:ext>
            </a:extLst>
          </p:cNvPr>
          <p:cNvSpPr txBox="1"/>
          <p:nvPr userDrawn="1"/>
        </p:nvSpPr>
        <p:spPr bwMode="gray">
          <a:xfrm>
            <a:off x="4033520" y="4086843"/>
            <a:ext cx="3954781"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497960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Content Placeholder 5"/>
          <p:cNvSpPr>
            <a:spLocks noGrp="1"/>
          </p:cNvSpPr>
          <p:nvPr>
            <p:ph sz="quarter" idx="11" hasCustomPrompt="1"/>
          </p:nvPr>
        </p:nvSpPr>
        <p:spPr>
          <a:xfrm>
            <a:off x="285792" y="1208599"/>
            <a:ext cx="11654367" cy="5866221"/>
          </a:xfrm>
          <a:prstGeom prst="rect">
            <a:avLst/>
          </a:prstGeom>
        </p:spPr>
        <p:txBody>
          <a:bodyPr/>
          <a:lstStyle>
            <a:lvl1pPr>
              <a:lnSpc>
                <a:spcPct val="120000"/>
              </a:lnSpc>
              <a:defRPr baseline="0">
                <a:solidFill>
                  <a:schemeClr val="tx1">
                    <a:lumMod val="75000"/>
                    <a:lumOff val="25000"/>
                  </a:schemeClr>
                </a:solidFill>
              </a:defRPr>
            </a:lvl1pPr>
            <a:lvl2pPr>
              <a:lnSpc>
                <a:spcPct val="120000"/>
              </a:lnSpc>
              <a:defRPr>
                <a:solidFill>
                  <a:schemeClr val="tx1">
                    <a:lumMod val="75000"/>
                    <a:lumOff val="25000"/>
                  </a:schemeClr>
                </a:solidFill>
              </a:defRPr>
            </a:lvl2pPr>
            <a:lvl3pPr marL="572916" indent="-239641">
              <a:lnSpc>
                <a:spcPct val="120000"/>
              </a:lnSpc>
              <a:defRPr>
                <a:solidFill>
                  <a:schemeClr val="tx1">
                    <a:lumMod val="75000"/>
                    <a:lumOff val="25000"/>
                  </a:schemeClr>
                </a:solidFill>
              </a:defRPr>
            </a:lvl3pPr>
            <a:lvl4pPr marL="853819" indent="-230119">
              <a:lnSpc>
                <a:spcPct val="120000"/>
              </a:lnSpc>
              <a:defRPr>
                <a:solidFill>
                  <a:schemeClr val="tx1">
                    <a:lumMod val="75000"/>
                    <a:lumOff val="25000"/>
                  </a:schemeClr>
                </a:solidFill>
              </a:defRPr>
            </a:lvl4pPr>
            <a:lvl5pPr marL="1144245" indent="-247576">
              <a:lnSpc>
                <a:spcPct val="120000"/>
              </a:lnSpc>
              <a:defRPr>
                <a:solidFill>
                  <a:schemeClr val="tx1">
                    <a:lumMod val="75000"/>
                    <a:lumOff val="25000"/>
                  </a:schemeClr>
                </a:solidFill>
              </a:defRPr>
            </a:lvl5pPr>
            <a:lvl6pPr>
              <a:lnSpc>
                <a:spcPct val="120000"/>
              </a:lnSpc>
              <a:defRPr>
                <a:solidFill>
                  <a:schemeClr val="tx1">
                    <a:lumMod val="75000"/>
                    <a:lumOff val="25000"/>
                  </a:schemeClr>
                </a:solidFill>
              </a:defRPr>
            </a:lvl6pPr>
            <a:lvl7pPr>
              <a:lnSpc>
                <a:spcPct val="120000"/>
              </a:lnSpc>
              <a:defRPr>
                <a:solidFill>
                  <a:schemeClr val="tx1">
                    <a:lumMod val="75000"/>
                    <a:lumOff val="25000"/>
                  </a:schemeClr>
                </a:solidFill>
              </a:defRPr>
            </a:lvl7pPr>
            <a:lvl8pPr marL="642745" indent="-214249">
              <a:lnSpc>
                <a:spcPct val="120000"/>
              </a:lnSpc>
              <a:defRPr>
                <a:solidFill>
                  <a:schemeClr val="tx1">
                    <a:lumMod val="75000"/>
                    <a:lumOff val="25000"/>
                  </a:schemeClr>
                </a:solidFill>
              </a:defRPr>
            </a:lvl8pPr>
            <a:lvl9pPr marL="557046" indent="-128549">
              <a:lnSpc>
                <a:spcPct val="120000"/>
              </a:lnSpc>
              <a:defRPr>
                <a:solidFill>
                  <a:schemeClr val="tx1">
                    <a:lumMod val="75000"/>
                    <a:lumOff val="25000"/>
                  </a:schemeClr>
                </a:solidFill>
              </a:defRPr>
            </a:lvl9pPr>
          </a:lstStyle>
          <a:p>
            <a:pPr lvl="0"/>
            <a:r>
              <a:rPr lang="en-US"/>
              <a:t>Click to add text (for a bullet list, use Level 2) or click one of the content icons to add content of that type.</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a:p>
            <a:pPr lvl="7"/>
            <a:r>
              <a:rPr lang="en-US"/>
              <a:t>Eighth</a:t>
            </a:r>
          </a:p>
          <a:p>
            <a:pPr lvl="7"/>
            <a:r>
              <a:rPr lang="en-US"/>
              <a:t>Eighth</a:t>
            </a:r>
          </a:p>
          <a:p>
            <a:pPr lvl="7"/>
            <a:r>
              <a:rPr lang="en-US"/>
              <a:t>Eighth</a:t>
            </a:r>
          </a:p>
          <a:p>
            <a:pPr lvl="8"/>
            <a:r>
              <a:rPr lang="en-US"/>
              <a:t>Ninth</a:t>
            </a:r>
          </a:p>
          <a:p>
            <a:pPr lvl="8"/>
            <a:r>
              <a:rPr lang="en-US"/>
              <a:t>Ninth</a:t>
            </a:r>
          </a:p>
        </p:txBody>
      </p:sp>
      <p:sp>
        <p:nvSpPr>
          <p:cNvPr id="2" name="Title 1"/>
          <p:cNvSpPr>
            <a:spLocks noGrp="1"/>
          </p:cNvSpPr>
          <p:nvPr>
            <p:ph type="title"/>
          </p:nvPr>
        </p:nvSpPr>
        <p:spPr>
          <a:xfrm>
            <a:off x="289639" y="416092"/>
            <a:ext cx="11650520" cy="525850"/>
          </a:xfrm>
          <a:prstGeom prst="rect">
            <a:avLst/>
          </a:prstGeom>
        </p:spPr>
        <p:txBody>
          <a:bodyPr/>
          <a:lstStyle>
            <a:lvl1pPr>
              <a:defRPr b="1">
                <a:solidFill>
                  <a:schemeClr val="tx1">
                    <a:lumMod val="65000"/>
                    <a:lumOff val="35000"/>
                  </a:schemeClr>
                </a:solidFill>
              </a:defRPr>
            </a:lvl1pPr>
          </a:lstStyle>
          <a:p>
            <a:r>
              <a:rPr lang="en-US"/>
              <a:t>Click to edit Master title style</a:t>
            </a:r>
          </a:p>
        </p:txBody>
      </p:sp>
      <p:sp>
        <p:nvSpPr>
          <p:cNvPr id="5" name="Footer Placeholder 4" descr="Footer"/>
          <p:cNvSpPr>
            <a:spLocks noGrp="1"/>
          </p:cNvSpPr>
          <p:nvPr>
            <p:ph type="ftr" sz="quarter" idx="12"/>
          </p:nvPr>
        </p:nvSpPr>
        <p:spPr>
          <a:xfrm>
            <a:off x="119533" y="6478292"/>
            <a:ext cx="632137" cy="232476"/>
          </a:xfrm>
          <a:prstGeom prst="rect">
            <a:avLst/>
          </a:prstGeom>
        </p:spPr>
        <p:txBody>
          <a:bodyPr/>
          <a:lstStyle/>
          <a:p>
            <a:r>
              <a:rPr lang="en-US"/>
              <a:t>Media Web Symposium 2023</a:t>
            </a:r>
          </a:p>
        </p:txBody>
      </p:sp>
    </p:spTree>
    <p:extLst>
      <p:ext uri="{BB962C8B-B14F-4D97-AF65-F5344CB8AC3E}">
        <p14:creationId xmlns:p14="http://schemas.microsoft.com/office/powerpoint/2010/main" val="153013417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93.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60449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4.xml><?xml version="1.0" encoding="utf-8"?>
<p:sldLayout xmlns:a="http://schemas.openxmlformats.org/drawingml/2006/main" xmlns:r="http://schemas.openxmlformats.org/officeDocument/2006/relationships" xmlns:p="http://schemas.openxmlformats.org/presentationml/2006/main" showMasterSp="0" preserve="1" userDrawn="1">
  <p:cSld name="Title Light Blu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a:ln>
                  <a:noFill/>
                </a:ln>
                <a:solidFill>
                  <a:srgbClr val="FFFFFF"/>
                </a:solidFill>
                <a:effectLst/>
                <a:uLnTx/>
                <a:uFillTx/>
                <a:latin typeface="Microsoft Sans Serif"/>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265179" y="1"/>
              <a:ext cx="514806" cy="6167623"/>
            </a:xfrm>
            <a:prstGeom prst="round1Rect">
              <a:avLst>
                <a:gd name="adj" fmla="val 25331"/>
              </a:avLst>
            </a:prstGeom>
            <a:gradFill flip="none" rotWithShape="1">
              <a:gsLst>
                <a:gs pos="100000">
                  <a:schemeClr val="accent1">
                    <a:lumMod val="75000"/>
                    <a:alpha val="50000"/>
                  </a:schemeClr>
                </a:gs>
                <a:gs pos="4000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37044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5.xml><?xml version="1.0" encoding="utf-8"?>
<p:sldLayout xmlns:a="http://schemas.openxmlformats.org/drawingml/2006/main" xmlns:r="http://schemas.openxmlformats.org/officeDocument/2006/relationships" xmlns:p="http://schemas.openxmlformats.org/presentationml/2006/main" showMasterSp="0" preserve="1" userDrawn="1">
  <p:cSld name="Title Te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79986" cy="6167628"/>
            <a:chOff x="-1" y="-3"/>
            <a:chExt cx="977998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3">
                <a:lumMod val="60000"/>
                <a:lumOff val="4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28020" y="2"/>
              <a:ext cx="251965" cy="6167623"/>
            </a:xfrm>
            <a:prstGeom prst="round1Rect">
              <a:avLst>
                <a:gd name="adj" fmla="val 5000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3"/>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39000">
                  <a:srgbClr val="3493A3">
                    <a:alpha val="58000"/>
                  </a:srgbClr>
                </a:gs>
                <a:gs pos="68000">
                  <a:schemeClr val="accent4">
                    <a:lumMod val="50000"/>
                  </a:schemeClr>
                </a:gs>
                <a:gs pos="0">
                  <a:schemeClr val="accent3">
                    <a:alpha val="0"/>
                  </a:schemeClr>
                </a:gs>
                <a:gs pos="100000">
                  <a:schemeClr val="accent3">
                    <a:lumMod val="5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B4A69CDC-C3E8-42CD-A432-E856010C76D8}"/>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49537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6.xml><?xml version="1.0" encoding="utf-8"?>
<p:sldLayout xmlns:a="http://schemas.openxmlformats.org/drawingml/2006/main" xmlns:r="http://schemas.openxmlformats.org/officeDocument/2006/relationships" xmlns:p="http://schemas.openxmlformats.org/presentationml/2006/main" showMasterSp="0" preserve="1" userDrawn="1">
  <p:cSld name="Title Nicke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120CCC-109C-4E5C-B306-EFDD6AA7864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6">
                <a:lumMod val="40000"/>
                <a:lumOff val="60000"/>
              </a:scheme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04A8C0BE-7856-4CA4-8492-3CB665CE0716}"/>
                </a:ext>
              </a:extLst>
            </p:cNvPr>
            <p:cNvSpPr/>
            <p:nvPr userDrawn="1"/>
          </p:nvSpPr>
          <p:spPr bwMode="gray">
            <a:xfrm flipV="1">
              <a:off x="8035728" y="0"/>
              <a:ext cx="471447" cy="5477240"/>
            </a:xfrm>
            <a:prstGeom prst="round1Rect">
              <a:avLst>
                <a:gd name="adj" fmla="val 27232"/>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6952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tx1"/>
                </a:solidFill>
              </a:defRPr>
            </a:lvl1pPr>
            <a:lvl2pPr marL="0" indent="0">
              <a:lnSpc>
                <a:spcPct val="96000"/>
              </a:lnSpc>
              <a:spcBef>
                <a:spcPts val="0"/>
              </a:spcBef>
              <a:buFont typeface="Microsoft Sans Serif" panose="020B0604020202020204" pitchFamily="34" charset="0"/>
              <a:buNone/>
              <a:defRPr sz="1800">
                <a:solidFill>
                  <a:schemeClr val="tx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tx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5" name="Freeform 5">
            <a:extLst>
              <a:ext uri="{FF2B5EF4-FFF2-40B4-BE49-F238E27FC236}">
                <a16:creationId xmlns:a16="http://schemas.microsoft.com/office/drawing/2014/main" id="{10F45CAB-6C78-42FD-A10C-D8E2F32FE9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4" name="Title 2">
            <a:extLst>
              <a:ext uri="{FF2B5EF4-FFF2-40B4-BE49-F238E27FC236}">
                <a16:creationId xmlns:a16="http://schemas.microsoft.com/office/drawing/2014/main" id="{54674946-CCA2-4A4D-840D-BEF24D092472}"/>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lvl1pPr>
          </a:lstStyle>
          <a:p>
            <a:r>
              <a:rPr lang="en-US"/>
              <a:t>Click to edit Master title style</a:t>
            </a:r>
          </a:p>
        </p:txBody>
      </p:sp>
    </p:spTree>
    <p:extLst>
      <p:ext uri="{BB962C8B-B14F-4D97-AF65-F5344CB8AC3E}">
        <p14:creationId xmlns:p14="http://schemas.microsoft.com/office/powerpoint/2010/main" val="3000915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7.xml><?xml version="1.0" encoding="utf-8"?>
<p:sldLayout xmlns:a="http://schemas.openxmlformats.org/drawingml/2006/main" xmlns:r="http://schemas.openxmlformats.org/officeDocument/2006/relationships" xmlns:p="http://schemas.openxmlformats.org/presentationml/2006/main" showMasterSp="0" preserve="1" userDrawn="1">
  <p:cSld name="Title Gun Metal">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9C18C-4185-44B8-A8F7-0B0E67D86A05}"/>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4" name="first shadow">
              <a:extLst>
                <a:ext uri="{FF2B5EF4-FFF2-40B4-BE49-F238E27FC236}">
                  <a16:creationId xmlns:a16="http://schemas.microsoft.com/office/drawing/2014/main" id="{45B2270E-52C5-4478-9D7B-6EBAC263E5EC}"/>
                </a:ext>
              </a:extLst>
            </p:cNvPr>
            <p:cNvSpPr/>
            <p:nvPr userDrawn="1"/>
          </p:nvSpPr>
          <p:spPr bwMode="gray">
            <a:xfrm flipV="1">
              <a:off x="7771339" y="0"/>
              <a:ext cx="735836" cy="5477240"/>
            </a:xfrm>
            <a:prstGeom prst="round1Rect">
              <a:avLst>
                <a:gd name="adj" fmla="val 17346"/>
              </a:avLst>
            </a:prstGeom>
            <a:gradFill flip="none" rotWithShape="0">
              <a:gsLst>
                <a:gs pos="100000">
                  <a:schemeClr val="accent5">
                    <a:lumMod val="50000"/>
                  </a:schemeClr>
                </a:gs>
                <a:gs pos="0">
                  <a:schemeClr val="accent5">
                    <a:alpha val="0"/>
                  </a:schemeClr>
                </a:gs>
                <a:gs pos="54000">
                  <a:schemeClr val="accent5">
                    <a:lumMod val="50000"/>
                    <a:alpha val="20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6" name="Freeform 5">
            <a:extLst>
              <a:ext uri="{FF2B5EF4-FFF2-40B4-BE49-F238E27FC236}">
                <a16:creationId xmlns:a16="http://schemas.microsoft.com/office/drawing/2014/main" id="{EAF54038-2EE1-4AAA-8E7D-7B51C2DE442F}"/>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1FC1E11E-35BC-4505-BB14-A81D00893FB3}"/>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1247936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8.xml><?xml version="1.0" encoding="utf-8"?>
<p:sldLayout xmlns:a="http://schemas.openxmlformats.org/drawingml/2006/main" xmlns:r="http://schemas.openxmlformats.org/officeDocument/2006/relationships" xmlns:p="http://schemas.openxmlformats.org/presentationml/2006/main" showMasterSp="0" preserve="1" userDrawn="1">
  <p:cSld name="Title Midnigh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6A3D65C-2C5D-4CD5-B664-96BCEC410C21}"/>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chemeClr val="accent5">
                    <a:lumMod val="75000"/>
                  </a:schemeClr>
                </a:gs>
                <a:gs pos="0">
                  <a:schemeClr val="accent5"/>
                </a:gs>
                <a:gs pos="64000">
                  <a:schemeClr val="accent5">
                    <a:lumMod val="7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tx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3" name="first shadow">
              <a:extLst>
                <a:ext uri="{FF2B5EF4-FFF2-40B4-BE49-F238E27FC236}">
                  <a16:creationId xmlns:a16="http://schemas.microsoft.com/office/drawing/2014/main" id="{35465864-5BD3-43E9-B02B-2CC7152314D9}"/>
                </a:ext>
              </a:extLst>
            </p:cNvPr>
            <p:cNvSpPr/>
            <p:nvPr userDrawn="1"/>
          </p:nvSpPr>
          <p:spPr bwMode="gray">
            <a:xfrm flipV="1">
              <a:off x="7771339" y="0"/>
              <a:ext cx="735836" cy="5477240"/>
            </a:xfrm>
            <a:prstGeom prst="round1Rect">
              <a:avLst>
                <a:gd name="adj" fmla="val 17346"/>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127487"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4" name="Freeform 5">
            <a:extLst>
              <a:ext uri="{FF2B5EF4-FFF2-40B4-BE49-F238E27FC236}">
                <a16:creationId xmlns:a16="http://schemas.microsoft.com/office/drawing/2014/main" id="{B888084C-17B8-4DDF-8119-204A07EF5C77}"/>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itle 2">
            <a:extLst>
              <a:ext uri="{FF2B5EF4-FFF2-40B4-BE49-F238E27FC236}">
                <a16:creationId xmlns:a16="http://schemas.microsoft.com/office/drawing/2014/main" id="{58A05AE2-9442-4730-8FBA-33FA9563787D}"/>
              </a:ext>
            </a:extLst>
          </p:cNvPr>
          <p:cNvSpPr>
            <a:spLocks noGrp="1"/>
          </p:cNvSpPr>
          <p:nvPr>
            <p:ph type="title"/>
          </p:nvPr>
        </p:nvSpPr>
        <p:spPr bwMode="gray">
          <a:xfrm>
            <a:off x="431638" y="2194052"/>
            <a:ext cx="7415930" cy="1883593"/>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46240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Agenda Light Blue">
    <p:bg>
      <p:bgPr>
        <a:solidFill>
          <a:schemeClr val="accent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2">
                  <a:lumMod val="20000"/>
                  <a:lumOff val="80000"/>
                </a:schemeClr>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2">
                <a:lumMod val="40000"/>
                <a:lumOff val="60000"/>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B5691A-A977-4B57-832C-70C2D88356F8}"/>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3E7937C0-5CE8-47A4-96CE-9474EBC72BF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2B575940-DC4A-4F89-9B40-B2D5BB14F9D5}"/>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86780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9DEC851D-52A4-45B1-A1B3-95021CB3C76C}"/>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419766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accent3"/>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4">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181E4135-726A-4D1C-A91C-5C35847AF4F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604BBF9E-6C60-435B-99A6-364C05DFE387}"/>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03726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13CB09-3697-44F2-BBB1-3C97CEEB6431}"/>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6" name="Rectangle 5">
              <a:extLst>
                <a:ext uri="{FF2B5EF4-FFF2-40B4-BE49-F238E27FC236}">
                  <a16:creationId xmlns:a16="http://schemas.microsoft.com/office/drawing/2014/main" id="{491A9D0B-FE28-9048-B13B-E76F407CA744}"/>
                </a:ext>
              </a:extLst>
            </p:cNvPr>
            <p:cNvSpPr/>
            <p:nvPr userDrawn="1"/>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r>
                <a:rPr kumimoji="0" lang="en-US" sz="1067" b="0" i="0" u="none" strike="noStrike" cap="none" spc="0" normalizeH="0" baseline="0" noProof="0">
                  <a:ln>
                    <a:noFill/>
                  </a:ln>
                  <a:solidFill>
                    <a:srgbClr val="FFFFFF"/>
                  </a:solidFill>
                  <a:effectLst/>
                  <a:uLnTx/>
                  <a:uFillTx/>
                  <a:latin typeface="Microsoft Sans Serif"/>
                </a:rPr>
                <a:t>2.63</a:t>
              </a:r>
            </a:p>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1" name="Freeform 5">
            <a:extLst>
              <a:ext uri="{FF2B5EF4-FFF2-40B4-BE49-F238E27FC236}">
                <a16:creationId xmlns:a16="http://schemas.microsoft.com/office/drawing/2014/main" id="{F4F21B3B-8370-498E-B214-1B3799C368C6}"/>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FA103B49-D00E-4047-9857-4E00A4F054CB}"/>
              </a:ext>
            </a:extLst>
          </p:cNvPr>
          <p:cNvSpPr>
            <a:spLocks noGrp="1"/>
          </p:cNvSpPr>
          <p:nvPr>
            <p:ph type="title"/>
          </p:nvPr>
        </p:nvSpPr>
        <p:spPr>
          <a:xfrm>
            <a:off x="475488" y="818952"/>
            <a:ext cx="644601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49256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6">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CA85743-DB0F-45DD-9AFD-2C0317477EE5}"/>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Freeform 5">
            <a:extLst>
              <a:ext uri="{FF2B5EF4-FFF2-40B4-BE49-F238E27FC236}">
                <a16:creationId xmlns:a16="http://schemas.microsoft.com/office/drawing/2014/main" id="{CE72B82E-6803-483D-87FB-DDB5CF32DB13}"/>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416F6E19-F6AD-4B7C-9B5E-C7F31E7AD626}"/>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91347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844D2DF1-213C-E34C-914C-F604B1F3F8D8}"/>
              </a:ext>
            </a:extLst>
          </p:cNvPr>
          <p:cNvSpPr>
            <a:spLocks noGrp="1"/>
          </p:cNvSpPr>
          <p:nvPr userDrawn="1">
            <p:ph sz="quarter" idx="10"/>
          </p:nvPr>
        </p:nvSpPr>
        <p:spPr>
          <a:xfrm>
            <a:off x="530352" y="2368296"/>
            <a:ext cx="6391148"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31C2B1F2-008B-4DC9-9D3D-15CE505559FF}"/>
              </a:ext>
            </a:extLst>
          </p:cNvPr>
          <p:cNvCxnSpPr>
            <a:cxnSpLocks/>
          </p:cNvCxnSpPr>
          <p:nvPr userDrawn="1"/>
        </p:nvCxnSpPr>
        <p:spPr>
          <a:xfrm>
            <a:off x="501650" y="2171019"/>
            <a:ext cx="6419850" cy="0"/>
          </a:xfrm>
          <a:prstGeom prst="line">
            <a:avLst/>
          </a:prstGeom>
          <a:ln w="12700" cap="rnd">
            <a:solidFill>
              <a:schemeClr val="accent5">
                <a:alpha val="71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787CA06-18E6-405B-AB57-846AB5708B52}"/>
              </a:ext>
            </a:extLst>
          </p:cNvPr>
          <p:cNvGrpSpPr/>
          <p:nvPr userDrawn="1"/>
        </p:nvGrpSpPr>
        <p:grpSpPr>
          <a:xfrm>
            <a:off x="8011668" y="-920"/>
            <a:ext cx="4180332" cy="6859841"/>
            <a:chOff x="8011668" y="-920"/>
            <a:chExt cx="4180332" cy="6859841"/>
          </a:xfrm>
        </p:grpSpPr>
        <p:sp>
          <p:nvSpPr>
            <p:cNvPr id="4" name="Rectangle 3">
              <a:extLst>
                <a:ext uri="{FF2B5EF4-FFF2-40B4-BE49-F238E27FC236}">
                  <a16:creationId xmlns:a16="http://schemas.microsoft.com/office/drawing/2014/main" id="{21308D66-143B-A349-ACCD-3D00D906A092}"/>
                </a:ext>
              </a:extLst>
            </p:cNvPr>
            <p:cNvSpPr/>
            <p:nvPr userDrawn="1"/>
          </p:nvSpPr>
          <p:spPr>
            <a:xfrm>
              <a:off x="8506968" y="236"/>
              <a:ext cx="1280160"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6" name="Rectangle 5">
              <a:extLst>
                <a:ext uri="{FF2B5EF4-FFF2-40B4-BE49-F238E27FC236}">
                  <a16:creationId xmlns:a16="http://schemas.microsoft.com/office/drawing/2014/main" id="{491A9D0B-FE28-9048-B13B-E76F407CA744}"/>
                </a:ext>
              </a:extLst>
            </p:cNvPr>
            <p:cNvSpPr/>
            <p:nvPr/>
          </p:nvSpPr>
          <p:spPr>
            <a:xfrm>
              <a:off x="9787128" y="-920"/>
              <a:ext cx="2404872" cy="6859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2" name="Rectangle: Single Corner Rounded 6">
              <a:extLst>
                <a:ext uri="{FF2B5EF4-FFF2-40B4-BE49-F238E27FC236}">
                  <a16:creationId xmlns:a16="http://schemas.microsoft.com/office/drawing/2014/main" id="{D1973D7C-0652-4165-88A1-4FB9828F5615}"/>
                </a:ext>
              </a:extLst>
            </p:cNvPr>
            <p:cNvSpPr/>
            <p:nvPr userDrawn="1"/>
          </p:nvSpPr>
          <p:spPr bwMode="gray">
            <a:xfrm flipV="1">
              <a:off x="8011668"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3" name="Rectangle: Single Corner Rounded 6">
              <a:extLst>
                <a:ext uri="{FF2B5EF4-FFF2-40B4-BE49-F238E27FC236}">
                  <a16:creationId xmlns:a16="http://schemas.microsoft.com/office/drawing/2014/main" id="{59E261A4-BD2B-47CA-A4EB-774113F2B7FE}"/>
                </a:ext>
              </a:extLst>
            </p:cNvPr>
            <p:cNvSpPr/>
            <p:nvPr userDrawn="1"/>
          </p:nvSpPr>
          <p:spPr bwMode="gray">
            <a:xfrm rot="10800000" flipH="1" flipV="1">
              <a:off x="9293353"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11" name="Freeform 5">
            <a:extLst>
              <a:ext uri="{FF2B5EF4-FFF2-40B4-BE49-F238E27FC236}">
                <a16:creationId xmlns:a16="http://schemas.microsoft.com/office/drawing/2014/main" id="{E0A1C191-D6B1-443E-80C5-308BFEE70BCD}"/>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2" name="Title 2">
            <a:extLst>
              <a:ext uri="{FF2B5EF4-FFF2-40B4-BE49-F238E27FC236}">
                <a16:creationId xmlns:a16="http://schemas.microsoft.com/office/drawing/2014/main" id="{31691490-7DFB-4251-8E05-5909F3498C2C}"/>
              </a:ext>
            </a:extLst>
          </p:cNvPr>
          <p:cNvSpPr>
            <a:spLocks noGrp="1"/>
          </p:cNvSpPr>
          <p:nvPr>
            <p:ph type="title"/>
          </p:nvPr>
        </p:nvSpPr>
        <p:spPr>
          <a:xfrm>
            <a:off x="475488" y="818952"/>
            <a:ext cx="6446012" cy="1110432"/>
          </a:xfrm>
        </p:spPr>
        <p:txBody>
          <a:bodyPr wrap="square">
            <a:sp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37815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Agenda 2 Dark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55142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1_Agenda 2 Light Blue">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2"/>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FEBB2B0-2FE9-4547-B236-AFFD265B9D1B}"/>
              </a:ext>
            </a:extLst>
          </p:cNvPr>
          <p:cNvGrpSpPr/>
          <p:nvPr userDrawn="1"/>
        </p:nvGrpSpPr>
        <p:grpSpPr>
          <a:xfrm>
            <a:off x="1" y="-920"/>
            <a:ext cx="3114500" cy="6859841"/>
            <a:chOff x="1" y="-920"/>
            <a:chExt cx="3114500" cy="6859841"/>
          </a:xfrm>
        </p:grpSpPr>
        <p:sp>
          <p:nvSpPr>
            <p:cNvPr id="5" name="Rectangle 4">
              <a:extLst>
                <a:ext uri="{FF2B5EF4-FFF2-40B4-BE49-F238E27FC236}">
                  <a16:creationId xmlns:a16="http://schemas.microsoft.com/office/drawing/2014/main" id="{E260F5EA-2531-104C-BDA5-6976E59EAEBC}"/>
                </a:ext>
              </a:extLst>
            </p:cNvPr>
            <p:cNvSpPr/>
            <p:nvPr/>
          </p:nvSpPr>
          <p:spPr>
            <a:xfrm>
              <a:off x="1805663" y="471"/>
              <a:ext cx="1308838" cy="68575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4" name="Rectangle 3">
              <a:extLst>
                <a:ext uri="{FF2B5EF4-FFF2-40B4-BE49-F238E27FC236}">
                  <a16:creationId xmlns:a16="http://schemas.microsoft.com/office/drawing/2014/main" id="{7B1049BD-3954-CA4D-8094-F10C1A4300C1}"/>
                </a:ext>
              </a:extLst>
            </p:cNvPr>
            <p:cNvSpPr/>
            <p:nvPr userDrawn="1"/>
          </p:nvSpPr>
          <p:spPr>
            <a:xfrm>
              <a:off x="1" y="-920"/>
              <a:ext cx="1805661" cy="6859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918"/>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1">
                    <a:lumMod val="75000"/>
                    <a:alpha val="50000"/>
                  </a:schemeClr>
                </a:gs>
                <a:gs pos="0">
                  <a:srgbClr val="B0C6FF">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8" name="Title 2">
            <a:extLst>
              <a:ext uri="{FF2B5EF4-FFF2-40B4-BE49-F238E27FC236}">
                <a16:creationId xmlns:a16="http://schemas.microsoft.com/office/drawing/2014/main" id="{B301E4DD-7EE3-47B4-881B-9E5B641D6B68}"/>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262956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Agenda 2 Tea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4"/>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00000">
                  <a:schemeClr val="accent3">
                    <a:lumMod val="50000"/>
                    <a:alpha val="65000"/>
                  </a:schemeClr>
                </a:gs>
                <a:gs pos="0">
                  <a:schemeClr val="accent3">
                    <a:lumMod val="60000"/>
                    <a:lumOff val="40000"/>
                    <a:alpha val="0"/>
                  </a:schemeClr>
                </a:gs>
                <a:gs pos="60000">
                  <a:schemeClr val="accent3">
                    <a:lumMod val="50000"/>
                    <a:alpha val="28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11" name="Title 2">
            <a:extLst>
              <a:ext uri="{FF2B5EF4-FFF2-40B4-BE49-F238E27FC236}">
                <a16:creationId xmlns:a16="http://schemas.microsoft.com/office/drawing/2014/main" id="{5414775D-E921-40D5-BD78-EE64D623689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301929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Agenda 2 Nickel">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59F1BC3-A25A-4F2F-AE6A-66E3CDF9CA87}"/>
              </a:ext>
            </a:extLst>
          </p:cNvPr>
          <p:cNvGrpSpPr/>
          <p:nvPr userDrawn="1"/>
        </p:nvGrpSpPr>
        <p:grpSpPr>
          <a:xfrm>
            <a:off x="1" y="-920"/>
            <a:ext cx="3114500" cy="6859841"/>
            <a:chOff x="1" y="-920"/>
            <a:chExt cx="3114500" cy="6859841"/>
          </a:xfrm>
        </p:grpSpPr>
        <p:sp>
          <p:nvSpPr>
            <p:cNvPr id="18" name="Rectangle 17">
              <a:extLst>
                <a:ext uri="{FF2B5EF4-FFF2-40B4-BE49-F238E27FC236}">
                  <a16:creationId xmlns:a16="http://schemas.microsoft.com/office/drawing/2014/main" id="{B8BB2C26-9627-4325-A099-547E93EEF246}"/>
                </a:ext>
              </a:extLst>
            </p:cNvPr>
            <p:cNvSpPr/>
            <p:nvPr/>
          </p:nvSpPr>
          <p:spPr>
            <a:xfrm>
              <a:off x="1805663" y="471"/>
              <a:ext cx="1308838" cy="6857529"/>
            </a:xfrm>
            <a:prstGeom prst="rect">
              <a:avLst/>
            </a:prstGeom>
            <a:solidFill>
              <a:srgbClr val="F2F5F8"/>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kern="0" noProof="0">
                <a:solidFill>
                  <a:prstClr val="white"/>
                </a:solidFill>
              </a:endParaRPr>
            </a:p>
          </p:txBody>
        </p:sp>
        <p:sp>
          <p:nvSpPr>
            <p:cNvPr id="20" name="Rectangle 19">
              <a:extLst>
                <a:ext uri="{FF2B5EF4-FFF2-40B4-BE49-F238E27FC236}">
                  <a16:creationId xmlns:a16="http://schemas.microsoft.com/office/drawing/2014/main" id="{7F4BE5D2-332D-407F-8716-B028E9A35910}"/>
                </a:ext>
              </a:extLst>
            </p:cNvPr>
            <p:cNvSpPr/>
            <p:nvPr userDrawn="1"/>
          </p:nvSpPr>
          <p:spPr>
            <a:xfrm>
              <a:off x="1" y="-920"/>
              <a:ext cx="1805661" cy="685984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67" b="0" i="0" u="none" strike="noStrike" cap="none" spc="0" normalizeH="0" baseline="0" noProof="0">
                <a:ln>
                  <a:noFill/>
                </a:ln>
                <a:solidFill>
                  <a:srgbClr val="FFFFFF"/>
                </a:solidFill>
                <a:effectLst/>
                <a:uLnTx/>
                <a:uFillTx/>
                <a:latin typeface="Microsoft Sans Serif"/>
              </a:endParaRPr>
            </a:p>
          </p:txBody>
        </p:sp>
        <p:sp>
          <p:nvSpPr>
            <p:cNvPr id="21" name="Rectangle: Single Corner Rounded 6">
              <a:extLst>
                <a:ext uri="{FF2B5EF4-FFF2-40B4-BE49-F238E27FC236}">
                  <a16:creationId xmlns:a16="http://schemas.microsoft.com/office/drawing/2014/main" id="{A47A36E7-7621-4007-95B2-6753845C113F}"/>
                </a:ext>
              </a:extLst>
            </p:cNvPr>
            <p:cNvSpPr/>
            <p:nvPr userDrawn="1"/>
          </p:nvSpPr>
          <p:spPr bwMode="gray">
            <a:xfrm flipV="1">
              <a:off x="1311886" y="918"/>
              <a:ext cx="493776" cy="6858003"/>
            </a:xfrm>
            <a:prstGeom prst="round1Rect">
              <a:avLst>
                <a:gd name="adj" fmla="val 0"/>
              </a:avLst>
            </a:prstGeom>
            <a:gradFill flip="none" rotWithShape="1">
              <a:gsLst>
                <a:gs pos="25000">
                  <a:schemeClr val="accent6">
                    <a:lumMod val="40000"/>
                    <a:lumOff val="60000"/>
                    <a:alpha val="0"/>
                  </a:schemeClr>
                </a:gs>
                <a:gs pos="100000">
                  <a:schemeClr val="accent6">
                    <a:lumMod val="50000"/>
                    <a:alpha val="3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2" name="Rectangle: Single Corner Rounded 6">
              <a:extLst>
                <a:ext uri="{FF2B5EF4-FFF2-40B4-BE49-F238E27FC236}">
                  <a16:creationId xmlns:a16="http://schemas.microsoft.com/office/drawing/2014/main" id="{210E8B6E-2DF4-426B-95F7-731B5512AB91}"/>
                </a:ext>
              </a:extLst>
            </p:cNvPr>
            <p:cNvSpPr/>
            <p:nvPr userDrawn="1"/>
          </p:nvSpPr>
          <p:spPr bwMode="gray">
            <a:xfrm rot="10800000" flipH="1" flipV="1">
              <a:off x="2620725" y="470"/>
              <a:ext cx="493775" cy="6857530"/>
            </a:xfrm>
            <a:prstGeom prst="round1Rect">
              <a:avLst>
                <a:gd name="adj" fmla="val 0"/>
              </a:avLst>
            </a:prstGeom>
            <a:gradFill flip="none" rotWithShape="1">
              <a:gsLst>
                <a:gs pos="17000">
                  <a:schemeClr val="accent6">
                    <a:lumMod val="20000"/>
                    <a:lumOff val="80000"/>
                    <a:alpha val="0"/>
                  </a:schemeClr>
                </a:gs>
                <a:gs pos="100000">
                  <a:schemeClr val="accent6">
                    <a:lumMod val="50000"/>
                    <a:alpha val="3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10" name="Title 2">
            <a:extLst>
              <a:ext uri="{FF2B5EF4-FFF2-40B4-BE49-F238E27FC236}">
                <a16:creationId xmlns:a16="http://schemas.microsoft.com/office/drawing/2014/main" id="{153726AC-6F2C-4544-B70D-67C1D4F0893B}"/>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111628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Agenda 2 Gun Met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2" y="-1841"/>
            <a:ext cx="1805660" cy="68598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6"/>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6" y="1"/>
            <a:ext cx="493775" cy="6857530"/>
          </a:xfrm>
          <a:prstGeom prst="round1Rect">
            <a:avLst>
              <a:gd name="adj" fmla="val 0"/>
            </a:avLst>
          </a:prstGeom>
          <a:gradFill flip="none" rotWithShape="1">
            <a:gsLst>
              <a:gs pos="100000">
                <a:schemeClr val="accent6">
                  <a:lumMod val="50000"/>
                  <a:alpha val="65000"/>
                </a:schemeClr>
              </a:gs>
              <a:gs pos="0">
                <a:schemeClr val="accent6">
                  <a:alpha val="0"/>
                </a:schemeClr>
              </a:gs>
              <a:gs pos="64000">
                <a:schemeClr val="accent6">
                  <a:lumMod val="50000"/>
                  <a:alpha val="35000"/>
                </a:scheme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5A3181C-AC11-4602-8BC8-377440D828E4}"/>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417210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Agenda 2 Midn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1049BD-3954-CA4D-8094-F10C1A4300C1}"/>
              </a:ext>
            </a:extLst>
          </p:cNvPr>
          <p:cNvSpPr/>
          <p:nvPr userDrawn="1"/>
        </p:nvSpPr>
        <p:spPr>
          <a:xfrm>
            <a:off x="1" y="-1841"/>
            <a:ext cx="1805659" cy="6859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5" name="Rectangle 4">
            <a:extLst>
              <a:ext uri="{FF2B5EF4-FFF2-40B4-BE49-F238E27FC236}">
                <a16:creationId xmlns:a16="http://schemas.microsoft.com/office/drawing/2014/main" id="{E260F5EA-2531-104C-BDA5-6976E59EAEBC}"/>
              </a:ext>
            </a:extLst>
          </p:cNvPr>
          <p:cNvSpPr/>
          <p:nvPr/>
        </p:nvSpPr>
        <p:spPr>
          <a:xfrm>
            <a:off x="1805662" y="-1"/>
            <a:ext cx="1308839" cy="68575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9" name="Content Placeholder 18">
            <a:extLst>
              <a:ext uri="{FF2B5EF4-FFF2-40B4-BE49-F238E27FC236}">
                <a16:creationId xmlns:a16="http://schemas.microsoft.com/office/drawing/2014/main" id="{71B3CBAA-80EF-5E47-BC6B-9DE61D18790F}"/>
              </a:ext>
            </a:extLst>
          </p:cNvPr>
          <p:cNvSpPr>
            <a:spLocks noGrp="1"/>
          </p:cNvSpPr>
          <p:nvPr userDrawn="1">
            <p:ph sz="quarter" idx="10"/>
          </p:nvPr>
        </p:nvSpPr>
        <p:spPr>
          <a:xfrm>
            <a:off x="3721607" y="2368296"/>
            <a:ext cx="6051401" cy="4187952"/>
          </a:xfrm>
          <a:prstGeom prst="rect">
            <a:avLst/>
          </a:prstGeom>
        </p:spPr>
        <p:txBody>
          <a:bodyPr/>
          <a:lstStyle>
            <a:lvl1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1pPr>
            <a:lvl2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2pPr>
            <a:lvl3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3pPr>
            <a:lvl4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4pPr>
            <a:lvl5pPr marL="173736" indent="-173736">
              <a:lnSpc>
                <a:spcPct val="107000"/>
              </a:lnSpc>
              <a:spcBef>
                <a:spcPts val="0"/>
              </a:spcBef>
              <a:spcAft>
                <a:spcPts val="1800"/>
              </a:spcAft>
              <a:buClr>
                <a:schemeClr val="accent5"/>
              </a:buClr>
              <a:buFont typeface="Arial" panose="020B060402020202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61DED592-645B-4F8C-8D0E-7555AF78647A}"/>
              </a:ext>
            </a:extLst>
          </p:cNvPr>
          <p:cNvCxnSpPr>
            <a:cxnSpLocks/>
          </p:cNvCxnSpPr>
          <p:nvPr userDrawn="1"/>
        </p:nvCxnSpPr>
        <p:spPr>
          <a:xfrm>
            <a:off x="3721607" y="2171019"/>
            <a:ext cx="6051402" cy="0"/>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3" name="Rectangle: Single Corner Rounded 6">
            <a:extLst>
              <a:ext uri="{FF2B5EF4-FFF2-40B4-BE49-F238E27FC236}">
                <a16:creationId xmlns:a16="http://schemas.microsoft.com/office/drawing/2014/main" id="{054816C9-AC82-418D-A618-510763EF4E47}"/>
              </a:ext>
            </a:extLst>
          </p:cNvPr>
          <p:cNvSpPr/>
          <p:nvPr userDrawn="1"/>
        </p:nvSpPr>
        <p:spPr bwMode="gray">
          <a:xfrm flipV="1">
            <a:off x="1311886" y="0"/>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4" name="Rectangle: Single Corner Rounded 6">
            <a:extLst>
              <a:ext uri="{FF2B5EF4-FFF2-40B4-BE49-F238E27FC236}">
                <a16:creationId xmlns:a16="http://schemas.microsoft.com/office/drawing/2014/main" id="{4CCFDB0A-8A2B-4779-A51E-2B0AD18672E0}"/>
              </a:ext>
            </a:extLst>
          </p:cNvPr>
          <p:cNvSpPr/>
          <p:nvPr userDrawn="1"/>
        </p:nvSpPr>
        <p:spPr bwMode="gray">
          <a:xfrm rot="10800000" flipH="1" flipV="1">
            <a:off x="2620725" y="1"/>
            <a:ext cx="493775" cy="6857530"/>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9" name="Title 2">
            <a:extLst>
              <a:ext uri="{FF2B5EF4-FFF2-40B4-BE49-F238E27FC236}">
                <a16:creationId xmlns:a16="http://schemas.microsoft.com/office/drawing/2014/main" id="{EB3AF3F0-FA4F-4CF2-86F4-3037331A78E6}"/>
              </a:ext>
            </a:extLst>
          </p:cNvPr>
          <p:cNvSpPr>
            <a:spLocks noGrp="1"/>
          </p:cNvSpPr>
          <p:nvPr>
            <p:ph type="title"/>
          </p:nvPr>
        </p:nvSpPr>
        <p:spPr>
          <a:xfrm>
            <a:off x="3694176" y="818952"/>
            <a:ext cx="6078832" cy="1110432"/>
          </a:xfrm>
        </p:spPr>
        <p:txBody>
          <a:bodyPr wrap="square">
            <a:spAutoFit/>
          </a:bodyPr>
          <a:lstStyle>
            <a:lvl1pPr>
              <a:defRPr sz="4400"/>
            </a:lvl1pPr>
          </a:lstStyle>
          <a:p>
            <a:r>
              <a:rPr lang="en-US"/>
              <a:t>Click to edit Master title style</a:t>
            </a:r>
          </a:p>
        </p:txBody>
      </p:sp>
    </p:spTree>
    <p:extLst>
      <p:ext uri="{BB962C8B-B14F-4D97-AF65-F5344CB8AC3E}">
        <p14:creationId xmlns:p14="http://schemas.microsoft.com/office/powerpoint/2010/main" val="920132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5412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143787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50971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10489691" cy="116955"/>
          </a:xfrm>
        </p:spPr>
        <p:txBody>
          <a:bodyPr/>
          <a:lstStyle>
            <a:lvl1pPr>
              <a:defRPr>
                <a:solidFill>
                  <a:schemeClr val="accent5">
                    <a:lumMod val="60000"/>
                    <a:lumOff val="40000"/>
                  </a:schemeClr>
                </a:solidFill>
              </a:defRPr>
            </a:lvl1pPr>
          </a:lstStyle>
          <a:p>
            <a:r>
              <a:rPr lang="en-US"/>
              <a:t>Media Web Symposium 2023</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12254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41428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4379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F7413-427B-4F07-806F-E831FB15B742}"/>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895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EBDE72-AAC3-4FD4-B63C-6EC864078FC7}"/>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0772DE95-5F40-4C88-9E16-D7F56635871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6444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4726C-A8F1-44A2-A682-1C3A6ED5EF31}"/>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99024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11860-7298-45AC-AFD0-88B4C50A80EC}"/>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6">
                <a:lumMod val="40000"/>
                <a:lumOff val="6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94189" y="5607050"/>
            <a:ext cx="11187270" cy="929054"/>
          </a:xfrm>
          <a:prstGeom prst="rect">
            <a:avLst/>
          </a:prstGeom>
        </p:spPr>
        <p:txBody>
          <a:bodyPr anchor="ctr"/>
          <a:lstStyle>
            <a:lvl1pPr marL="0" indent="0">
              <a:lnSpc>
                <a:spcPct val="89000"/>
              </a:lnSpc>
              <a:spcBef>
                <a:spcPts val="0"/>
              </a:spcBef>
              <a:spcAft>
                <a:spcPts val="1200"/>
              </a:spcAft>
              <a:buNone/>
              <a:defRPr sz="2800">
                <a:solidFill>
                  <a:schemeClr val="tx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A01FA77F-3D40-4DEB-9A7F-D3D4CF616BD2}"/>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2887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377029C-3353-4ACD-947C-766B21BA6603}"/>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9549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7894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9AADC-D1FA-4953-9861-AF854AF4F385}"/>
              </a:ext>
            </a:extLst>
          </p:cNvPr>
          <p:cNvGrpSpPr/>
          <p:nvPr userDrawn="1"/>
        </p:nvGrpSpPr>
        <p:grpSpPr>
          <a:xfrm>
            <a:off x="-1855" y="5312740"/>
            <a:ext cx="12195710" cy="1545260"/>
            <a:chOff x="-1855" y="5312733"/>
            <a:chExt cx="12195710" cy="154526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tx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3" y="-536376"/>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p>
        </p:txBody>
      </p:sp>
      <p:sp>
        <p:nvSpPr>
          <p:cNvPr id="12" name="TextBox 11">
            <a:extLst>
              <a:ext uri="{FF2B5EF4-FFF2-40B4-BE49-F238E27FC236}">
                <a16:creationId xmlns:a16="http://schemas.microsoft.com/office/drawing/2014/main" id="{5B138D84-381C-4F04-90C0-74D8D751D69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6845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3"/>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980ADE19-913D-47A0-B4F2-710200103A3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F0C5CF58-2DC9-4B23-82BD-713A6628DCFA}"/>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97198799-C3BB-4526-8E3A-F87ABC102ED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3" name="Content Placeholder 4">
            <a:extLst>
              <a:ext uri="{FF2B5EF4-FFF2-40B4-BE49-F238E27FC236}">
                <a16:creationId xmlns:a16="http://schemas.microsoft.com/office/drawing/2014/main" id="{9F249DEF-717D-473E-B4EB-D95F63238AC7}"/>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a:extLst>
              <a:ext uri="{FF2B5EF4-FFF2-40B4-BE49-F238E27FC236}">
                <a16:creationId xmlns:a16="http://schemas.microsoft.com/office/drawing/2014/main" id="{39D73410-E4CA-4A76-940E-3C423D8C976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ext Placeholder 30">
            <a:extLst>
              <a:ext uri="{FF2B5EF4-FFF2-40B4-BE49-F238E27FC236}">
                <a16:creationId xmlns:a16="http://schemas.microsoft.com/office/drawing/2014/main" id="{8B58EE88-5827-42F5-A91B-AB0674D5563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682950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AF46489A-6582-41AC-A2D4-9439A77D62A3}"/>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F8FDABDB-EFAA-43E9-B631-2683EEC8D15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513DCD4-4A2F-4987-802E-E8BA4E29238D}"/>
              </a:ext>
            </a:extLst>
          </p:cNvPr>
          <p:cNvSpPr>
            <a:spLocks noGrp="1"/>
          </p:cNvSpPr>
          <p:nvPr>
            <p:ph type="title"/>
          </p:nvPr>
        </p:nvSpPr>
        <p:spPr>
          <a:xfrm>
            <a:off x="495301" y="146549"/>
            <a:ext cx="5111494"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C2365482-1B10-4CB8-9586-A1C30E739DDE}"/>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7CCB0487-21B8-4B05-8AB0-7E85B0145886}"/>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E3D9EEF0-223A-45A2-A406-0D6534094D7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20000"/>
                    <a:lumOff val="8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695281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Fifty Fifty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797F70B6-DCBF-4F5D-B095-EE85957F998D}"/>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B866DC54-C2B3-4A00-A4F2-854B87924E45}"/>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F989A584-2589-4972-84AE-BF0947D9FF0B}"/>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AD736622-7ACE-48B5-A276-83E307B7975D}"/>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4">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23099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tx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tx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0CD5C0B0-7F8C-4A58-AD9D-772D90209742}"/>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50F9C47B-623B-44C7-9C7F-1F500BFC4F8F}"/>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76F65DF-84F6-42C7-8562-99CBDBFA5CC9}"/>
              </a:ext>
            </a:extLst>
          </p:cNvPr>
          <p:cNvSpPr>
            <a:spLocks noGrp="1"/>
          </p:cNvSpPr>
          <p:nvPr>
            <p:ph type="title"/>
          </p:nvPr>
        </p:nvSpPr>
        <p:spPr>
          <a:xfrm>
            <a:off x="495300" y="146549"/>
            <a:ext cx="5103876"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0B4106D1-A591-4047-9A15-3E7021F60D79}"/>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4F73A9A-E297-486A-B570-0527FB1B480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 Placeholder 30">
            <a:extLst>
              <a:ext uri="{FF2B5EF4-FFF2-40B4-BE49-F238E27FC236}">
                <a16:creationId xmlns:a16="http://schemas.microsoft.com/office/drawing/2014/main" id="{49AD1B07-C4FD-4C9D-9312-A5EC81770ECC}"/>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777056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493F0D21-2521-45F0-85BA-BF9803A35F17}"/>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87B5272A-CBDF-4CA9-9DE9-D4F532997B73}"/>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B662BC0F-F076-4B55-B6A0-1AD9BE1E8237}"/>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98C5E184-0882-4D41-A23E-3824894FC265}"/>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375517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146549"/>
            <a:ext cx="5111496" cy="858055"/>
          </a:xfrm>
          <a:prstGeom prst="rect">
            <a:avLst/>
          </a:prstGeom>
        </p:spPr>
        <p:txBody>
          <a:bodyPr anchor="b">
            <a:spAutoFit/>
          </a:bodyPr>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7"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088136"/>
            <a:ext cx="5111496" cy="265907"/>
          </a:xfrm>
          <a:prstGeom prst="rect">
            <a:avLst/>
          </a:prstGeom>
        </p:spPr>
        <p:txBody>
          <a:bodyPr>
            <a:spAutoFit/>
          </a:bodyPr>
          <a:lstStyle>
            <a:lvl1pPr marL="0" indent="0">
              <a:lnSpc>
                <a:spcPct val="96000"/>
              </a:lnSpc>
              <a:spcBef>
                <a:spcPts val="900"/>
              </a:spcBef>
              <a:buNone/>
              <a:defRPr sz="18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2">
            <a:extLst>
              <a:ext uri="{FF2B5EF4-FFF2-40B4-BE49-F238E27FC236}">
                <a16:creationId xmlns:a16="http://schemas.microsoft.com/office/drawing/2014/main" id="{237E9D5D-BCD7-4823-97DA-E83D827E739F}"/>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9" name="TextBox 18">
            <a:extLst>
              <a:ext uri="{FF2B5EF4-FFF2-40B4-BE49-F238E27FC236}">
                <a16:creationId xmlns:a16="http://schemas.microsoft.com/office/drawing/2014/main" id="{B05E7361-44C3-46E4-A8A9-F1B52C8F206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CEBE69E7-5CB1-4371-A01F-1932CE10F613}"/>
              </a:ext>
            </a:extLst>
          </p:cNvPr>
          <p:cNvSpPr>
            <a:spLocks noGrp="1"/>
          </p:cNvSpPr>
          <p:nvPr>
            <p:ph type="title"/>
          </p:nvPr>
        </p:nvSpPr>
        <p:spPr>
          <a:xfrm>
            <a:off x="495300" y="146549"/>
            <a:ext cx="5111495" cy="858055"/>
          </a:xfrm>
        </p:spPr>
        <p:txBody>
          <a:bodyPr>
            <a:spAutoFit/>
          </a:bodyPr>
          <a:lstStyle/>
          <a:p>
            <a:r>
              <a:rPr lang="en-US"/>
              <a:t>Click to edit Master title style</a:t>
            </a:r>
          </a:p>
        </p:txBody>
      </p:sp>
      <p:sp>
        <p:nvSpPr>
          <p:cNvPr id="20" name="Content Placeholder 4">
            <a:extLst>
              <a:ext uri="{FF2B5EF4-FFF2-40B4-BE49-F238E27FC236}">
                <a16:creationId xmlns:a16="http://schemas.microsoft.com/office/drawing/2014/main" id="{570B9888-0249-4C15-BC59-AD316913B011}"/>
              </a:ext>
            </a:extLst>
          </p:cNvPr>
          <p:cNvSpPr>
            <a:spLocks noGrp="1"/>
          </p:cNvSpPr>
          <p:nvPr>
            <p:ph sz="quarter" idx="17"/>
          </p:nvPr>
        </p:nvSpPr>
        <p:spPr>
          <a:xfrm>
            <a:off x="495300" y="1719072"/>
            <a:ext cx="5111495" cy="4681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a:extLst>
              <a:ext uri="{FF2B5EF4-FFF2-40B4-BE49-F238E27FC236}">
                <a16:creationId xmlns:a16="http://schemas.microsoft.com/office/drawing/2014/main" id="{D4713C7C-41F3-44B5-934C-F4C6CC9F78AC}"/>
              </a:ext>
            </a:extLst>
          </p:cNvPr>
          <p:cNvSpPr>
            <a:spLocks noGrp="1"/>
          </p:cNvSpPr>
          <p:nvPr>
            <p:ph type="subTitle" idx="1"/>
          </p:nvPr>
        </p:nvSpPr>
        <p:spPr>
          <a:xfrm>
            <a:off x="494189" y="1088136"/>
            <a:ext cx="5111495"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30">
            <a:extLst>
              <a:ext uri="{FF2B5EF4-FFF2-40B4-BE49-F238E27FC236}">
                <a16:creationId xmlns:a16="http://schemas.microsoft.com/office/drawing/2014/main" id="{DF7552C7-E7B6-419F-B7F1-AA2E21B30733}"/>
              </a:ext>
            </a:extLst>
          </p:cNvPr>
          <p:cNvSpPr>
            <a:spLocks noGrp="1"/>
          </p:cNvSpPr>
          <p:nvPr>
            <p:ph type="body" sz="quarter" idx="18" hasCustomPrompt="1"/>
          </p:nvPr>
        </p:nvSpPr>
        <p:spPr bwMode="gray">
          <a:xfrm>
            <a:off x="6583680" y="6532895"/>
            <a:ext cx="449268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60000"/>
                    <a:lumOff val="4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Source sample text</a:t>
            </a:r>
          </a:p>
        </p:txBody>
      </p:sp>
    </p:spTree>
    <p:extLst>
      <p:ext uri="{BB962C8B-B14F-4D97-AF65-F5344CB8AC3E}">
        <p14:creationId xmlns:p14="http://schemas.microsoft.com/office/powerpoint/2010/main" val="217208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C99A1E-5CFA-4EFC-A063-074EDF821119}"/>
              </a:ext>
            </a:extLst>
          </p:cNvPr>
          <p:cNvSpPr/>
          <p:nvPr userDrawn="1"/>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6827744-B91D-4E14-9EE6-4F4E5230170B}"/>
              </a:ext>
            </a:extLst>
          </p:cNvPr>
          <p:cNvSpPr/>
          <p:nvPr userDrawn="1"/>
        </p:nvSpPr>
        <p:spPr bwMode="gray">
          <a:xfrm flipH="1">
            <a:off x="7533627"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Tree>
    <p:extLst>
      <p:ext uri="{BB962C8B-B14F-4D97-AF65-F5344CB8AC3E}">
        <p14:creationId xmlns:p14="http://schemas.microsoft.com/office/powerpoint/2010/main" val="413607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8A4FCD-30A8-446A-AB4C-13ACB27E6228}"/>
              </a:ext>
            </a:extLst>
          </p:cNvPr>
          <p:cNvSpPr/>
          <p:nvPr userDrawn="1"/>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96D5943C-75AB-4BED-9FFA-7B6830FACA97}"/>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47556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Cutaway 1/3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51F90E-B93A-4E1E-980A-EC51B8C51A79}"/>
              </a:ext>
            </a:extLst>
          </p:cNvPr>
          <p:cNvSpPr/>
          <p:nvPr userDrawn="1"/>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D4148F99-B815-445E-B22D-27FE0C6128C1}"/>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3">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61378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3830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C31954D-F38E-4B9C-8225-2512833E3BA9}"/>
              </a:ext>
            </a:extLst>
          </p:cNvPr>
          <p:cNvSpPr/>
          <p:nvPr userDrawn="1"/>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1F746A2F-65ED-4DC7-ABBA-D95E9E1CF83C}"/>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35628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6878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53294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109395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77348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721695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544556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4099856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136534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75223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841618-0B77-4F32-A159-4DE43C0A1317}"/>
              </a:ext>
            </a:extLst>
          </p:cNvPr>
          <p:cNvSpPr/>
          <p:nvPr userDrawn="1"/>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45DA6A80-E051-42BF-B6D5-4416297417FC}"/>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8648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65140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43514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733013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2598770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701054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67531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gray">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2">
            <a:extLst>
              <a:ext uri="{FF2B5EF4-FFF2-40B4-BE49-F238E27FC236}">
                <a16:creationId xmlns:a16="http://schemas.microsoft.com/office/drawing/2014/main" id="{06F2EB5A-66E7-46F4-A54E-D517AD1E8AF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3" name="Title 1">
            <a:extLst>
              <a:ext uri="{FF2B5EF4-FFF2-40B4-BE49-F238E27FC236}">
                <a16:creationId xmlns:a16="http://schemas.microsoft.com/office/drawing/2014/main" id="{7779B7D9-EE1F-4683-8289-2F379FA449E0}"/>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Tree>
    <p:extLst>
      <p:ext uri="{BB962C8B-B14F-4D97-AF65-F5344CB8AC3E}">
        <p14:creationId xmlns:p14="http://schemas.microsoft.com/office/powerpoint/2010/main" val="202159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49"/>
            <a:ext cx="2606675" cy="3727435"/>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a:extLst>
              <a:ext uri="{FF2B5EF4-FFF2-40B4-BE49-F238E27FC236}">
                <a16:creationId xmlns:a16="http://schemas.microsoft.com/office/drawing/2014/main" id="{B2F625D1-43CE-4269-85DE-B80E7855C56A}"/>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12" name="Title 1">
            <a:extLst>
              <a:ext uri="{FF2B5EF4-FFF2-40B4-BE49-F238E27FC236}">
                <a16:creationId xmlns:a16="http://schemas.microsoft.com/office/drawing/2014/main" id="{E5B14D2D-DB7D-4B69-AD15-233459F8F4B3}"/>
              </a:ext>
            </a:extLst>
          </p:cNvPr>
          <p:cNvSpPr>
            <a:spLocks noGrp="1"/>
          </p:cNvSpPr>
          <p:nvPr>
            <p:ph type="title"/>
          </p:nvPr>
        </p:nvSpPr>
        <p:spPr>
          <a:xfrm>
            <a:off x="495300" y="428865"/>
            <a:ext cx="2605088" cy="1365567"/>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146C74A4-A6C9-4FA1-B811-B674B4DBBBA7}"/>
              </a:ext>
            </a:extLst>
          </p:cNvPr>
          <p:cNvSpPr>
            <a:spLocks noGrp="1"/>
          </p:cNvSpPr>
          <p:nvPr>
            <p:ph type="subTitle" idx="1"/>
          </p:nvPr>
        </p:nvSpPr>
        <p:spPr bwMode="auto">
          <a:xfrm>
            <a:off x="495300" y="1869281"/>
            <a:ext cx="2607469" cy="428451"/>
          </a:xfrm>
          <a:prstGeom prst="rect">
            <a:avLst/>
          </a:prstGeom>
        </p:spPr>
        <p:txBody>
          <a:bodyPr wrap="square">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7056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Cutaway 1/4 Left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0DC4CC26-1781-4E6F-9904-2F3F546E1BC5}"/>
              </a:ext>
            </a:extLst>
          </p:cNvPr>
          <p:cNvSpPr>
            <a:spLocks noGrp="1"/>
          </p:cNvSpPr>
          <p:nvPr>
            <p:ph type="title"/>
          </p:nvPr>
        </p:nvSpPr>
        <p:spPr>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F791D318-BA35-40BC-B9B6-494F84B94A40}"/>
              </a:ext>
            </a:extLst>
          </p:cNvPr>
          <p:cNvSpPr>
            <a:spLocks noGrp="1"/>
          </p:cNvSpPr>
          <p:nvPr>
            <p:ph type="subTitle" idx="1"/>
          </p:nvPr>
        </p:nvSpPr>
        <p:spPr bwMode="auto">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97824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71239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E28DD-5384-4ADB-A3D5-27F435BB7048}"/>
              </a:ext>
            </a:extLst>
          </p:cNvPr>
          <p:cNvSpPr/>
          <p:nvPr userDrawn="1"/>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Rectangle 12">
            <a:extLst>
              <a:ext uri="{FF2B5EF4-FFF2-40B4-BE49-F238E27FC236}">
                <a16:creationId xmlns:a16="http://schemas.microsoft.com/office/drawing/2014/main" id="{6D2B7282-B427-4833-8084-9895CB62F63F}"/>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9" cy="582472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2">
            <a:extLst>
              <a:ext uri="{FF2B5EF4-FFF2-40B4-BE49-F238E27FC236}">
                <a16:creationId xmlns:a16="http://schemas.microsoft.com/office/drawing/2014/main" id="{341AC08F-5BB2-40F2-8C8D-8557C887030E}"/>
              </a:ext>
            </a:extLst>
          </p:cNvPr>
          <p:cNvSpPr>
            <a:spLocks noGrp="1"/>
          </p:cNvSpPr>
          <p:nvPr>
            <p:ph type="ftr" sz="quarter" idx="16"/>
          </p:nvPr>
        </p:nvSpPr>
        <p:spPr>
          <a:xfrm>
            <a:off x="495299" y="6532895"/>
            <a:ext cx="642823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1F640C09-C902-4DE5-BF94-53CFD41C075C}"/>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3" name="Title 2">
            <a:extLst>
              <a:ext uri="{FF2B5EF4-FFF2-40B4-BE49-F238E27FC236}">
                <a16:creationId xmlns:a16="http://schemas.microsoft.com/office/drawing/2014/main" id="{0BDD562F-BAEC-47D5-AC8F-57BB78CBBE6C}"/>
              </a:ext>
            </a:extLst>
          </p:cNvPr>
          <p:cNvSpPr>
            <a:spLocks noGrp="1"/>
          </p:cNvSpPr>
          <p:nvPr>
            <p:ph type="title"/>
          </p:nvPr>
        </p:nvSpPr>
        <p:spPr>
          <a:xfrm>
            <a:off x="495300" y="575576"/>
            <a:ext cx="6426200" cy="429028"/>
          </a:xfrm>
        </p:spPr>
        <p:txBody>
          <a:bodyPr/>
          <a:lstStyle/>
          <a:p>
            <a:r>
              <a:rPr lang="en-US"/>
              <a:t>Click to edit Master title style</a:t>
            </a:r>
          </a:p>
        </p:txBody>
      </p:sp>
      <p:sp>
        <p:nvSpPr>
          <p:cNvPr id="12" name="Subtitle">
            <a:extLst>
              <a:ext uri="{FF2B5EF4-FFF2-40B4-BE49-F238E27FC236}">
                <a16:creationId xmlns:a16="http://schemas.microsoft.com/office/drawing/2014/main" id="{7FADC137-0CE3-442A-9D3C-ECE4360D481F}"/>
              </a:ext>
            </a:extLst>
          </p:cNvPr>
          <p:cNvSpPr>
            <a:spLocks noGrp="1"/>
          </p:cNvSpPr>
          <p:nvPr>
            <p:ph type="subTitle" idx="1"/>
          </p:nvPr>
        </p:nvSpPr>
        <p:spPr>
          <a:xfrm>
            <a:off x="494189" y="1088136"/>
            <a:ext cx="6426200" cy="265907"/>
          </a:xfrm>
          <a:prstGeom prst="rect">
            <a:avLst/>
          </a:prstGeom>
        </p:spPr>
        <p:txBody>
          <a:bodyPr wrap="square">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5696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12" name="Title 1">
            <a:extLst>
              <a:ext uri="{FF2B5EF4-FFF2-40B4-BE49-F238E27FC236}">
                <a16:creationId xmlns:a16="http://schemas.microsoft.com/office/drawing/2014/main" id="{8022405D-06A1-4166-9391-CABDA675A811}"/>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8C87C8C-F51C-409B-8123-4E7B177EA83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26013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gray">
          <a:xfrm>
            <a:off x="493713" y="2673349"/>
            <a:ext cx="2606675" cy="3727441"/>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3ADF0E24-C66C-44A4-AE54-4A2040B1C13A}"/>
              </a:ext>
            </a:extLst>
          </p:cNvPr>
          <p:cNvSpPr>
            <a:spLocks noGrp="1"/>
          </p:cNvSpPr>
          <p:nvPr>
            <p:ph type="ftr" sz="quarter" idx="16"/>
          </p:nvPr>
        </p:nvSpPr>
        <p:spPr bwMode="gray">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itle 1">
            <a:extLst>
              <a:ext uri="{FF2B5EF4-FFF2-40B4-BE49-F238E27FC236}">
                <a16:creationId xmlns:a16="http://schemas.microsoft.com/office/drawing/2014/main" id="{4706EDB4-4AB9-44C1-8768-72FEB91A22CC}"/>
              </a:ext>
            </a:extLst>
          </p:cNvPr>
          <p:cNvSpPr>
            <a:spLocks noGrp="1"/>
          </p:cNvSpPr>
          <p:nvPr>
            <p:ph type="title"/>
          </p:nvPr>
        </p:nvSpPr>
        <p:spPr bwMode="gray">
          <a:xfrm>
            <a:off x="495300" y="413092"/>
            <a:ext cx="2605088" cy="1381340"/>
          </a:xfrm>
        </p:spPr>
        <p:txBody>
          <a:bodyPr wrap="square">
            <a:spAutoFit/>
          </a:bodyPr>
          <a:lstStyle>
            <a:lvl1pPr>
              <a:lnSpc>
                <a:spcPct val="87000"/>
              </a:lnSpc>
              <a:defRPr sz="340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B3E64812-0F07-4511-9260-5784D6FAB3B7}"/>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52257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Big Statement Circle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userDrawn="1"/>
        </p:nvSpPr>
        <p:spPr bwMode="ltGray">
          <a:xfrm>
            <a:off x="6675120" y="1146676"/>
            <a:ext cx="4536590" cy="4560096"/>
          </a:xfrm>
          <a:prstGeom prst="ellipse">
            <a:avLst/>
          </a:prstGeom>
          <a:gradFill>
            <a:gsLst>
              <a:gs pos="0">
                <a:schemeClr val="accent1"/>
              </a:gs>
              <a:gs pos="100000">
                <a:schemeClr val="accent2">
                  <a:lumMod val="50000"/>
                </a:schemeClr>
              </a:gs>
            </a:gsLst>
            <a:lin ang="18900000" scaled="0"/>
          </a:gradFill>
          <a:ln w="25400" cap="flat" cmpd="sng" algn="ctr">
            <a:noFill/>
            <a:prstDash val="solid"/>
          </a:ln>
          <a:effectLst>
            <a:innerShdw blurRad="127000" dist="114300">
              <a:srgbClr val="3253DC">
                <a:lumMod val="50000"/>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 name="Footer Placeholder 2">
            <a:extLst>
              <a:ext uri="{FF2B5EF4-FFF2-40B4-BE49-F238E27FC236}">
                <a16:creationId xmlns:a16="http://schemas.microsoft.com/office/drawing/2014/main" id="{87A281D7-BEA4-4300-BD71-BE1E8303801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2" name="Text Placeholder 51">
            <a:extLst>
              <a:ext uri="{FF2B5EF4-FFF2-40B4-BE49-F238E27FC236}">
                <a16:creationId xmlns:a16="http://schemas.microsoft.com/office/drawing/2014/main" id="{90653042-57AF-4FDA-9439-6F40EF78400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7" name="Title 1">
            <a:extLst>
              <a:ext uri="{FF2B5EF4-FFF2-40B4-BE49-F238E27FC236}">
                <a16:creationId xmlns:a16="http://schemas.microsoft.com/office/drawing/2014/main" id="{FEB48A53-16FB-4DBE-81F5-E87D71D55E95}"/>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198554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Big Statement Circle Light Blu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chemeClr val="accent2"/>
              </a:gs>
              <a:gs pos="0">
                <a:srgbClr val="6086E7"/>
              </a:gs>
            </a:gsLst>
            <a:lin ang="18900000" scaled="0"/>
          </a:gradFill>
          <a:ln w="25400" cap="flat" cmpd="sng" algn="ctr">
            <a:noFill/>
            <a:prstDash val="solid"/>
          </a:ln>
          <a:effectLst>
            <a:innerShdw blurRad="127000" dist="114300">
              <a:srgbClr val="415795">
                <a:alpha val="75000"/>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C4765B5F-95F9-4199-A1B6-AB2525FF1433}"/>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C6F1A92C-77BA-48A5-9BCE-2205354F8D44}"/>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AD770C1-C19F-41DC-9472-333E12B88536}"/>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288962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Big Statement Circle Te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solidFill>
            <a:schemeClr val="accent3"/>
          </a:solidFill>
          <a:ln w="25400" cap="flat" cmpd="sng" algn="ctr">
            <a:noFill/>
            <a:prstDash val="solid"/>
          </a:ln>
          <a:effectLst>
            <a:innerShdw blurRad="127000" dist="114300">
              <a:schemeClr val="accent3">
                <a:lumMod val="5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AA22E4D-B42F-4C21-BBB9-E780E0243FE3}"/>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709467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Big Statement Circle Nicke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C0C8D6"/>
              </a:gs>
              <a:gs pos="15000">
                <a:schemeClr val="accent6"/>
              </a:gs>
            </a:gsLst>
            <a:lin ang="18900000" scaled="0"/>
          </a:gradFill>
          <a:ln w="25400" cap="flat" cmpd="sng" algn="ctr">
            <a:noFill/>
            <a:prstDash val="solid"/>
          </a:ln>
          <a:effectLst>
            <a:innerShdw blurRad="127000" dist="114300">
              <a:schemeClr val="accent5">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2C8A265A-3146-4748-9C09-B46116B8B401}"/>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5FC9C777-5123-4068-A7DE-407D78AD8E39}"/>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3C6640F8-D4E8-4380-9825-E203D7EDAD78}"/>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101160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Big Statement Circle Gun Metal">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497A215-ECE4-4336-BB93-42297ACB7A3D}"/>
              </a:ext>
            </a:extLst>
          </p:cNvPr>
          <p:cNvSpPr>
            <a:spLocks/>
          </p:cNvSpPr>
          <p:nvPr/>
        </p:nvSpPr>
        <p:spPr bwMode="ltGray">
          <a:xfrm>
            <a:off x="6675120" y="1146676"/>
            <a:ext cx="4536590" cy="4560096"/>
          </a:xfrm>
          <a:prstGeom prst="ellipse">
            <a:avLst/>
          </a:prstGeom>
          <a:gradFill>
            <a:gsLst>
              <a:gs pos="100000">
                <a:srgbClr val="697790"/>
              </a:gs>
              <a:gs pos="1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7" name="Text Placeholder 51">
            <a:extLst>
              <a:ext uri="{FF2B5EF4-FFF2-40B4-BE49-F238E27FC236}">
                <a16:creationId xmlns:a16="http://schemas.microsoft.com/office/drawing/2014/main" id="{A7350EC2-08F0-4D7F-9377-DA5237FC6107}"/>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49AC31FE-26ED-4666-B85B-8A0A27C741C1}"/>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75270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Big Statement Circle Midnight">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21CCE1E2-D3E9-440A-A7A2-9A3EE0A282FC}"/>
              </a:ext>
            </a:extLst>
          </p:cNvPr>
          <p:cNvSpPr>
            <a:spLocks noGrp="1"/>
          </p:cNvSpPr>
          <p:nvPr>
            <p:ph type="body" sz="quarter" idx="10"/>
          </p:nvPr>
        </p:nvSpPr>
        <p:spPr>
          <a:xfrm>
            <a:off x="495299" y="3819524"/>
            <a:ext cx="5266872" cy="1328598"/>
          </a:xfrm>
          <a:prstGeom prst="rect">
            <a:avLst/>
          </a:prstGeom>
        </p:spPr>
        <p:txBody>
          <a:bodyPr/>
          <a:lstStyle>
            <a:lvl1pPr marL="0" indent="0">
              <a:lnSpc>
                <a:spcPct val="89000"/>
              </a:lnSpc>
              <a:buFont typeface="Microsoft Sans Serif" panose="020B0604020202020204" pitchFamily="34" charset="0"/>
              <a:buChar char="​"/>
              <a:defRPr sz="2800">
                <a:solidFill>
                  <a:schemeClr val="tx1"/>
                </a:solidFill>
              </a:defRPr>
            </a:lvl1pPr>
            <a:lvl2pPr marL="0" indent="0">
              <a:spcBef>
                <a:spcPts val="1200"/>
              </a:spcBef>
              <a:buNone/>
              <a:defRPr sz="2400">
                <a:solidFill>
                  <a:schemeClr val="tx1"/>
                </a:solidFill>
              </a:defRPr>
            </a:lvl2pPr>
            <a:lvl3pPr marL="0" indent="0">
              <a:lnSpc>
                <a:spcPct val="95000"/>
              </a:lnSpc>
              <a:spcBef>
                <a:spcPts val="1200"/>
              </a:spcBef>
              <a:buFont typeface="Microsoft Sans Serif" panose="020B0604020202020204" pitchFamily="34" charset="0"/>
              <a:buNone/>
              <a:defRPr sz="2100"/>
            </a:lvl3pPr>
            <a:lvl4pPr marL="0" indent="0">
              <a:lnSpc>
                <a:spcPct val="98000"/>
              </a:lnSpc>
              <a:spcBef>
                <a:spcPts val="1200"/>
              </a:spcBef>
              <a:buNone/>
              <a:defRPr sz="1800"/>
            </a:lvl4pPr>
            <a:lvl5pPr marL="0" indent="0">
              <a:lnSpc>
                <a:spcPct val="94000"/>
              </a:lnSpc>
              <a:spcBef>
                <a:spcPts val="600"/>
              </a:spcBef>
              <a:buFont typeface="Microsoft Sans Serif" panose="020B0604020202020204" pitchFamily="34" charset="0"/>
              <a:buChar char="​"/>
              <a:defRPr sz="1600"/>
            </a:lvl5pPr>
            <a:lvl6pPr>
              <a:lnSpc>
                <a:spcPct val="107000"/>
              </a:lnSpc>
              <a:spcBef>
                <a:spcPts val="600"/>
              </a:spcBef>
              <a:defRPr sz="1400"/>
            </a:lvl6pPr>
            <a:lvl7pPr>
              <a:lnSpc>
                <a:spcPct val="88000"/>
              </a:lnSpc>
              <a:defRPr sz="3400"/>
            </a:lvl7pPr>
            <a:lvl8pPr>
              <a:lnSpc>
                <a:spcPct val="89000"/>
              </a:lnSpc>
              <a:defRPr sz="4400"/>
            </a:lvl8pPr>
            <a:lvl9pPr>
              <a:lnSpc>
                <a:spcPct val="86000"/>
              </a:lnSpc>
              <a:defRPr sz="5500"/>
            </a:lvl9pPr>
          </a:lstStyle>
          <a:p>
            <a:pPr lvl="0"/>
            <a:r>
              <a:rPr lang="en-US"/>
              <a:t>Click to edit Master text styles</a:t>
            </a:r>
          </a:p>
          <a:p>
            <a:pPr lvl="1"/>
            <a:r>
              <a:rPr lang="en-US"/>
              <a:t>Second level</a:t>
            </a:r>
          </a:p>
        </p:txBody>
      </p:sp>
      <p:sp>
        <p:nvSpPr>
          <p:cNvPr id="10" name="Footer Placeholder 2">
            <a:extLst>
              <a:ext uri="{FF2B5EF4-FFF2-40B4-BE49-F238E27FC236}">
                <a16:creationId xmlns:a16="http://schemas.microsoft.com/office/drawing/2014/main" id="{50378E23-3DB4-42E4-8375-2AC0CDCB639A}"/>
              </a:ext>
            </a:extLst>
          </p:cNvPr>
          <p:cNvSpPr>
            <a:spLocks noGrp="1"/>
          </p:cNvSpPr>
          <p:nvPr>
            <p:ph type="ftr" sz="quarter" idx="11"/>
          </p:nvPr>
        </p:nvSpPr>
        <p:spPr>
          <a:xfrm>
            <a:off x="495299" y="6532895"/>
            <a:ext cx="1048969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6" name="Oval 5">
            <a:extLst>
              <a:ext uri="{FF2B5EF4-FFF2-40B4-BE49-F238E27FC236}">
                <a16:creationId xmlns:a16="http://schemas.microsoft.com/office/drawing/2014/main" id="{1321BDBD-A319-4A9D-A52B-4542BAE8D156}"/>
              </a:ext>
            </a:extLst>
          </p:cNvPr>
          <p:cNvSpPr>
            <a:spLocks/>
          </p:cNvSpPr>
          <p:nvPr userDrawn="1"/>
        </p:nvSpPr>
        <p:spPr bwMode="ltGray">
          <a:xfrm>
            <a:off x="6677946" y="1146676"/>
            <a:ext cx="4536590" cy="4560096"/>
          </a:xfrm>
          <a:prstGeom prst="ellipse">
            <a:avLst/>
          </a:prstGeom>
          <a:gradFill>
            <a:gsLst>
              <a:gs pos="100000">
                <a:srgbClr val="13344D"/>
              </a:gs>
              <a:gs pos="21000">
                <a:schemeClr val="tx2"/>
              </a:gs>
            </a:gsLst>
            <a:lin ang="18900000" scaled="0"/>
          </a:gradFill>
          <a:ln w="25400" cap="flat" cmpd="sng" algn="ctr">
            <a:noFill/>
            <a:prstDash val="solid"/>
          </a:ln>
          <a:effectLst>
            <a:innerShdw blurRad="127000" dist="114300">
              <a:schemeClr val="bg1">
                <a:lumMod val="10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7" name="Title 1">
            <a:extLst>
              <a:ext uri="{FF2B5EF4-FFF2-40B4-BE49-F238E27FC236}">
                <a16:creationId xmlns:a16="http://schemas.microsoft.com/office/drawing/2014/main" id="{5B05E55E-4E31-4720-B7A8-F4EA4666E62B}"/>
              </a:ext>
            </a:extLst>
          </p:cNvPr>
          <p:cNvSpPr>
            <a:spLocks noGrp="1"/>
          </p:cNvSpPr>
          <p:nvPr>
            <p:ph type="title"/>
          </p:nvPr>
        </p:nvSpPr>
        <p:spPr>
          <a:xfrm>
            <a:off x="495297" y="2099813"/>
            <a:ext cx="5368470" cy="1489639"/>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2845936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440531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Segue Light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bwMode="white">
          <a:xfrm>
            <a:off x="0" y="0"/>
            <a:ext cx="9837777" cy="5917440"/>
            <a:chOff x="-3721335" y="0"/>
            <a:chExt cx="9837777" cy="5917440"/>
          </a:xfrm>
        </p:grpSpPr>
        <p:sp>
          <p:nvSpPr>
            <p:cNvPr id="24" name="Rectangle: Single Corner Rounded 23">
              <a:extLst>
                <a:ext uri="{FF2B5EF4-FFF2-40B4-BE49-F238E27FC236}">
                  <a16:creationId xmlns:a16="http://schemas.microsoft.com/office/drawing/2014/main" id="{C48B92C6-8BAB-46BE-82E1-29A041E97FB8}"/>
                </a:ext>
              </a:extLst>
            </p:cNvPr>
            <p:cNvSpPr/>
            <p:nvPr userDrawn="1"/>
          </p:nvSpPr>
          <p:spPr bwMode="white">
            <a:xfrm flipV="1">
              <a:off x="-3721335" y="0"/>
              <a:ext cx="9837777" cy="5917440"/>
            </a:xfrm>
            <a:prstGeom prst="round1Rect">
              <a:avLst>
                <a:gd name="adj" fmla="val 3163"/>
              </a:avLst>
            </a:prstGeom>
            <a:solidFill>
              <a:schemeClr val="accent2"/>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bwMode="white">
            <a:xfrm flipV="1">
              <a:off x="4722552" y="0"/>
              <a:ext cx="1393890" cy="5917440"/>
            </a:xfrm>
            <a:prstGeom prst="round1Rect">
              <a:avLst>
                <a:gd name="adj" fmla="val 1358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78197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ull Image, Title Lef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74222" cy="1657338"/>
          </a:xfrm>
          <a:prstGeom prst="rect">
            <a:avLst/>
          </a:prstGeom>
        </p:spPr>
        <p:txBody>
          <a:bodyPr anchor="t">
            <a:normAutofit/>
          </a:bodyPr>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495299" y="6532895"/>
            <a:ext cx="357422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2" name="Title 1">
            <a:extLst>
              <a:ext uri="{FF2B5EF4-FFF2-40B4-BE49-F238E27FC236}">
                <a16:creationId xmlns:a16="http://schemas.microsoft.com/office/drawing/2014/main" id="{32122FCF-2444-4089-9E65-51687ED4C279}"/>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747323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Segue Te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1DCAE4-87E2-4E51-BE5C-CABC05DA1E97}"/>
              </a:ext>
            </a:extLst>
          </p:cNvPr>
          <p:cNvGrpSpPr/>
          <p:nvPr userDrawn="1"/>
        </p:nvGrpSpPr>
        <p:grpSpPr bwMode="white">
          <a:xfrm>
            <a:off x="-2" y="0"/>
            <a:ext cx="9837779" cy="5917440"/>
            <a:chOff x="116048" y="0"/>
            <a:chExt cx="6000394" cy="5917440"/>
          </a:xfrm>
        </p:grpSpPr>
        <p:sp>
          <p:nvSpPr>
            <p:cNvPr id="17" name="Rectangle: Single Corner Rounded 16">
              <a:extLst>
                <a:ext uri="{FF2B5EF4-FFF2-40B4-BE49-F238E27FC236}">
                  <a16:creationId xmlns:a16="http://schemas.microsoft.com/office/drawing/2014/main" id="{890F360D-2240-4F74-AF11-9523B0D87327}"/>
                </a:ext>
              </a:extLst>
            </p:cNvPr>
            <p:cNvSpPr/>
            <p:nvPr userDrawn="1"/>
          </p:nvSpPr>
          <p:spPr bwMode="white">
            <a:xfrm flipV="1">
              <a:off x="116048" y="0"/>
              <a:ext cx="6000393" cy="5917440"/>
            </a:xfrm>
            <a:prstGeom prst="round1Rect">
              <a:avLst>
                <a:gd name="adj" fmla="val 3163"/>
              </a:avLst>
            </a:prstGeom>
            <a:gradFill>
              <a:gsLst>
                <a:gs pos="15000">
                  <a:schemeClr val="accent3"/>
                </a:gs>
                <a:gs pos="100000">
                  <a:schemeClr val="accent3">
                    <a:lumMod val="75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276F6C71-5E9B-4ACF-B1FB-49D20C4BA66F}"/>
                </a:ext>
              </a:extLst>
            </p:cNvPr>
            <p:cNvSpPr/>
            <p:nvPr userDrawn="1"/>
          </p:nvSpPr>
          <p:spPr bwMode="white">
            <a:xfrm flipV="1">
              <a:off x="4722552" y="0"/>
              <a:ext cx="1393890" cy="5917440"/>
            </a:xfrm>
            <a:prstGeom prst="round1Rect">
              <a:avLst>
                <a:gd name="adj" fmla="val 8361"/>
              </a:avLst>
            </a:prstGeom>
            <a:gradFill>
              <a:gsLst>
                <a:gs pos="88000">
                  <a:schemeClr val="tx1">
                    <a:alpha val="60000"/>
                  </a:schemeClr>
                </a:gs>
                <a:gs pos="33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C2E08BD1-BCB5-464E-A624-7C8D59C0C0B9}"/>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E73A6FF3-D047-4614-AD57-602D68D4A46C}"/>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198913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Segue Nicke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chemeClr val="accent6">
                    <a:lumMod val="40000"/>
                    <a:lumOff val="60000"/>
                  </a:schemeClr>
                </a:gs>
                <a:gs pos="100000">
                  <a:schemeClr val="accent6">
                    <a:lumMod val="60000"/>
                    <a:lumOff val="40000"/>
                  </a:schemeClr>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751"/>
              </a:avLst>
            </a:prstGeom>
            <a:gradFill>
              <a:gsLst>
                <a:gs pos="88000">
                  <a:schemeClr val="tx1">
                    <a:alpha val="58000"/>
                  </a:schemeClr>
                </a:gs>
                <a:gs pos="39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ECF4BB80-106E-4F06-8637-959A2D9E4F74}"/>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2034326E-AB1D-4AB4-90EB-3CDD025430AE}"/>
              </a:ext>
            </a:extLst>
          </p:cNvPr>
          <p:cNvSpPr>
            <a:spLocks noGrp="1"/>
          </p:cNvSpPr>
          <p:nvPr>
            <p:ph type="title"/>
          </p:nvPr>
        </p:nvSpPr>
        <p:spPr>
          <a:xfrm>
            <a:off x="495298" y="2457921"/>
            <a:ext cx="8829675" cy="1472711"/>
          </a:xfrm>
        </p:spPr>
        <p:txBody>
          <a:bodyPr wrap="square">
            <a:spAutoFit/>
          </a:bodyPr>
          <a:lstStyle>
            <a:lvl1pPr>
              <a:lnSpc>
                <a:spcPct val="87000"/>
              </a:lnSpc>
              <a:defRPr sz="5500"/>
            </a:lvl1pPr>
          </a:lstStyle>
          <a:p>
            <a:r>
              <a:rPr lang="en-US"/>
              <a:t>Click to edit Master title style</a:t>
            </a:r>
          </a:p>
        </p:txBody>
      </p:sp>
    </p:spTree>
    <p:extLst>
      <p:ext uri="{BB962C8B-B14F-4D97-AF65-F5344CB8AC3E}">
        <p14:creationId xmlns:p14="http://schemas.microsoft.com/office/powerpoint/2010/main" val="3843893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Segue Gun Metal">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gradFill>
              <a:gsLst>
                <a:gs pos="15000">
                  <a:srgbClr val="556685"/>
                </a:gs>
                <a:gs pos="100000">
                  <a:schemeClr val="accent5"/>
                </a:gs>
              </a:gsLst>
              <a:lin ang="18900000" scaled="0"/>
            </a:gra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3922"/>
              </a:avLst>
            </a:prstGeom>
            <a:gradFill>
              <a:gsLst>
                <a:gs pos="88000">
                  <a:schemeClr val="tx1">
                    <a:alpha val="60000"/>
                  </a:schemeClr>
                </a:gs>
                <a:gs pos="54000">
                  <a:schemeClr val="accent1">
                    <a:lumMod val="50000"/>
                    <a:alpha val="0"/>
                  </a:schemeClr>
                </a:gs>
                <a:gs pos="100000">
                  <a:schemeClr val="tx1">
                    <a:alpha val="65000"/>
                  </a:schemeClr>
                </a:gs>
              </a:gsLst>
              <a:lin ang="0" scaled="0"/>
            </a:gradFill>
            <a:ln w="10795" cap="flat" cmpd="sng" algn="ctr">
              <a:noFill/>
              <a:prstDash val="solid"/>
            </a:ln>
            <a:effectLst>
              <a:softEdge rad="0"/>
            </a:effectLst>
          </p:spPr>
          <p:txBody>
            <a:bodyPr rtlCol="0" anchor="ctr"/>
            <a:lstStyle/>
            <a:p>
              <a:pPr marR="0" lvl="0" indent="0" algn="ctr" fontAlgn="auto">
                <a:lnSpc>
                  <a:spcPct val="100000"/>
                </a:lnSpc>
                <a:spcBef>
                  <a:spcPts val="0"/>
                </a:spcBef>
                <a:spcAft>
                  <a:spcPts val="0"/>
                </a:spcAft>
                <a:buClrTx/>
                <a:buSzTx/>
                <a:buFontTx/>
                <a:buNone/>
                <a:tabLst/>
              </a:pPr>
              <a:endParaRPr lang="en-US" b="1" noProof="0">
                <a:solidFill>
                  <a:prstClr val="white"/>
                </a:solidFill>
              </a:endParaRPr>
            </a:p>
          </p:txBody>
        </p:sp>
      </p:grpSp>
      <p:sp>
        <p:nvSpPr>
          <p:cNvPr id="8" name="Subtitle">
            <a:extLst>
              <a:ext uri="{FF2B5EF4-FFF2-40B4-BE49-F238E27FC236}">
                <a16:creationId xmlns:a16="http://schemas.microsoft.com/office/drawing/2014/main" id="{0E40E159-9F39-4F01-A7AA-D2D8902DFD25}"/>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729CFA0F-02A0-4AF1-9722-392DFCA4E221}"/>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79384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Segue Midnigh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DA002C-01DC-49E8-AB20-B71B7CBD4CC6}"/>
              </a:ext>
            </a:extLst>
          </p:cNvPr>
          <p:cNvGrpSpPr/>
          <p:nvPr userDrawn="1"/>
        </p:nvGrpSpPr>
        <p:grpSpPr bwMode="white">
          <a:xfrm>
            <a:off x="0" y="0"/>
            <a:ext cx="9837777" cy="5917440"/>
            <a:chOff x="-3721335" y="0"/>
            <a:chExt cx="9837777" cy="5917440"/>
          </a:xfrm>
        </p:grpSpPr>
        <p:sp>
          <p:nvSpPr>
            <p:cNvPr id="17" name="Rectangle: Single Corner Rounded 16">
              <a:extLst>
                <a:ext uri="{FF2B5EF4-FFF2-40B4-BE49-F238E27FC236}">
                  <a16:creationId xmlns:a16="http://schemas.microsoft.com/office/drawing/2014/main" id="{6BFB91C4-00D9-48E3-99E4-3AFD69367BD7}"/>
                </a:ext>
              </a:extLst>
            </p:cNvPr>
            <p:cNvSpPr/>
            <p:nvPr userDrawn="1"/>
          </p:nvSpPr>
          <p:spPr bwMode="white">
            <a:xfrm flipV="1">
              <a:off x="-3721335" y="0"/>
              <a:ext cx="9837777" cy="5917440"/>
            </a:xfrm>
            <a:prstGeom prst="round1Rect">
              <a:avLst>
                <a:gd name="adj" fmla="val 3163"/>
              </a:avLst>
            </a:prstGeom>
            <a:solidFill>
              <a:schemeClr val="tx2"/>
            </a:solidFill>
            <a:ln w="25400" cap="flat" cmpd="sng" algn="ctr">
              <a:noFill/>
              <a:prstDash val="solid"/>
            </a:ln>
            <a:effectLst>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22" name="Rectangle: Single Corner Rounded 21">
              <a:extLst>
                <a:ext uri="{FF2B5EF4-FFF2-40B4-BE49-F238E27FC236}">
                  <a16:creationId xmlns:a16="http://schemas.microsoft.com/office/drawing/2014/main" id="{9F9D9178-EDDF-4E67-8748-C3D4BA24DA31}"/>
                </a:ext>
              </a:extLst>
            </p:cNvPr>
            <p:cNvSpPr/>
            <p:nvPr userDrawn="1"/>
          </p:nvSpPr>
          <p:spPr bwMode="white">
            <a:xfrm flipV="1">
              <a:off x="4722552" y="0"/>
              <a:ext cx="1393890" cy="5917440"/>
            </a:xfrm>
            <a:prstGeom prst="round1Rect">
              <a:avLst>
                <a:gd name="adj" fmla="val 14264"/>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noProof="0">
                <a:solidFill>
                  <a:prstClr val="white"/>
                </a:solidFill>
              </a:endParaRPr>
            </a:p>
          </p:txBody>
        </p:sp>
      </p:grpSp>
      <p:sp>
        <p:nvSpPr>
          <p:cNvPr id="8" name="Subtitle">
            <a:extLst>
              <a:ext uri="{FF2B5EF4-FFF2-40B4-BE49-F238E27FC236}">
                <a16:creationId xmlns:a16="http://schemas.microsoft.com/office/drawing/2014/main" id="{9D3C0F03-E0C3-42D5-87D1-59F797FD9D43}"/>
              </a:ext>
            </a:extLst>
          </p:cNvPr>
          <p:cNvSpPr>
            <a:spLocks noGrp="1"/>
          </p:cNvSpPr>
          <p:nvPr>
            <p:ph type="subTitle" idx="1"/>
          </p:nvPr>
        </p:nvSpPr>
        <p:spPr bwMode="black">
          <a:xfrm>
            <a:off x="494189" y="4127783"/>
            <a:ext cx="8831404" cy="914400"/>
          </a:xfrm>
          <a:prstGeom prst="rect">
            <a:avLst/>
          </a:prstGeom>
        </p:spPr>
        <p:txBody>
          <a:bodyPr/>
          <a:lstStyle>
            <a:lvl1pPr marL="0" indent="0" algn="l">
              <a:lnSpc>
                <a:spcPct val="96000"/>
              </a:lnSpc>
              <a:spcBef>
                <a:spcPts val="120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57F736A3-4D11-4C0C-A858-4F2FF633E43B}"/>
              </a:ext>
            </a:extLst>
          </p:cNvPr>
          <p:cNvSpPr>
            <a:spLocks noGrp="1"/>
          </p:cNvSpPr>
          <p:nvPr>
            <p:ph type="title"/>
          </p:nvPr>
        </p:nvSpPr>
        <p:spPr>
          <a:xfrm>
            <a:off x="495298" y="2407138"/>
            <a:ext cx="8829675" cy="1523494"/>
          </a:xfrm>
        </p:spPr>
        <p:txBody>
          <a:bodyPr wrap="square">
            <a:spAutoFit/>
          </a:bodyPr>
          <a:lstStyle>
            <a:lvl1pPr>
              <a:lnSpc>
                <a:spcPct val="87000"/>
              </a:lnSpc>
              <a:defRPr sz="5500">
                <a:solidFill>
                  <a:schemeClr val="bg1"/>
                </a:solidFill>
              </a:defRPr>
            </a:lvl1pPr>
          </a:lstStyle>
          <a:p>
            <a:r>
              <a:rPr lang="en-US"/>
              <a:t>Click to edit Master title style</a:t>
            </a:r>
          </a:p>
        </p:txBody>
      </p:sp>
    </p:spTree>
    <p:extLst>
      <p:ext uri="{BB962C8B-B14F-4D97-AF65-F5344CB8AC3E}">
        <p14:creationId xmlns:p14="http://schemas.microsoft.com/office/powerpoint/2010/main" val="336235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C01074-217C-4A66-9F0B-CAF43251D25B}"/>
              </a:ext>
            </a:extLst>
          </p:cNvPr>
          <p:cNvGrpSpPr/>
          <p:nvPr userDrawn="1"/>
        </p:nvGrpSpPr>
        <p:grpSpPr bwMode="hidden">
          <a:xfrm>
            <a:off x="-1855" y="5422393"/>
            <a:ext cx="12195710" cy="1435607"/>
            <a:chOff x="-1855" y="5345050"/>
            <a:chExt cx="12195710" cy="1435607"/>
          </a:xfrm>
        </p:grpSpPr>
        <p:sp>
          <p:nvSpPr>
            <p:cNvPr id="9" name="Rectangle 8">
              <a:extLst>
                <a:ext uri="{FF2B5EF4-FFF2-40B4-BE49-F238E27FC236}">
                  <a16:creationId xmlns:a16="http://schemas.microsoft.com/office/drawing/2014/main" id="{A20F0B08-1A42-4741-9BFD-A54A2EB7AABB}"/>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0" name="Rectangle: Single Corner Rounded 6">
              <a:extLst>
                <a:ext uri="{FF2B5EF4-FFF2-40B4-BE49-F238E27FC236}">
                  <a16:creationId xmlns:a16="http://schemas.microsoft.com/office/drawing/2014/main" id="{DD2D4C05-687D-4B24-9D18-4EF53E6A3A47}"/>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7" name="TextBox 6">
            <a:extLst>
              <a:ext uri="{FF2B5EF4-FFF2-40B4-BE49-F238E27FC236}">
                <a16:creationId xmlns:a16="http://schemas.microsoft.com/office/drawing/2014/main" id="{1603D846-953C-47C3-9FE6-C4A9C1F293B8}"/>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679725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13048A-0BD6-43BB-8E42-342E9A375BD4}"/>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F17A952-37AC-4EF1-A44C-A23DEF993CF0}"/>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D2EE94D9-5190-4400-9469-EA555AB35C99}"/>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D96FDD69-DC19-4F6F-B8DC-DF46F9DF84D8}"/>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49C5F39E-900A-40BF-B369-CE8E2DB19A04}"/>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2462F1E1-2667-40B3-80CA-74BB3BE3FD5C}"/>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6B6CD81E-F7C1-4BB6-8F3A-30084B745F1D}"/>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2526386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chemeClr val="accent3"/>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3382345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Quot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BE8A257-38BB-4243-8865-6C40C0B39296}"/>
              </a:ext>
            </a:extLst>
          </p:cNvPr>
          <p:cNvGrpSpPr/>
          <p:nvPr userDrawn="1"/>
        </p:nvGrpSpPr>
        <p:grpSpPr bwMode="hidden">
          <a:xfrm>
            <a:off x="-1855" y="5422393"/>
            <a:ext cx="12195710" cy="1435607"/>
            <a:chOff x="-1855" y="5345050"/>
            <a:chExt cx="12195710" cy="1435607"/>
          </a:xfrm>
        </p:grpSpPr>
        <p:sp>
          <p:nvSpPr>
            <p:cNvPr id="13" name="Rectangle 12">
              <a:extLst>
                <a:ext uri="{FF2B5EF4-FFF2-40B4-BE49-F238E27FC236}">
                  <a16:creationId xmlns:a16="http://schemas.microsoft.com/office/drawing/2014/main" id="{9C822925-5E35-42E0-A405-9FDE01620AF3}"/>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4" name="Rectangle: Single Corner Rounded 6">
              <a:extLst>
                <a:ext uri="{FF2B5EF4-FFF2-40B4-BE49-F238E27FC236}">
                  <a16:creationId xmlns:a16="http://schemas.microsoft.com/office/drawing/2014/main" id="{316C158A-1BC1-4B0C-8069-694BFBA4B217}"/>
                </a:ext>
              </a:extLst>
            </p:cNvPr>
            <p:cNvSpPr/>
            <p:nvPr userDrawn="1"/>
          </p:nvSpPr>
          <p:spPr bwMode="hidden">
            <a:xfrm rot="16200000" flipH="1">
              <a:off x="5849113" y="-504059"/>
              <a:ext cx="493775" cy="12191993"/>
            </a:xfrm>
            <a:prstGeom prst="round1Rect">
              <a:avLst>
                <a:gd name="adj" fmla="val 0"/>
              </a:avLst>
            </a:prstGeom>
            <a:gradFill flip="none" rotWithShape="1">
              <a:gsLst>
                <a:gs pos="0">
                  <a:schemeClr val="accent6">
                    <a:lumMod val="40000"/>
                    <a:lumOff val="60000"/>
                    <a:alpha val="0"/>
                  </a:schemeClr>
                </a:gs>
                <a:gs pos="100000">
                  <a:srgbClr val="95A4B3">
                    <a:alpha val="62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350" b="1">
                <a:solidFill>
                  <a:prstClr val="white"/>
                </a:solidFill>
              </a:endParaRPr>
            </a:p>
          </p:txBody>
        </p:sp>
      </p:grpSp>
      <p:sp>
        <p:nvSpPr>
          <p:cNvPr id="7" name="Text Placeholder 43">
            <a:extLst>
              <a:ext uri="{FF2B5EF4-FFF2-40B4-BE49-F238E27FC236}">
                <a16:creationId xmlns:a16="http://schemas.microsoft.com/office/drawing/2014/main" id="{5DC8EBCF-B0D3-48CD-8A88-27BF4EA27D80}"/>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160CB0DF-8AEB-43E3-AB55-96ED636D1BBA}"/>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B482B713-92C0-47EE-A958-9C92B2D1FDE7}"/>
              </a:ext>
            </a:extLst>
          </p:cNvPr>
          <p:cNvSpPr>
            <a:spLocks noGrp="1"/>
          </p:cNvSpPr>
          <p:nvPr>
            <p:ph type="body" sz="quarter" idx="12" hasCustomPrompt="1"/>
          </p:nvPr>
        </p:nvSpPr>
        <p:spPr bwMode="black">
          <a:xfrm>
            <a:off x="495299" y="424689"/>
            <a:ext cx="11201401" cy="5014961"/>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tx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C527E454-7FD7-4D31-B71E-46FE6521228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4116995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Quote Gun Metal">
    <p:bg>
      <p:bgPr>
        <a:solidFill>
          <a:schemeClr val="accent5"/>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9F4BD61-79B1-4FA5-B6AF-78B70186DCFC}"/>
              </a:ext>
            </a:extLst>
          </p:cNvPr>
          <p:cNvGrpSpPr/>
          <p:nvPr userDrawn="1"/>
        </p:nvGrpSpPr>
        <p:grpSpPr bwMode="hidden">
          <a:xfrm>
            <a:off x="-1855" y="5422393"/>
            <a:ext cx="12195710" cy="1435607"/>
            <a:chOff x="-1855" y="5345050"/>
            <a:chExt cx="12195710" cy="1435607"/>
          </a:xfrm>
        </p:grpSpPr>
        <p:sp>
          <p:nvSpPr>
            <p:cNvPr id="14" name="Rectangle 13">
              <a:extLst>
                <a:ext uri="{FF2B5EF4-FFF2-40B4-BE49-F238E27FC236}">
                  <a16:creationId xmlns:a16="http://schemas.microsoft.com/office/drawing/2014/main" id="{B0C9D67C-022E-4D4C-B0B6-3D3C872C2ECC}"/>
                </a:ext>
              </a:extLst>
            </p:cNvPr>
            <p:cNvSpPr/>
            <p:nvPr userDrawn="1"/>
          </p:nvSpPr>
          <p:spPr bwMode="hidden">
            <a:xfrm>
              <a:off x="-1855" y="5838825"/>
              <a:ext cx="12195710" cy="941832"/>
            </a:xfrm>
            <a:prstGeom prst="rect">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 name="Rectangle: Single Corner Rounded 6">
              <a:extLst>
                <a:ext uri="{FF2B5EF4-FFF2-40B4-BE49-F238E27FC236}">
                  <a16:creationId xmlns:a16="http://schemas.microsoft.com/office/drawing/2014/main" id="{6E9A8A5F-38D4-4C13-9C86-ABA2E769B4E3}"/>
                </a:ext>
              </a:extLst>
            </p:cNvPr>
            <p:cNvSpPr/>
            <p:nvPr userDrawn="1"/>
          </p:nvSpPr>
          <p:spPr bwMode="hidden">
            <a:xfrm rot="16200000" flipH="1">
              <a:off x="5849113" y="-504059"/>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23833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Quote Midnight">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251064F-F6C0-4F82-8A3B-9D94517600A9}"/>
              </a:ext>
            </a:extLst>
          </p:cNvPr>
          <p:cNvGrpSpPr/>
          <p:nvPr userDrawn="1"/>
        </p:nvGrpSpPr>
        <p:grpSpPr>
          <a:xfrm>
            <a:off x="-1855" y="5422393"/>
            <a:ext cx="12195710" cy="1435607"/>
            <a:chOff x="-1855" y="5345050"/>
            <a:chExt cx="12195710" cy="1435607"/>
          </a:xfrm>
        </p:grpSpPr>
        <p:sp>
          <p:nvSpPr>
            <p:cNvPr id="12" name="Rectangle 11">
              <a:extLst>
                <a:ext uri="{FF2B5EF4-FFF2-40B4-BE49-F238E27FC236}">
                  <a16:creationId xmlns:a16="http://schemas.microsoft.com/office/drawing/2014/main" id="{81E49DF0-688F-4F01-85DA-A40E1B928462}"/>
                </a:ext>
              </a:extLst>
            </p:cNvPr>
            <p:cNvSpPr/>
            <p:nvPr userDrawn="1"/>
          </p:nvSpPr>
          <p:spPr bwMode="gray">
            <a:xfrm>
              <a:off x="-1855" y="5838825"/>
              <a:ext cx="12195710" cy="941832"/>
            </a:xfrm>
            <a:prstGeom prst="rect">
              <a:avLst/>
            </a:prstGeom>
            <a:solidFill>
              <a:srgbClr val="FFFFFF"/>
            </a:soli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entury Gothic"/>
              </a:endParaRPr>
            </a:p>
          </p:txBody>
        </p:sp>
        <p:sp>
          <p:nvSpPr>
            <p:cNvPr id="13" name="Rectangle: Single Corner Rounded 6">
              <a:extLst>
                <a:ext uri="{FF2B5EF4-FFF2-40B4-BE49-F238E27FC236}">
                  <a16:creationId xmlns:a16="http://schemas.microsoft.com/office/drawing/2014/main" id="{C8C0B1F6-3934-4D62-83E5-5862FBAB621A}"/>
                </a:ext>
              </a:extLst>
            </p:cNvPr>
            <p:cNvSpPr/>
            <p:nvPr userDrawn="1"/>
          </p:nvSpPr>
          <p:spPr bwMode="gray">
            <a:xfrm rot="16200000" flipH="1">
              <a:off x="5849113" y="-504059"/>
              <a:ext cx="493775" cy="12191993"/>
            </a:xfrm>
            <a:prstGeom prst="round1Rect">
              <a:avLst>
                <a:gd name="adj" fmla="val 0"/>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grpSp>
      <p:sp>
        <p:nvSpPr>
          <p:cNvPr id="7" name="Text Placeholder 43">
            <a:extLst>
              <a:ext uri="{FF2B5EF4-FFF2-40B4-BE49-F238E27FC236}">
                <a16:creationId xmlns:a16="http://schemas.microsoft.com/office/drawing/2014/main" id="{65534064-A952-42C5-A948-3EFE0CE7E3F7}"/>
              </a:ext>
            </a:extLst>
          </p:cNvPr>
          <p:cNvSpPr>
            <a:spLocks noGrp="1"/>
          </p:cNvSpPr>
          <p:nvPr>
            <p:ph type="body" sz="quarter" idx="10" hasCustomPrompt="1"/>
          </p:nvPr>
        </p:nvSpPr>
        <p:spPr bwMode="black">
          <a:xfrm>
            <a:off x="481807" y="6229370"/>
            <a:ext cx="2623343" cy="236312"/>
          </a:xfrm>
          <a:prstGeom prst="rect">
            <a:avLst/>
          </a:prstGeom>
        </p:spPr>
        <p:txBody>
          <a:bodyPr/>
          <a:lstStyle>
            <a:lvl1pPr marL="0" indent="0">
              <a:lnSpc>
                <a:spcPct val="96000"/>
              </a:lnSpc>
              <a:spcBef>
                <a:spcPts val="0"/>
              </a:spcBef>
              <a:buNone/>
              <a:defRPr sz="1400" b="1">
                <a:solidFill>
                  <a:schemeClr val="accent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9" name="Text Placeholder 47">
            <a:extLst>
              <a:ext uri="{FF2B5EF4-FFF2-40B4-BE49-F238E27FC236}">
                <a16:creationId xmlns:a16="http://schemas.microsoft.com/office/drawing/2014/main" id="{8B3DE6C8-2C76-4AAC-83C6-69C24A51F14F}"/>
              </a:ext>
            </a:extLst>
          </p:cNvPr>
          <p:cNvSpPr>
            <a:spLocks noGrp="1"/>
          </p:cNvSpPr>
          <p:nvPr>
            <p:ph type="body" sz="quarter" idx="11" hasCustomPrompt="1"/>
          </p:nvPr>
        </p:nvSpPr>
        <p:spPr bwMode="black">
          <a:xfrm>
            <a:off x="3340102" y="6229370"/>
            <a:ext cx="2613026" cy="236312"/>
          </a:xfrm>
          <a:prstGeom prst="rect">
            <a:avLst/>
          </a:prstGeom>
        </p:spPr>
        <p:txBody>
          <a:bodyPr/>
          <a:lstStyle>
            <a:lvl1pPr marL="0" indent="0">
              <a:lnSpc>
                <a:spcPct val="96000"/>
              </a:lnSpc>
              <a:buNone/>
              <a:defRPr sz="14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10" name="Text Placeholder 49">
            <a:extLst>
              <a:ext uri="{FF2B5EF4-FFF2-40B4-BE49-F238E27FC236}">
                <a16:creationId xmlns:a16="http://schemas.microsoft.com/office/drawing/2014/main" id="{64461E69-3906-486E-9542-28361ECC3776}"/>
              </a:ext>
            </a:extLst>
          </p:cNvPr>
          <p:cNvSpPr>
            <a:spLocks noGrp="1"/>
          </p:cNvSpPr>
          <p:nvPr>
            <p:ph type="body" sz="quarter" idx="12" hasCustomPrompt="1"/>
          </p:nvPr>
        </p:nvSpPr>
        <p:spPr bwMode="black">
          <a:xfrm>
            <a:off x="495299" y="424690"/>
            <a:ext cx="11201401" cy="5003192"/>
          </a:xfrm>
          <a:prstGeom prst="rect">
            <a:avLst/>
          </a:prstGeom>
        </p:spPr>
        <p:txBody>
          <a:bodyPr/>
          <a:lstStyle>
            <a:lvl1pPr marL="0" indent="0">
              <a:lnSpc>
                <a:spcPct val="96000"/>
              </a:lnSpc>
              <a:spcBef>
                <a:spcPts val="900"/>
              </a:spcBef>
              <a:buFont typeface="Microsoft Sans Serif" panose="020B0604020202020204" pitchFamily="34" charset="0"/>
              <a:buChar char="​"/>
              <a:defRPr sz="55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p:nvSpPr>
          <p:cNvPr id="8" name="TextBox 7">
            <a:extLst>
              <a:ext uri="{FF2B5EF4-FFF2-40B4-BE49-F238E27FC236}">
                <a16:creationId xmlns:a16="http://schemas.microsoft.com/office/drawing/2014/main" id="{528D09A0-C25A-45B2-8874-A4A6B3BA6B5B}"/>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Tree>
    <p:extLst>
      <p:ext uri="{BB962C8B-B14F-4D97-AF65-F5344CB8AC3E}">
        <p14:creationId xmlns:p14="http://schemas.microsoft.com/office/powerpoint/2010/main" val="1108287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ull Image, Title R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22480" y="2557766"/>
            <a:ext cx="3574222" cy="1657338"/>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22479" y="5034191"/>
            <a:ext cx="3574221"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0" name="Title 1">
            <a:extLst>
              <a:ext uri="{FF2B5EF4-FFF2-40B4-BE49-F238E27FC236}">
                <a16:creationId xmlns:a16="http://schemas.microsoft.com/office/drawing/2014/main" id="{F2F733F4-FDC8-4D30-B7CF-F12D90AFBE39}"/>
              </a:ext>
            </a:extLst>
          </p:cNvPr>
          <p:cNvSpPr>
            <a:spLocks noGrp="1"/>
          </p:cNvSpPr>
          <p:nvPr>
            <p:ph type="title"/>
          </p:nvPr>
        </p:nvSpPr>
        <p:spPr bwMode="gray">
          <a:xfrm>
            <a:off x="8127386" y="611410"/>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114183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0.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9-2020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64722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1.xml><?xml version="1.0" encoding="utf-8"?>
<p:sldLayout xmlns:a="http://schemas.openxmlformats.org/drawingml/2006/main" xmlns:r="http://schemas.openxmlformats.org/officeDocument/2006/relationships" xmlns:p="http://schemas.openxmlformats.org/presentationml/2006/main" showMasterSp="0" preserve="1" userDrawn="1">
  <p:cSld name="Thank You Light Blue">
    <p:bg bwMode="gray">
      <p:bgPr>
        <a:solidFill>
          <a:schemeClr val="accent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42000">
                <a:schemeClr val="accent2">
                  <a:lumMod val="60000"/>
                  <a:lumOff val="40000"/>
                </a:schemeClr>
              </a:gs>
              <a:gs pos="100000">
                <a:schemeClr val="accent2">
                  <a:lumMod val="40000"/>
                  <a:lumOff val="60000"/>
                </a:schemeClr>
              </a:gs>
            </a:gsLst>
            <a:lin ang="3000000" scaled="0"/>
          </a:gradFill>
          <a:ln>
            <a:noFill/>
          </a:ln>
          <a:effectLst>
            <a:outerShdw blurRad="571500" dist="317500" dir="8100000" algn="t" rotWithShape="0">
              <a:schemeClr val="accent1">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5EC78DCF-1518-4FD3-8C9A-D0613D2948A1}"/>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9CDBF691-FA8F-4C88-8AEC-051F05CF7527}"/>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rgbClr val="FFFFFF"/>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095064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2.xml><?xml version="1.0" encoding="utf-8"?>
<p:sldLayout xmlns:a="http://schemas.openxmlformats.org/drawingml/2006/main" xmlns:r="http://schemas.openxmlformats.org/officeDocument/2006/relationships" xmlns:p="http://schemas.openxmlformats.org/presentationml/2006/main" showMasterSp="0" preserve="1" userDrawn="1">
  <p:cSld name="Thank You Teal">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chemeClr val="accent3"/>
              </a:gs>
              <a:gs pos="75000">
                <a:schemeClr val="accent4"/>
              </a:gs>
            </a:gsLst>
            <a:lin ang="3000000" scaled="0"/>
          </a:gradFill>
          <a:ln>
            <a:noFill/>
          </a:ln>
          <a:effectLst>
            <a:outerShdw blurRad="825500" dist="317500" dir="8100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B2778F07-F3E7-47FA-AC3D-F54B1F2EC247}"/>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2018-2020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8FDD115-2D89-4909-A1A6-2C7FC32DD4C9}"/>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4">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777527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3.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bwMode="gray">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E9EEF3"/>
              </a:gs>
              <a:gs pos="75000">
                <a:srgbClr val="F2F5F8"/>
              </a:gs>
            </a:gsLst>
            <a:lin ang="3000000" scaled="0"/>
          </a:gradFill>
          <a:ln>
            <a:noFill/>
          </a:ln>
          <a:effectLst>
            <a:outerShdw blurRad="825500" dist="317500" dir="8100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5">
                <a:lumMod val="50000"/>
                <a:alpha val="5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0D34E480-EAB6-49A9-8C1E-32BB255B6712}"/>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3" name="Group 4">
              <a:extLst>
                <a:ext uri="{FF2B5EF4-FFF2-40B4-BE49-F238E27FC236}">
                  <a16:creationId xmlns:a16="http://schemas.microsoft.com/office/drawing/2014/main" id="{7D1419D0-EDA2-4BE4-B5CF-E8CF803AFAA0}"/>
                </a:ext>
              </a:extLst>
            </p:cNvPr>
            <p:cNvGrpSpPr>
              <a:grpSpLocks noChangeAspect="1"/>
            </p:cNvGrpSpPr>
            <p:nvPr userDrawn="1"/>
          </p:nvGrpSpPr>
          <p:grpSpPr bwMode="auto">
            <a:xfrm>
              <a:off x="2404478" y="2378640"/>
              <a:ext cx="164453" cy="164592"/>
              <a:chOff x="2653" y="972"/>
              <a:chExt cx="2372" cy="2374"/>
            </a:xfrm>
            <a:grpFill/>
          </p:grpSpPr>
          <p:sp>
            <p:nvSpPr>
              <p:cNvPr id="5" name="Freeform 5">
                <a:extLst>
                  <a:ext uri="{FF2B5EF4-FFF2-40B4-BE49-F238E27FC236}">
                    <a16:creationId xmlns:a16="http://schemas.microsoft.com/office/drawing/2014/main" id="{5780A924-66A9-4B4B-8EF8-9AF0152AD302}"/>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D6509037-CA2E-4F8D-9C40-B353AE3F57F3}"/>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7">
                <a:extLst>
                  <a:ext uri="{FF2B5EF4-FFF2-40B4-BE49-F238E27FC236}">
                    <a16:creationId xmlns:a16="http://schemas.microsoft.com/office/drawing/2014/main" id="{E28D7259-70EB-41B3-8D9D-8BF01022AEF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 name="Freeform 5">
            <a:extLst>
              <a:ext uri="{FF2B5EF4-FFF2-40B4-BE49-F238E27FC236}">
                <a16:creationId xmlns:a16="http://schemas.microsoft.com/office/drawing/2014/main" id="{E2E91C86-8B49-46ED-A62F-A8C2EF68819B}"/>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C51D2F3D-2B2F-4F39-B5E2-A9CC9DA8643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5397636F-5BB7-4E70-97D3-6AE2F2B6095E}"/>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555424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4.xml><?xml version="1.0" encoding="utf-8"?>
<p:sldLayout xmlns:a="http://schemas.openxmlformats.org/drawingml/2006/main" xmlns:r="http://schemas.openxmlformats.org/officeDocument/2006/relationships" xmlns:p="http://schemas.openxmlformats.org/presentationml/2006/main" showMasterSp="0" preserve="1" userDrawn="1">
  <p:cSld name="Thank You Gun Metal">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solidFill>
            <a:srgbClr val="FFFFFF"/>
          </a:soli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20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 name="Freeform 5">
            <a:extLst>
              <a:ext uri="{FF2B5EF4-FFF2-40B4-BE49-F238E27FC236}">
                <a16:creationId xmlns:a16="http://schemas.microsoft.com/office/drawing/2014/main" id="{B102D1B2-402E-4344-9A6D-E9948DE266A1}"/>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85630625-5612-4F53-BD70-66D7CC0D175C}"/>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37883068-1DCD-419F-B0B8-46532DC1A89B}"/>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6">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687882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5.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bwMode="gray">
      <p:bgPr>
        <a:solidFill>
          <a:schemeClr val="tx2"/>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404C64"/>
              </a:gs>
              <a:gs pos="75000">
                <a:srgbClr val="4F5E79"/>
              </a:gs>
            </a:gsLst>
            <a:lin ang="3000000" scaled="0"/>
          </a:gradFill>
          <a:ln>
            <a:noFill/>
          </a:ln>
          <a:effectLst>
            <a:outerShdw blurRad="825500" dist="317500" dir="8100000" algn="t" rotWithShape="0">
              <a:srgbClr val="151B25"/>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79A6BEB5-8828-4004-B9AF-04585E1C8091}"/>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D8FD671B-A7A9-44EA-B894-802CF3A30BAA}"/>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9546B527-AC3D-4F1E-9D19-C6E8FE6419D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7051C1-FC16-4391-BB91-B927651695A8}"/>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1AB6C857-0B37-4B3F-883A-DCD51CFDB7A6}"/>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9CB31EA3-A1D8-4235-84D9-EE3F37F4BD63}"/>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4" name="TextBox 23">
            <a:extLst>
              <a:ext uri="{FF2B5EF4-FFF2-40B4-BE49-F238E27FC236}">
                <a16:creationId xmlns:a16="http://schemas.microsoft.com/office/drawing/2014/main" id="{F341B794-4284-4622-9DB9-1B89EA5B9BE3}"/>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7589ED4C-A871-488E-A454-365FF2228CDF}"/>
              </a:ext>
            </a:extLst>
          </p:cNvPr>
          <p:cNvSpPr txBox="1"/>
          <p:nvPr userDrawn="1"/>
        </p:nvSpPr>
        <p:spPr bwMode="gray">
          <a:xfrm>
            <a:off x="4312123" y="4086843"/>
            <a:ext cx="3676178" cy="198060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5">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54759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6.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tx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C8744E5A-C06A-4B60-BDC7-1D821CA9F5B0}"/>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9" name="Text Placeholder 7">
            <a:extLst>
              <a:ext uri="{FF2B5EF4-FFF2-40B4-BE49-F238E27FC236}">
                <a16:creationId xmlns:a16="http://schemas.microsoft.com/office/drawing/2014/main" id="{9640E281-C50E-4848-91E6-FC33A602A642}"/>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3" name="Text Placeholder 5">
            <a:extLst>
              <a:ext uri="{FF2B5EF4-FFF2-40B4-BE49-F238E27FC236}">
                <a16:creationId xmlns:a16="http://schemas.microsoft.com/office/drawing/2014/main" id="{A4169139-C0DB-6241-B1E6-BBBF31EE728E}"/>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4" name="Text Placeholder 48">
            <a:extLst>
              <a:ext uri="{FF2B5EF4-FFF2-40B4-BE49-F238E27FC236}">
                <a16:creationId xmlns:a16="http://schemas.microsoft.com/office/drawing/2014/main" id="{79B5B91D-44E9-C946-8602-7115E58F4F7F}"/>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16" name="Title 2">
            <a:extLst>
              <a:ext uri="{FF2B5EF4-FFF2-40B4-BE49-F238E27FC236}">
                <a16:creationId xmlns:a16="http://schemas.microsoft.com/office/drawing/2014/main" id="{62C0E76A-32B9-4D4D-B734-7A849718BDEC}"/>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sp>
        <p:nvSpPr>
          <p:cNvPr id="20" name="Freeform 5">
            <a:extLst>
              <a:ext uri="{FF2B5EF4-FFF2-40B4-BE49-F238E27FC236}">
                <a16:creationId xmlns:a16="http://schemas.microsoft.com/office/drawing/2014/main" id="{6E23F990-94BF-5E49-B3E1-907A3E5E23F6}"/>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0" name="TextBox 9">
            <a:extLst>
              <a:ext uri="{FF2B5EF4-FFF2-40B4-BE49-F238E27FC236}">
                <a16:creationId xmlns:a16="http://schemas.microsoft.com/office/drawing/2014/main" id="{13EDBCEA-3011-7246-B482-3F2BC945635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
        <p:nvSpPr>
          <p:cNvPr id="11" name="Text Placeholder 7">
            <a:extLst>
              <a:ext uri="{FF2B5EF4-FFF2-40B4-BE49-F238E27FC236}">
                <a16:creationId xmlns:a16="http://schemas.microsoft.com/office/drawing/2014/main" id="{CF15FD80-2861-F44E-7FFE-F838CFAF2B7A}"/>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34390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7.xml><?xml version="1.0" encoding="utf-8"?>
<p:sldLayout xmlns:a="http://schemas.openxmlformats.org/drawingml/2006/main" xmlns:r="http://schemas.openxmlformats.org/officeDocument/2006/relationships" xmlns:p="http://schemas.openxmlformats.org/presentationml/2006/main" showMasterSp="0" preserve="1" userDrawn="1">
  <p:cSld name="Title White">
    <p:bg>
      <p:bgPr>
        <a:solidFill>
          <a:schemeClr val="bg1"/>
        </a:solidFill>
        <a:effectLst/>
      </p:bgPr>
    </p:bg>
    <p:spTree>
      <p:nvGrpSpPr>
        <p:cNvPr id="1" name=""/>
        <p:cNvGrpSpPr/>
        <p:nvPr/>
      </p:nvGrpSpPr>
      <p:grpSpPr>
        <a:xfrm>
          <a:off x="0" y="0"/>
          <a:ext cx="0" cy="0"/>
          <a:chOff x="0" y="0"/>
          <a:chExt cx="0" cy="0"/>
        </a:xfrm>
      </p:grpSpPr>
      <p:sp>
        <p:nvSpPr>
          <p:cNvPr id="26" name="Freeform 8">
            <a:extLst>
              <a:ext uri="{FF2B5EF4-FFF2-40B4-BE49-F238E27FC236}">
                <a16:creationId xmlns:a16="http://schemas.microsoft.com/office/drawing/2014/main" id="{FA702086-7005-4270-9600-3E0409C7EC66}"/>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chemeClr val="accent6">
              <a:lumMod val="40000"/>
              <a:lumOff val="60000"/>
            </a:schemeClr>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18" name="Text Placeholder 48">
            <a:extLst>
              <a:ext uri="{FF2B5EF4-FFF2-40B4-BE49-F238E27FC236}">
                <a16:creationId xmlns:a16="http://schemas.microsoft.com/office/drawing/2014/main" id="{6F6D3CAF-F7C0-0E43-AE55-B557B5B2CAB8}"/>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9" name="TextBox 8">
            <a:extLst>
              <a:ext uri="{FF2B5EF4-FFF2-40B4-BE49-F238E27FC236}">
                <a16:creationId xmlns:a16="http://schemas.microsoft.com/office/drawing/2014/main" id="{AD73AE66-D2D6-2F4A-B881-C8B70F38B6E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
        <p:nvSpPr>
          <p:cNvPr id="10" name="Text Placeholder 7">
            <a:extLst>
              <a:ext uri="{FF2B5EF4-FFF2-40B4-BE49-F238E27FC236}">
                <a16:creationId xmlns:a16="http://schemas.microsoft.com/office/drawing/2014/main" id="{7046D437-3264-F6DC-A2E1-DDEF4AC5BB1C}"/>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3" name="Text Placeholder 5">
            <a:extLst>
              <a:ext uri="{FF2B5EF4-FFF2-40B4-BE49-F238E27FC236}">
                <a16:creationId xmlns:a16="http://schemas.microsoft.com/office/drawing/2014/main" id="{6218B41B-AA06-EB46-A468-6C030F63EC7A}"/>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6" name="Title 2">
            <a:extLst>
              <a:ext uri="{FF2B5EF4-FFF2-40B4-BE49-F238E27FC236}">
                <a16:creationId xmlns:a16="http://schemas.microsoft.com/office/drawing/2014/main" id="{9ACEF7A7-EEB2-CFA1-B461-4924F8BF02F9}"/>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endParaRPr lang="en-US" dirty="0"/>
          </a:p>
        </p:txBody>
      </p:sp>
      <p:sp>
        <p:nvSpPr>
          <p:cNvPr id="17" name="Freeform 5">
            <a:extLst>
              <a:ext uri="{FF2B5EF4-FFF2-40B4-BE49-F238E27FC236}">
                <a16:creationId xmlns:a16="http://schemas.microsoft.com/office/drawing/2014/main" id="{2A123356-318C-095C-E708-AEAD9C4BC772}"/>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 Placeholder 7">
            <a:extLst>
              <a:ext uri="{FF2B5EF4-FFF2-40B4-BE49-F238E27FC236}">
                <a16:creationId xmlns:a16="http://schemas.microsoft.com/office/drawing/2014/main" id="{6EEAD541-6CB5-0443-91CE-1EBFA0EF558B}"/>
              </a:ext>
            </a:extLst>
          </p:cNvPr>
          <p:cNvSpPr>
            <a:spLocks noGrp="1"/>
          </p:cNvSpPr>
          <p:nvPr>
            <p:ph type="body" sz="quarter" idx="12" hasCustomPrompt="1"/>
          </p:nvPr>
        </p:nvSpPr>
        <p:spPr bwMode="gray">
          <a:xfrm>
            <a:off x="2401888" y="512165"/>
            <a:ext cx="5484812"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64725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8.xml><?xml version="1.0" encoding="utf-8"?>
<p:sldLayout xmlns:a="http://schemas.openxmlformats.org/drawingml/2006/main" xmlns:r="http://schemas.openxmlformats.org/officeDocument/2006/relationships" xmlns:p="http://schemas.openxmlformats.org/presentationml/2006/main" showMasterSp="0" preserve="1" userDrawn="1">
  <p:cSld name="Title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6" name="Freeform 8">
            <a:extLst>
              <a:ext uri="{FF2B5EF4-FFF2-40B4-BE49-F238E27FC236}">
                <a16:creationId xmlns:a16="http://schemas.microsoft.com/office/drawing/2014/main" id="{FA702086-7005-4270-9600-3E0409C7EC66}"/>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CCD3E2"/>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9" name="Text Placeholder 48">
            <a:extLst>
              <a:ext uri="{FF2B5EF4-FFF2-40B4-BE49-F238E27FC236}">
                <a16:creationId xmlns:a16="http://schemas.microsoft.com/office/drawing/2014/main" id="{2F1BD3B7-D097-CC4F-8109-2E0601867AEF}"/>
              </a:ext>
            </a:extLst>
          </p:cNvPr>
          <p:cNvSpPr>
            <a:spLocks noGrp="1"/>
          </p:cNvSpPr>
          <p:nvPr>
            <p:ph type="body" sz="quarter" idx="14" hasCustomPrompt="1"/>
          </p:nvPr>
        </p:nvSpPr>
        <p:spPr bwMode="gray">
          <a:xfrm>
            <a:off x="479626" y="5521260"/>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9" name="TextBox 8">
            <a:extLst>
              <a:ext uri="{FF2B5EF4-FFF2-40B4-BE49-F238E27FC236}">
                <a16:creationId xmlns:a16="http://schemas.microsoft.com/office/drawing/2014/main" id="{73E3A743-A15B-FB4C-BEF7-099512A606FC}"/>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
        <p:nvSpPr>
          <p:cNvPr id="10" name="Text Placeholder 7">
            <a:extLst>
              <a:ext uri="{FF2B5EF4-FFF2-40B4-BE49-F238E27FC236}">
                <a16:creationId xmlns:a16="http://schemas.microsoft.com/office/drawing/2014/main" id="{EEA10B34-F7FE-E96A-53FC-8454E607F28F}"/>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1" name="Text Placeholder 7">
            <a:extLst>
              <a:ext uri="{FF2B5EF4-FFF2-40B4-BE49-F238E27FC236}">
                <a16:creationId xmlns:a16="http://schemas.microsoft.com/office/drawing/2014/main" id="{9FA6681A-B52F-DB20-A9AF-D17C702AE9CC}"/>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
        <p:nvSpPr>
          <p:cNvPr id="12" name="Text Placeholder 5">
            <a:extLst>
              <a:ext uri="{FF2B5EF4-FFF2-40B4-BE49-F238E27FC236}">
                <a16:creationId xmlns:a16="http://schemas.microsoft.com/office/drawing/2014/main" id="{06E8827C-B909-5B38-0773-12F93F19FBC9}"/>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3" name="Title 2">
            <a:extLst>
              <a:ext uri="{FF2B5EF4-FFF2-40B4-BE49-F238E27FC236}">
                <a16:creationId xmlns:a16="http://schemas.microsoft.com/office/drawing/2014/main" id="{8C8F2FB8-2E39-725C-6AA5-92378D0DB8F6}"/>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endParaRPr lang="en-US" dirty="0"/>
          </a:p>
        </p:txBody>
      </p:sp>
      <p:sp>
        <p:nvSpPr>
          <p:cNvPr id="14" name="Freeform 5">
            <a:extLst>
              <a:ext uri="{FF2B5EF4-FFF2-40B4-BE49-F238E27FC236}">
                <a16:creationId xmlns:a16="http://schemas.microsoft.com/office/drawing/2014/main" id="{D52CF34C-DCED-1EA5-780E-B511C58297B0}"/>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2576582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9.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chemeClr val="accent1"/>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6E048808-9D96-49F4-AAF9-8EF21E48FAE0}"/>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214ACD"/>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35" name="Text Placeholder 48">
            <a:extLst>
              <a:ext uri="{FF2B5EF4-FFF2-40B4-BE49-F238E27FC236}">
                <a16:creationId xmlns:a16="http://schemas.microsoft.com/office/drawing/2014/main" id="{AF53501B-85ED-A842-A9B0-46F3598AE1CD}"/>
              </a:ext>
            </a:extLst>
          </p:cNvPr>
          <p:cNvSpPr>
            <a:spLocks noGrp="1"/>
          </p:cNvSpPr>
          <p:nvPr>
            <p:ph type="body" sz="quarter" idx="14" hasCustomPrompt="1"/>
          </p:nvPr>
        </p:nvSpPr>
        <p:spPr bwMode="gray">
          <a:xfrm>
            <a:off x="479626" y="5520817"/>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a:t>
            </a:r>
            <a:r>
              <a:rPr lang="en-US" dirty="0" err="1"/>
              <a:t>qualcomm</a:t>
            </a:r>
            <a:endParaRPr lang="en-US" dirty="0"/>
          </a:p>
        </p:txBody>
      </p:sp>
      <p:sp>
        <p:nvSpPr>
          <p:cNvPr id="10" name="TextBox 9">
            <a:extLst>
              <a:ext uri="{FF2B5EF4-FFF2-40B4-BE49-F238E27FC236}">
                <a16:creationId xmlns:a16="http://schemas.microsoft.com/office/drawing/2014/main" id="{8B2608F0-95ED-EF42-8399-6A838020E81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2">
                    <a:lumMod val="40000"/>
                    <a:lumOff val="60000"/>
                  </a:schemeClr>
                </a:solidFill>
              </a:rPr>
              <a:t>Confidential – Qualcomm Technologies, Inc. and/or its affiliated companies – May Contain Trade Secrets</a:t>
            </a:r>
          </a:p>
        </p:txBody>
      </p:sp>
      <p:sp>
        <p:nvSpPr>
          <p:cNvPr id="11" name="Text Placeholder 7">
            <a:extLst>
              <a:ext uri="{FF2B5EF4-FFF2-40B4-BE49-F238E27FC236}">
                <a16:creationId xmlns:a16="http://schemas.microsoft.com/office/drawing/2014/main" id="{A4CE2BBA-DEBC-8040-A56C-C6C64C29A740}"/>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2" name="Text Placeholder 5">
            <a:extLst>
              <a:ext uri="{FF2B5EF4-FFF2-40B4-BE49-F238E27FC236}">
                <a16:creationId xmlns:a16="http://schemas.microsoft.com/office/drawing/2014/main" id="{1BFE83DC-9E6F-C938-88C6-2E34095F842F}"/>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3" name="Title 2">
            <a:extLst>
              <a:ext uri="{FF2B5EF4-FFF2-40B4-BE49-F238E27FC236}">
                <a16:creationId xmlns:a16="http://schemas.microsoft.com/office/drawing/2014/main" id="{ABD83B88-A2C3-D414-9EA3-8923652EF50B}"/>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sp>
        <p:nvSpPr>
          <p:cNvPr id="14" name="Freeform 5">
            <a:extLst>
              <a:ext uri="{FF2B5EF4-FFF2-40B4-BE49-F238E27FC236}">
                <a16:creationId xmlns:a16="http://schemas.microsoft.com/office/drawing/2014/main" id="{4631230A-B24E-306B-C5ED-54A596C81C1B}"/>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1C4BFDED-1EBC-5640-DD94-82C0EE38DB2E}"/>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4080505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10489691"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2831974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0.xml><?xml version="1.0" encoding="utf-8"?>
<p:sldLayout xmlns:a="http://schemas.openxmlformats.org/drawingml/2006/main" xmlns:r="http://schemas.openxmlformats.org/officeDocument/2006/relationships" xmlns:p="http://schemas.openxmlformats.org/presentationml/2006/main" showMasterSp="0" preserve="1" userDrawn="1">
  <p:cSld name="Title Gun Metal">
    <p:bg>
      <p:bgPr>
        <a:solidFill>
          <a:schemeClr val="accent5"/>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B7329F7A-F684-4776-994A-3A656ABA9581}"/>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3D4F6B"/>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4" name="Text Placeholder 48">
            <a:extLst>
              <a:ext uri="{FF2B5EF4-FFF2-40B4-BE49-F238E27FC236}">
                <a16:creationId xmlns:a16="http://schemas.microsoft.com/office/drawing/2014/main" id="{51A2E1C5-0E40-1243-837A-54873794C32F}"/>
              </a:ext>
            </a:extLst>
          </p:cNvPr>
          <p:cNvSpPr>
            <a:spLocks noGrp="1"/>
          </p:cNvSpPr>
          <p:nvPr>
            <p:ph type="body" sz="quarter" idx="14" hasCustomPrompt="1"/>
          </p:nvPr>
        </p:nvSpPr>
        <p:spPr bwMode="gray">
          <a:xfrm>
            <a:off x="477369" y="5527626"/>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0" name="TextBox 9">
            <a:extLst>
              <a:ext uri="{FF2B5EF4-FFF2-40B4-BE49-F238E27FC236}">
                <a16:creationId xmlns:a16="http://schemas.microsoft.com/office/drawing/2014/main" id="{58ACBF89-AA8C-6A42-B617-C39E6FA2922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40000"/>
                    <a:lumOff val="60000"/>
                  </a:schemeClr>
                </a:solidFill>
              </a:rPr>
              <a:t>Confidential – Qualcomm Technologies, Inc. and/or its affiliated companies – May Contain Trade Secrets</a:t>
            </a:r>
          </a:p>
        </p:txBody>
      </p:sp>
      <p:sp>
        <p:nvSpPr>
          <p:cNvPr id="11" name="Text Placeholder 7">
            <a:extLst>
              <a:ext uri="{FF2B5EF4-FFF2-40B4-BE49-F238E27FC236}">
                <a16:creationId xmlns:a16="http://schemas.microsoft.com/office/drawing/2014/main" id="{97FC8AC1-D033-B9FF-0F8C-CEBF0C300671}"/>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2" name="Text Placeholder 5">
            <a:extLst>
              <a:ext uri="{FF2B5EF4-FFF2-40B4-BE49-F238E27FC236}">
                <a16:creationId xmlns:a16="http://schemas.microsoft.com/office/drawing/2014/main" id="{9734089C-8E02-8D96-F22C-04C3B1C245D9}"/>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3" name="Title 2">
            <a:extLst>
              <a:ext uri="{FF2B5EF4-FFF2-40B4-BE49-F238E27FC236}">
                <a16:creationId xmlns:a16="http://schemas.microsoft.com/office/drawing/2014/main" id="{3E3AF855-3611-0106-B775-3EBADA15C3BA}"/>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sp>
        <p:nvSpPr>
          <p:cNvPr id="14" name="Freeform 5">
            <a:extLst>
              <a:ext uri="{FF2B5EF4-FFF2-40B4-BE49-F238E27FC236}">
                <a16:creationId xmlns:a16="http://schemas.microsoft.com/office/drawing/2014/main" id="{3E0DF7D0-FEC6-B774-BCEC-EA89597AA878}"/>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47375881-F3B9-B0F8-CEA2-FF68FCDAE13B}"/>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155175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1.xml><?xml version="1.0" encoding="utf-8"?>
<p:sldLayout xmlns:a="http://schemas.openxmlformats.org/drawingml/2006/main" xmlns:r="http://schemas.openxmlformats.org/officeDocument/2006/relationships" xmlns:p="http://schemas.openxmlformats.org/presentationml/2006/main" showMasterSp="0" preserve="1" userDrawn="1">
  <p:cSld name="Title Midnight">
    <p:bg>
      <p:bgPr>
        <a:solidFill>
          <a:schemeClr val="tx2"/>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F6B9918A-1F79-4455-8D55-886C7ABFF15E}"/>
              </a:ext>
            </a:extLst>
          </p:cNvPr>
          <p:cNvSpPr>
            <a:spLocks/>
          </p:cNvSpPr>
          <p:nvPr userDrawn="1"/>
        </p:nvSpPr>
        <p:spPr bwMode="auto">
          <a:xfrm>
            <a:off x="-876300" y="4977549"/>
            <a:ext cx="12552239" cy="3889360"/>
          </a:xfrm>
          <a:custGeom>
            <a:avLst/>
            <a:gdLst>
              <a:gd name="T0" fmla="*/ 2068 w 2327"/>
              <a:gd name="T1" fmla="*/ 28 h 720"/>
              <a:gd name="T2" fmla="*/ 2029 w 2327"/>
              <a:gd name="T3" fmla="*/ 0 h 720"/>
              <a:gd name="T4" fmla="*/ 1921 w 2327"/>
              <a:gd name="T5" fmla="*/ 0 h 720"/>
              <a:gd name="T6" fmla="*/ 1881 w 2327"/>
              <a:gd name="T7" fmla="*/ 28 h 720"/>
              <a:gd name="T8" fmla="*/ 1706 w 2327"/>
              <a:gd name="T9" fmla="*/ 507 h 720"/>
              <a:gd name="T10" fmla="*/ 1525 w 2327"/>
              <a:gd name="T11" fmla="*/ 28 h 720"/>
              <a:gd name="T12" fmla="*/ 1486 w 2327"/>
              <a:gd name="T13" fmla="*/ 0 h 720"/>
              <a:gd name="T14" fmla="*/ 1379 w 2327"/>
              <a:gd name="T15" fmla="*/ 0 h 720"/>
              <a:gd name="T16" fmla="*/ 1340 w 2327"/>
              <a:gd name="T17" fmla="*/ 28 h 720"/>
              <a:gd name="T18" fmla="*/ 1163 w 2327"/>
              <a:gd name="T19" fmla="*/ 507 h 720"/>
              <a:gd name="T20" fmla="*/ 985 w 2327"/>
              <a:gd name="T21" fmla="*/ 28 h 720"/>
              <a:gd name="T22" fmla="*/ 946 w 2327"/>
              <a:gd name="T23" fmla="*/ 0 h 720"/>
              <a:gd name="T24" fmla="*/ 840 w 2327"/>
              <a:gd name="T25" fmla="*/ 0 h 720"/>
              <a:gd name="T26" fmla="*/ 800 w 2327"/>
              <a:gd name="T27" fmla="*/ 28 h 720"/>
              <a:gd name="T28" fmla="*/ 621 w 2327"/>
              <a:gd name="T29" fmla="*/ 507 h 720"/>
              <a:gd name="T30" fmla="*/ 444 w 2327"/>
              <a:gd name="T31" fmla="*/ 28 h 720"/>
              <a:gd name="T32" fmla="*/ 406 w 2327"/>
              <a:gd name="T33" fmla="*/ 0 h 720"/>
              <a:gd name="T34" fmla="*/ 297 w 2327"/>
              <a:gd name="T35" fmla="*/ 0 h 720"/>
              <a:gd name="T36" fmla="*/ 258 w 2327"/>
              <a:gd name="T37" fmla="*/ 28 h 720"/>
              <a:gd name="T38" fmla="*/ 6 w 2327"/>
              <a:gd name="T39" fmla="*/ 684 h 720"/>
              <a:gd name="T40" fmla="*/ 31 w 2327"/>
              <a:gd name="T41" fmla="*/ 720 h 720"/>
              <a:gd name="T42" fmla="*/ 127 w 2327"/>
              <a:gd name="T43" fmla="*/ 720 h 720"/>
              <a:gd name="T44" fmla="*/ 166 w 2327"/>
              <a:gd name="T45" fmla="*/ 693 h 720"/>
              <a:gd name="T46" fmla="*/ 351 w 2327"/>
              <a:gd name="T47" fmla="*/ 198 h 720"/>
              <a:gd name="T48" fmla="*/ 536 w 2327"/>
              <a:gd name="T49" fmla="*/ 693 h 720"/>
              <a:gd name="T50" fmla="*/ 575 w 2327"/>
              <a:gd name="T51" fmla="*/ 720 h 720"/>
              <a:gd name="T52" fmla="*/ 663 w 2327"/>
              <a:gd name="T53" fmla="*/ 720 h 720"/>
              <a:gd name="T54" fmla="*/ 703 w 2327"/>
              <a:gd name="T55" fmla="*/ 693 h 720"/>
              <a:gd name="T56" fmla="*/ 892 w 2327"/>
              <a:gd name="T57" fmla="*/ 198 h 720"/>
              <a:gd name="T58" fmla="*/ 1075 w 2327"/>
              <a:gd name="T59" fmla="*/ 693 h 720"/>
              <a:gd name="T60" fmla="*/ 1115 w 2327"/>
              <a:gd name="T61" fmla="*/ 720 h 720"/>
              <a:gd name="T62" fmla="*/ 1208 w 2327"/>
              <a:gd name="T63" fmla="*/ 720 h 720"/>
              <a:gd name="T64" fmla="*/ 1247 w 2327"/>
              <a:gd name="T65" fmla="*/ 693 h 720"/>
              <a:gd name="T66" fmla="*/ 1432 w 2327"/>
              <a:gd name="T67" fmla="*/ 198 h 720"/>
              <a:gd name="T68" fmla="*/ 1620 w 2327"/>
              <a:gd name="T69" fmla="*/ 693 h 720"/>
              <a:gd name="T70" fmla="*/ 1659 w 2327"/>
              <a:gd name="T71" fmla="*/ 720 h 720"/>
              <a:gd name="T72" fmla="*/ 1748 w 2327"/>
              <a:gd name="T73" fmla="*/ 720 h 720"/>
              <a:gd name="T74" fmla="*/ 1787 w 2327"/>
              <a:gd name="T75" fmla="*/ 693 h 720"/>
              <a:gd name="T76" fmla="*/ 1973 w 2327"/>
              <a:gd name="T77" fmla="*/ 201 h 720"/>
              <a:gd name="T78" fmla="*/ 2156 w 2327"/>
              <a:gd name="T79" fmla="*/ 693 h 720"/>
              <a:gd name="T80" fmla="*/ 2196 w 2327"/>
              <a:gd name="T81" fmla="*/ 720 h 720"/>
              <a:gd name="T82" fmla="*/ 2295 w 2327"/>
              <a:gd name="T83" fmla="*/ 720 h 720"/>
              <a:gd name="T84" fmla="*/ 2319 w 2327"/>
              <a:gd name="T85" fmla="*/ 684 h 720"/>
              <a:gd name="T86" fmla="*/ 2068 w 2327"/>
              <a:gd name="T87" fmla="*/ 2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7" h="720">
                <a:moveTo>
                  <a:pt x="2068" y="28"/>
                </a:moveTo>
                <a:cubicBezTo>
                  <a:pt x="2060" y="9"/>
                  <a:pt x="2047" y="0"/>
                  <a:pt x="2029" y="0"/>
                </a:cubicBezTo>
                <a:cubicBezTo>
                  <a:pt x="2029" y="0"/>
                  <a:pt x="2029" y="0"/>
                  <a:pt x="1921" y="0"/>
                </a:cubicBezTo>
                <a:cubicBezTo>
                  <a:pt x="1903" y="0"/>
                  <a:pt x="1889" y="9"/>
                  <a:pt x="1881" y="28"/>
                </a:cubicBezTo>
                <a:cubicBezTo>
                  <a:pt x="1881" y="28"/>
                  <a:pt x="1881" y="28"/>
                  <a:pt x="1706" y="507"/>
                </a:cubicBezTo>
                <a:cubicBezTo>
                  <a:pt x="1706" y="507"/>
                  <a:pt x="1706" y="507"/>
                  <a:pt x="1525" y="28"/>
                </a:cubicBezTo>
                <a:cubicBezTo>
                  <a:pt x="1517" y="9"/>
                  <a:pt x="1504" y="0"/>
                  <a:pt x="1486" y="0"/>
                </a:cubicBezTo>
                <a:cubicBezTo>
                  <a:pt x="1486" y="0"/>
                  <a:pt x="1486" y="0"/>
                  <a:pt x="1379" y="0"/>
                </a:cubicBezTo>
                <a:cubicBezTo>
                  <a:pt x="1361" y="0"/>
                  <a:pt x="1348" y="9"/>
                  <a:pt x="1340" y="28"/>
                </a:cubicBezTo>
                <a:cubicBezTo>
                  <a:pt x="1340" y="28"/>
                  <a:pt x="1340" y="28"/>
                  <a:pt x="1163" y="507"/>
                </a:cubicBezTo>
                <a:cubicBezTo>
                  <a:pt x="1163" y="507"/>
                  <a:pt x="1163" y="507"/>
                  <a:pt x="985" y="28"/>
                </a:cubicBezTo>
                <a:cubicBezTo>
                  <a:pt x="978" y="9"/>
                  <a:pt x="964" y="0"/>
                  <a:pt x="946" y="0"/>
                </a:cubicBezTo>
                <a:cubicBezTo>
                  <a:pt x="946" y="0"/>
                  <a:pt x="946" y="0"/>
                  <a:pt x="840" y="0"/>
                </a:cubicBezTo>
                <a:cubicBezTo>
                  <a:pt x="822" y="0"/>
                  <a:pt x="808" y="9"/>
                  <a:pt x="800" y="28"/>
                </a:cubicBezTo>
                <a:cubicBezTo>
                  <a:pt x="800" y="28"/>
                  <a:pt x="800" y="28"/>
                  <a:pt x="621" y="507"/>
                </a:cubicBezTo>
                <a:cubicBezTo>
                  <a:pt x="621" y="507"/>
                  <a:pt x="621" y="507"/>
                  <a:pt x="444" y="28"/>
                </a:cubicBezTo>
                <a:cubicBezTo>
                  <a:pt x="436" y="9"/>
                  <a:pt x="424" y="0"/>
                  <a:pt x="406" y="0"/>
                </a:cubicBezTo>
                <a:cubicBezTo>
                  <a:pt x="406" y="0"/>
                  <a:pt x="406" y="0"/>
                  <a:pt x="297" y="0"/>
                </a:cubicBezTo>
                <a:cubicBezTo>
                  <a:pt x="279" y="0"/>
                  <a:pt x="265" y="9"/>
                  <a:pt x="258" y="28"/>
                </a:cubicBezTo>
                <a:cubicBezTo>
                  <a:pt x="258" y="28"/>
                  <a:pt x="258" y="28"/>
                  <a:pt x="6" y="684"/>
                </a:cubicBezTo>
                <a:cubicBezTo>
                  <a:pt x="0" y="702"/>
                  <a:pt x="8" y="720"/>
                  <a:pt x="31" y="720"/>
                </a:cubicBezTo>
                <a:cubicBezTo>
                  <a:pt x="31" y="720"/>
                  <a:pt x="31" y="720"/>
                  <a:pt x="127" y="720"/>
                </a:cubicBezTo>
                <a:cubicBezTo>
                  <a:pt x="145" y="720"/>
                  <a:pt x="160" y="711"/>
                  <a:pt x="166" y="693"/>
                </a:cubicBezTo>
                <a:cubicBezTo>
                  <a:pt x="166" y="693"/>
                  <a:pt x="166" y="693"/>
                  <a:pt x="351" y="198"/>
                </a:cubicBezTo>
                <a:cubicBezTo>
                  <a:pt x="351" y="198"/>
                  <a:pt x="351" y="198"/>
                  <a:pt x="536" y="693"/>
                </a:cubicBezTo>
                <a:cubicBezTo>
                  <a:pt x="543" y="712"/>
                  <a:pt x="557" y="720"/>
                  <a:pt x="575" y="720"/>
                </a:cubicBezTo>
                <a:cubicBezTo>
                  <a:pt x="575" y="720"/>
                  <a:pt x="575" y="720"/>
                  <a:pt x="663" y="720"/>
                </a:cubicBezTo>
                <a:cubicBezTo>
                  <a:pt x="682" y="720"/>
                  <a:pt x="695" y="712"/>
                  <a:pt x="703" y="693"/>
                </a:cubicBezTo>
                <a:cubicBezTo>
                  <a:pt x="703" y="693"/>
                  <a:pt x="703" y="693"/>
                  <a:pt x="892" y="198"/>
                </a:cubicBezTo>
                <a:cubicBezTo>
                  <a:pt x="892" y="198"/>
                  <a:pt x="892" y="198"/>
                  <a:pt x="1075" y="693"/>
                </a:cubicBezTo>
                <a:cubicBezTo>
                  <a:pt x="1083" y="711"/>
                  <a:pt x="1097" y="720"/>
                  <a:pt x="1115" y="720"/>
                </a:cubicBezTo>
                <a:cubicBezTo>
                  <a:pt x="1115" y="720"/>
                  <a:pt x="1115" y="720"/>
                  <a:pt x="1208" y="720"/>
                </a:cubicBezTo>
                <a:cubicBezTo>
                  <a:pt x="1226" y="720"/>
                  <a:pt x="1240" y="711"/>
                  <a:pt x="1247" y="693"/>
                </a:cubicBezTo>
                <a:cubicBezTo>
                  <a:pt x="1247" y="693"/>
                  <a:pt x="1247" y="693"/>
                  <a:pt x="1432" y="198"/>
                </a:cubicBezTo>
                <a:cubicBezTo>
                  <a:pt x="1432" y="198"/>
                  <a:pt x="1432" y="198"/>
                  <a:pt x="1620" y="693"/>
                </a:cubicBezTo>
                <a:cubicBezTo>
                  <a:pt x="1627" y="712"/>
                  <a:pt x="1641" y="720"/>
                  <a:pt x="1659" y="720"/>
                </a:cubicBezTo>
                <a:cubicBezTo>
                  <a:pt x="1659" y="720"/>
                  <a:pt x="1659" y="720"/>
                  <a:pt x="1748" y="720"/>
                </a:cubicBezTo>
                <a:cubicBezTo>
                  <a:pt x="1766" y="720"/>
                  <a:pt x="1779" y="712"/>
                  <a:pt x="1787" y="693"/>
                </a:cubicBezTo>
                <a:cubicBezTo>
                  <a:pt x="1787" y="693"/>
                  <a:pt x="1787" y="693"/>
                  <a:pt x="1973" y="201"/>
                </a:cubicBezTo>
                <a:cubicBezTo>
                  <a:pt x="1973" y="201"/>
                  <a:pt x="1973" y="201"/>
                  <a:pt x="2156" y="693"/>
                </a:cubicBezTo>
                <a:cubicBezTo>
                  <a:pt x="2162" y="711"/>
                  <a:pt x="2178" y="720"/>
                  <a:pt x="2196" y="720"/>
                </a:cubicBezTo>
                <a:cubicBezTo>
                  <a:pt x="2196" y="720"/>
                  <a:pt x="2196" y="720"/>
                  <a:pt x="2295" y="720"/>
                </a:cubicBezTo>
                <a:cubicBezTo>
                  <a:pt x="2317" y="720"/>
                  <a:pt x="2327" y="702"/>
                  <a:pt x="2319" y="684"/>
                </a:cubicBezTo>
                <a:cubicBezTo>
                  <a:pt x="2319" y="684"/>
                  <a:pt x="2319" y="684"/>
                  <a:pt x="2068" y="28"/>
                </a:cubicBezTo>
                <a:close/>
              </a:path>
            </a:pathLst>
          </a:custGeom>
          <a:solidFill>
            <a:srgbClr val="0A2030"/>
          </a:solidFill>
          <a:ln>
            <a:noFill/>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
        <p:nvSpPr>
          <p:cNvPr id="24" name="Text Placeholder 48">
            <a:extLst>
              <a:ext uri="{FF2B5EF4-FFF2-40B4-BE49-F238E27FC236}">
                <a16:creationId xmlns:a16="http://schemas.microsoft.com/office/drawing/2014/main" id="{18A729C6-14B5-B446-85A9-8857D1088C51}"/>
              </a:ext>
            </a:extLst>
          </p:cNvPr>
          <p:cNvSpPr>
            <a:spLocks noGrp="1"/>
          </p:cNvSpPr>
          <p:nvPr>
            <p:ph type="body" sz="quarter" idx="14" hasCustomPrompt="1"/>
          </p:nvPr>
        </p:nvSpPr>
        <p:spPr bwMode="gray">
          <a:xfrm>
            <a:off x="479626" y="5515914"/>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0" name="TextBox 9">
            <a:extLst>
              <a:ext uri="{FF2B5EF4-FFF2-40B4-BE49-F238E27FC236}">
                <a16:creationId xmlns:a16="http://schemas.microsoft.com/office/drawing/2014/main" id="{9EE37F25-07F0-8945-9DD7-E2E3142A766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1" name="Text Placeholder 7">
            <a:extLst>
              <a:ext uri="{FF2B5EF4-FFF2-40B4-BE49-F238E27FC236}">
                <a16:creationId xmlns:a16="http://schemas.microsoft.com/office/drawing/2014/main" id="{D043D7F6-7F93-F7CF-3840-FFF07D47805E}"/>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2" name="Text Placeholder 5">
            <a:extLst>
              <a:ext uri="{FF2B5EF4-FFF2-40B4-BE49-F238E27FC236}">
                <a16:creationId xmlns:a16="http://schemas.microsoft.com/office/drawing/2014/main" id="{EBB518DE-F87D-8B31-49FA-525093326100}"/>
              </a:ext>
            </a:extLst>
          </p:cNvPr>
          <p:cNvSpPr>
            <a:spLocks noGrp="1"/>
          </p:cNvSpPr>
          <p:nvPr>
            <p:ph type="body" sz="quarter" idx="13" hasCustomPrompt="1"/>
          </p:nvPr>
        </p:nvSpPr>
        <p:spPr bwMode="gray">
          <a:xfrm>
            <a:off x="8829675" y="512165"/>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3" name="Title 2">
            <a:extLst>
              <a:ext uri="{FF2B5EF4-FFF2-40B4-BE49-F238E27FC236}">
                <a16:creationId xmlns:a16="http://schemas.microsoft.com/office/drawing/2014/main" id="{A39A9A2E-8B2C-BB64-C22A-DCFD27E3636A}"/>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sp>
        <p:nvSpPr>
          <p:cNvPr id="14" name="Freeform 5">
            <a:extLst>
              <a:ext uri="{FF2B5EF4-FFF2-40B4-BE49-F238E27FC236}">
                <a16:creationId xmlns:a16="http://schemas.microsoft.com/office/drawing/2014/main" id="{1CED0297-B528-27CB-0056-8F411D95C8CF}"/>
              </a:ext>
            </a:extLst>
          </p:cNvPr>
          <p:cNvSpPr>
            <a:spLocks noChangeAspect="1" noEditPoints="1"/>
          </p:cNvSpPr>
          <p:nvPr userDrawn="1"/>
        </p:nvSpPr>
        <p:spPr bwMode="black">
          <a:xfrm>
            <a:off x="482438" y="460180"/>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 Placeholder 7">
            <a:extLst>
              <a:ext uri="{FF2B5EF4-FFF2-40B4-BE49-F238E27FC236}">
                <a16:creationId xmlns:a16="http://schemas.microsoft.com/office/drawing/2014/main" id="{EA849893-F193-3E50-F947-0B333F93B606}"/>
              </a:ext>
            </a:extLst>
          </p:cNvPr>
          <p:cNvSpPr>
            <a:spLocks noGrp="1"/>
          </p:cNvSpPr>
          <p:nvPr>
            <p:ph type="body" sz="quarter" idx="12" hasCustomPrompt="1"/>
          </p:nvPr>
        </p:nvSpPr>
        <p:spPr bwMode="gray">
          <a:xfrm>
            <a:off x="3103563" y="512165"/>
            <a:ext cx="4783137"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545977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2.xml><?xml version="1.0" encoding="utf-8"?>
<p:sldLayout xmlns:a="http://schemas.openxmlformats.org/drawingml/2006/main" xmlns:r="http://schemas.openxmlformats.org/officeDocument/2006/relationships" xmlns:p="http://schemas.openxmlformats.org/presentationml/2006/main" showMasterSp="0" preserve="1" userDrawn="1">
  <p:cSld name="Agenda White">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40000"/>
                    <a:lumOff val="60000"/>
                  </a:schemeClr>
                </a:solidFill>
                <a:effectLst>
                  <a:innerShdw blurRad="38100" dist="25400" dir="8100000">
                    <a:prstClr val="black">
                      <a:alpha val="50000"/>
                    </a:prstClr>
                  </a:innerShdw>
                </a:effectLst>
              </a:rPr>
              <a:t>Agenda</a:t>
            </a:r>
          </a:p>
        </p:txBody>
      </p:sp>
      <p:sp>
        <p:nvSpPr>
          <p:cNvPr id="7" name="Content Placeholder 19">
            <a:extLst>
              <a:ext uri="{FF2B5EF4-FFF2-40B4-BE49-F238E27FC236}">
                <a16:creationId xmlns:a16="http://schemas.microsoft.com/office/drawing/2014/main" id="{F37243DA-FBBA-0A4F-9208-5109D5B48C3C}"/>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70E65990-6D95-1492-F960-A7AAF2C48D71}"/>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392069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3.xml><?xml version="1.0" encoding="utf-8"?>
<p:sldLayout xmlns:a="http://schemas.openxmlformats.org/drawingml/2006/main" xmlns:r="http://schemas.openxmlformats.org/officeDocument/2006/relationships" xmlns:p="http://schemas.openxmlformats.org/presentationml/2006/main" showMasterSp="0" preserve="1" userDrawn="1">
  <p:cSld name="Agenda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dirty="0">
                <a:solidFill>
                  <a:schemeClr val="accent6">
                    <a:lumMod val="60000"/>
                    <a:lumOff val="40000"/>
                  </a:schemeClr>
                </a:solidFill>
                <a:effectLst>
                  <a:innerShdw blurRad="38100" dist="25400" dir="8100000">
                    <a:prstClr val="black">
                      <a:alpha val="50000"/>
                    </a:prstClr>
                  </a:innerShdw>
                </a:effectLst>
              </a:rPr>
              <a:t>Agenda</a:t>
            </a:r>
          </a:p>
        </p:txBody>
      </p:sp>
      <p:sp>
        <p:nvSpPr>
          <p:cNvPr id="7" name="Content Placeholder 19">
            <a:extLst>
              <a:ext uri="{FF2B5EF4-FFF2-40B4-BE49-F238E27FC236}">
                <a16:creationId xmlns:a16="http://schemas.microsoft.com/office/drawing/2014/main" id="{F1A31244-B2C3-4240-B89D-E10155BFC2E1}"/>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6D790478-0EE6-604E-9546-008EA9A0058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094452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4.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accent1"/>
        </a:solidFill>
        <a:effectLst/>
      </p:bgPr>
    </p:bg>
    <p:spTree>
      <p:nvGrpSpPr>
        <p:cNvPr id="1" name=""/>
        <p:cNvGrpSpPr/>
        <p:nvPr/>
      </p:nvGrpSpPr>
      <p:grpSpPr>
        <a:xfrm>
          <a:off x="0" y="0"/>
          <a:ext cx="0" cy="0"/>
          <a:chOff x="0" y="0"/>
          <a:chExt cx="0" cy="0"/>
        </a:xfrm>
      </p:grpSpPr>
      <p:sp>
        <p:nvSpPr>
          <p:cNvPr id="8" name="Content Placeholder 19">
            <a:extLst>
              <a:ext uri="{FF2B5EF4-FFF2-40B4-BE49-F238E27FC236}">
                <a16:creationId xmlns:a16="http://schemas.microsoft.com/office/drawing/2014/main" id="{ED3EDB01-36D6-9E4B-9221-4033FB6D3806}"/>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5" name="TextBox 4">
            <a:extLst>
              <a:ext uri="{FF2B5EF4-FFF2-40B4-BE49-F238E27FC236}">
                <a16:creationId xmlns:a16="http://schemas.microsoft.com/office/drawing/2014/main" id="{29C0BAD8-16D5-E84A-B280-67E84109BBA2}"/>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dirty="0">
                <a:solidFill>
                  <a:srgbClr val="214ACD"/>
                </a:solidFill>
                <a:effectLst>
                  <a:innerShdw blurRad="38100" dist="25400" dir="8100000">
                    <a:prstClr val="black">
                      <a:alpha val="50000"/>
                    </a:prstClr>
                  </a:innerShdw>
                </a:effectLst>
              </a:rPr>
              <a:t>Agenda</a:t>
            </a:r>
          </a:p>
        </p:txBody>
      </p:sp>
      <p:sp>
        <p:nvSpPr>
          <p:cNvPr id="10" name="TextBox 9">
            <a:extLst>
              <a:ext uri="{FF2B5EF4-FFF2-40B4-BE49-F238E27FC236}">
                <a16:creationId xmlns:a16="http://schemas.microsoft.com/office/drawing/2014/main" id="{70776204-764E-2844-9DCD-91A3C29BB96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21670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5.xml><?xml version="1.0" encoding="utf-8"?>
<p:sldLayout xmlns:a="http://schemas.openxmlformats.org/drawingml/2006/main" xmlns:r="http://schemas.openxmlformats.org/officeDocument/2006/relationships" xmlns:p="http://schemas.openxmlformats.org/presentationml/2006/main" showMasterSp="0" preserve="1" userDrawn="1">
  <p:cSld name="Agenda Gun Metal">
    <p:bg>
      <p:bgPr>
        <a:solidFill>
          <a:schemeClr val="accent5"/>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36445C"/>
                </a:solidFill>
                <a:effectLst>
                  <a:innerShdw blurRad="38100" dist="25400" dir="8100000">
                    <a:prstClr val="black">
                      <a:alpha val="50000"/>
                    </a:prstClr>
                  </a:innerShdw>
                </a:effectLst>
              </a:rPr>
              <a:t>Agenda</a:t>
            </a:r>
          </a:p>
        </p:txBody>
      </p:sp>
      <p:sp>
        <p:nvSpPr>
          <p:cNvPr id="6" name="Content Placeholder 19">
            <a:extLst>
              <a:ext uri="{FF2B5EF4-FFF2-40B4-BE49-F238E27FC236}">
                <a16:creationId xmlns:a16="http://schemas.microsoft.com/office/drawing/2014/main" id="{E8E71E0A-85CF-2F4F-AD72-0AE19BB5CA8C}"/>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11" name="TextBox 10">
            <a:extLst>
              <a:ext uri="{FF2B5EF4-FFF2-40B4-BE49-F238E27FC236}">
                <a16:creationId xmlns:a16="http://schemas.microsoft.com/office/drawing/2014/main" id="{07BEC940-B4ED-DC49-9299-BDA70EB23F9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350590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6.xml><?xml version="1.0" encoding="utf-8"?>
<p:sldLayout xmlns:a="http://schemas.openxmlformats.org/drawingml/2006/main" xmlns:r="http://schemas.openxmlformats.org/officeDocument/2006/relationships" xmlns:p="http://schemas.openxmlformats.org/presentationml/2006/main" showMasterSp="0" preserve="1" userDrawn="1">
  <p:cSld name="Agenda Midnight">
    <p:bg>
      <p:bgPr>
        <a:solidFill>
          <a:schemeClr val="tx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dirty="0">
                <a:solidFill>
                  <a:schemeClr val="accent6">
                    <a:lumMod val="50000"/>
                  </a:schemeClr>
                </a:solidFill>
                <a:effectLst>
                  <a:innerShdw blurRad="38100" dist="25400" dir="8100000">
                    <a:prstClr val="black">
                      <a:alpha val="50000"/>
                    </a:prstClr>
                  </a:innerShdw>
                </a:effectLst>
              </a:rPr>
              <a:t>Agenda</a:t>
            </a:r>
          </a:p>
        </p:txBody>
      </p:sp>
      <p:sp>
        <p:nvSpPr>
          <p:cNvPr id="8" name="Content Placeholder 19">
            <a:extLst>
              <a:ext uri="{FF2B5EF4-FFF2-40B4-BE49-F238E27FC236}">
                <a16:creationId xmlns:a16="http://schemas.microsoft.com/office/drawing/2014/main" id="{10968AA9-77DE-9242-845F-5A78D07B68BE}"/>
              </a:ext>
            </a:extLst>
          </p:cNvPr>
          <p:cNvSpPr>
            <a:spLocks noGrp="1"/>
          </p:cNvSpPr>
          <p:nvPr>
            <p:ph sz="quarter" idx="10"/>
          </p:nvPr>
        </p:nvSpPr>
        <p:spPr>
          <a:xfrm>
            <a:off x="777874" y="957452"/>
            <a:ext cx="9253538" cy="5319779"/>
          </a:xfrm>
          <a:prstGeom prst="rect">
            <a:avLst/>
          </a:prstGeom>
        </p:spPr>
        <p:txBody>
          <a:bodyPr>
            <a:normAutofit/>
          </a:bodyPr>
          <a:lstStyle>
            <a:lvl1pPr marL="914400" indent="-914400">
              <a:lnSpc>
                <a:spcPct val="90000"/>
              </a:lnSpc>
              <a:spcBef>
                <a:spcPts val="0"/>
              </a:spcBef>
              <a:spcAft>
                <a:spcPts val="900"/>
              </a:spcAft>
              <a:buClr>
                <a:schemeClr val="bg1"/>
              </a:buClr>
              <a:buFont typeface="+mj-lt"/>
              <a:buAutoNum type="arabicPeriod"/>
              <a:defRPr sz="5400">
                <a:solidFill>
                  <a:schemeClr val="bg1"/>
                </a:solidFill>
              </a:defRPr>
            </a:lvl1pPr>
            <a:lvl2pPr marL="0" indent="0">
              <a:lnSpc>
                <a:spcPct val="107000"/>
              </a:lnSpc>
              <a:spcBef>
                <a:spcPts val="0"/>
              </a:spcBef>
              <a:spcAft>
                <a:spcPts val="1800"/>
              </a:spcAft>
              <a:buClr>
                <a:schemeClr val="bg1"/>
              </a:buClr>
              <a:buFont typeface="+mj-lt"/>
              <a:buNone/>
              <a:defRPr sz="5400">
                <a:solidFill>
                  <a:schemeClr val="bg1"/>
                </a:solidFill>
              </a:defRPr>
            </a:lvl2pPr>
            <a:lvl3pPr marL="342900" indent="-342900">
              <a:lnSpc>
                <a:spcPct val="107000"/>
              </a:lnSpc>
              <a:spcBef>
                <a:spcPts val="0"/>
              </a:spcBef>
              <a:spcAft>
                <a:spcPts val="1800"/>
              </a:spcAft>
              <a:buClr>
                <a:schemeClr val="bg1"/>
              </a:buClr>
              <a:buFont typeface="+mj-lt"/>
              <a:buAutoNum type="arabicPeriod"/>
              <a:defRPr sz="5400">
                <a:solidFill>
                  <a:schemeClr val="bg1"/>
                </a:solidFill>
              </a:defRPr>
            </a:lvl3pPr>
            <a:lvl4pPr marL="342900" indent="-342900">
              <a:lnSpc>
                <a:spcPct val="107000"/>
              </a:lnSpc>
              <a:spcBef>
                <a:spcPts val="0"/>
              </a:spcBef>
              <a:spcAft>
                <a:spcPts val="1800"/>
              </a:spcAft>
              <a:buClr>
                <a:schemeClr val="bg1"/>
              </a:buClr>
              <a:buFont typeface="+mj-lt"/>
              <a:buAutoNum type="arabicPeriod"/>
              <a:defRPr sz="5400">
                <a:solidFill>
                  <a:schemeClr val="bg1"/>
                </a:solidFill>
              </a:defRPr>
            </a:lvl4pPr>
            <a:lvl5pPr marL="342900" indent="-342900">
              <a:lnSpc>
                <a:spcPct val="107000"/>
              </a:lnSpc>
              <a:spcBef>
                <a:spcPts val="0"/>
              </a:spcBef>
              <a:spcAft>
                <a:spcPts val="1800"/>
              </a:spcAft>
              <a:buClr>
                <a:schemeClr val="bg1"/>
              </a:buClr>
              <a:buFont typeface="+mj-lt"/>
              <a:buAutoNum type="arabicPeriod"/>
              <a:defRPr sz="54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208D36FA-EC4D-7D4A-B095-AC92E8A9595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972465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Agenda 2 White">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B4C11CA4-B58A-1E45-86AF-685220A2EC36}"/>
              </a:ext>
            </a:extLst>
          </p:cNvPr>
          <p:cNvSpPr>
            <a:spLocks noGrp="1"/>
          </p:cNvSpPr>
          <p:nvPr>
            <p:ph sz="quarter" idx="10"/>
          </p:nvPr>
        </p:nvSpPr>
        <p:spPr>
          <a:xfrm>
            <a:off x="1833336" y="1015156"/>
            <a:ext cx="9148989" cy="5339923"/>
          </a:xfrm>
          <a:prstGeom prst="rect">
            <a:avLst/>
          </a:prstGeom>
        </p:spPr>
        <p:txBody>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30577A47-956C-6A4F-8971-CCC759B90BEE}"/>
              </a:ext>
            </a:extLst>
          </p:cNvPr>
          <p:cNvSpPr>
            <a:spLocks noGrp="1"/>
          </p:cNvSpPr>
          <p:nvPr>
            <p:ph type="title"/>
          </p:nvPr>
        </p:nvSpPr>
        <p:spPr>
          <a:xfrm rot="5400000">
            <a:off x="-2472981" y="3007719"/>
            <a:ext cx="5682803" cy="361959"/>
          </a:xfrm>
        </p:spPr>
        <p:txBody>
          <a:bodyPr wrap="square">
            <a:spAutoFit/>
          </a:bodyPr>
          <a:lstStyle>
            <a:lvl1pPr>
              <a:defRPr sz="28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694359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Agenda 2 Nicke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27186819-050A-EE44-975A-A57DA0316FA1}"/>
              </a:ext>
            </a:extLst>
          </p:cNvPr>
          <p:cNvSpPr>
            <a:spLocks noGrp="1"/>
          </p:cNvSpPr>
          <p:nvPr>
            <p:ph sz="quarter" idx="10"/>
          </p:nvPr>
        </p:nvSpPr>
        <p:spPr>
          <a:xfrm>
            <a:off x="1833336" y="1015156"/>
            <a:ext cx="9148989" cy="5339923"/>
          </a:xfrm>
          <a:prstGeom prst="rect">
            <a:avLst/>
          </a:prstGeom>
        </p:spPr>
        <p:txBody>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B55197C6-4440-C140-838A-1363DBC789FF}"/>
              </a:ext>
            </a:extLst>
          </p:cNvPr>
          <p:cNvSpPr>
            <a:spLocks noGrp="1"/>
          </p:cNvSpPr>
          <p:nvPr>
            <p:ph type="title"/>
          </p:nvPr>
        </p:nvSpPr>
        <p:spPr>
          <a:xfrm rot="5400000">
            <a:off x="-2472981" y="3007719"/>
            <a:ext cx="5682803" cy="361959"/>
          </a:xfrm>
        </p:spPr>
        <p:txBody>
          <a:bodyPr wrap="square">
            <a:spAutoFit/>
          </a:bodyPr>
          <a:lstStyle>
            <a:lvl1pPr>
              <a:defRPr sz="28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1109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Agenda 2 Blue">
    <p:bg>
      <p:bgPr>
        <a:solidFill>
          <a:srgbClr val="FFFFFF"/>
        </a:solidFill>
        <a:effectLst/>
      </p:bgPr>
    </p:bg>
    <p:spTree>
      <p:nvGrpSpPr>
        <p:cNvPr id="1" name=""/>
        <p:cNvGrpSpPr/>
        <p:nvPr/>
      </p:nvGrpSpPr>
      <p:grpSpPr>
        <a:xfrm>
          <a:off x="0" y="0"/>
          <a:ext cx="0" cy="0"/>
          <a:chOff x="0" y="0"/>
          <a:chExt cx="0" cy="0"/>
        </a:xfrm>
      </p:grpSpPr>
      <p:sp>
        <p:nvSpPr>
          <p:cNvPr id="24" name="Rectangle: Single Corner Rounded 55">
            <a:extLst>
              <a:ext uri="{FF2B5EF4-FFF2-40B4-BE49-F238E27FC236}">
                <a16:creationId xmlns:a16="http://schemas.microsoft.com/office/drawing/2014/main" id="{25675409-AF12-424E-B380-278C5FE944D5}"/>
              </a:ext>
            </a:extLst>
          </p:cNvPr>
          <p:cNvSpPr/>
          <p:nvPr userDrawn="1"/>
        </p:nvSpPr>
        <p:spPr bwMode="gray">
          <a:xfrm>
            <a:off x="-114299" y="-127002"/>
            <a:ext cx="973370" cy="6482082"/>
          </a:xfrm>
          <a:prstGeom prst="roundRect">
            <a:avLst>
              <a:gd name="adj" fmla="val 8455"/>
            </a:avLst>
          </a:prstGeom>
          <a:solidFill>
            <a:schemeClr val="accent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26054762-9254-0D4E-BCD4-AE565B915464}"/>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5E506679-F503-F54E-8232-EF7575E80F83}"/>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227926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68544918-59EA-42FF-BD90-3E9394ACFC21}"/>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60000"/>
                  <a:lumOff val="40000"/>
                </a:schemeClr>
              </a:solidFill>
              <a:latin typeface="+mn-lt"/>
              <a:ea typeface="+mn-ea"/>
              <a:cs typeface="+mn-cs"/>
            </a:endParaRP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946651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Agenda 2 Light Blue">
    <p:bg>
      <p:bgPr>
        <a:solidFill>
          <a:srgbClr val="FFFFFF"/>
        </a:solidFill>
        <a:effectLst/>
      </p:bgPr>
    </p:bg>
    <p:spTree>
      <p:nvGrpSpPr>
        <p:cNvPr id="1" name=""/>
        <p:cNvGrpSpPr/>
        <p:nvPr/>
      </p:nvGrpSpPr>
      <p:grpSpPr>
        <a:xfrm>
          <a:off x="0" y="0"/>
          <a:ext cx="0" cy="0"/>
          <a:chOff x="0" y="0"/>
          <a:chExt cx="0" cy="0"/>
        </a:xfrm>
      </p:grpSpPr>
      <p:sp>
        <p:nvSpPr>
          <p:cNvPr id="5" name="Content Placeholder 18">
            <a:extLst>
              <a:ext uri="{FF2B5EF4-FFF2-40B4-BE49-F238E27FC236}">
                <a16:creationId xmlns:a16="http://schemas.microsoft.com/office/drawing/2014/main" id="{1FA56E7C-9A24-EF4A-8429-C017F6CEC55A}"/>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10" name="Rectangle: Single Corner Rounded 55">
            <a:extLst>
              <a:ext uri="{FF2B5EF4-FFF2-40B4-BE49-F238E27FC236}">
                <a16:creationId xmlns:a16="http://schemas.microsoft.com/office/drawing/2014/main" id="{25752157-1EA1-4DF8-91CB-5D026545D080}"/>
              </a:ext>
            </a:extLst>
          </p:cNvPr>
          <p:cNvSpPr/>
          <p:nvPr userDrawn="1"/>
        </p:nvSpPr>
        <p:spPr bwMode="gray">
          <a:xfrm>
            <a:off x="-114299" y="-127002"/>
            <a:ext cx="973370" cy="6482082"/>
          </a:xfrm>
          <a:prstGeom prst="roundRect">
            <a:avLst>
              <a:gd name="adj" fmla="val 8455"/>
            </a:avLst>
          </a:prstGeom>
          <a:solidFill>
            <a:schemeClr val="accent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6" name="Title 2">
            <a:extLst>
              <a:ext uri="{FF2B5EF4-FFF2-40B4-BE49-F238E27FC236}">
                <a16:creationId xmlns:a16="http://schemas.microsoft.com/office/drawing/2014/main" id="{E6A99A0D-7419-3B40-AD42-8DB8315648F3}"/>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26558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Agenda 2 Tea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28EAFDF8-F6CD-4BA2-A44B-DABABBBF97B2}"/>
              </a:ext>
            </a:extLst>
          </p:cNvPr>
          <p:cNvSpPr/>
          <p:nvPr userDrawn="1"/>
        </p:nvSpPr>
        <p:spPr bwMode="gray">
          <a:xfrm>
            <a:off x="-114299" y="-127002"/>
            <a:ext cx="973370" cy="6482082"/>
          </a:xfrm>
          <a:prstGeom prst="roundRect">
            <a:avLst>
              <a:gd name="adj" fmla="val 8455"/>
            </a:avLst>
          </a:prstGeom>
          <a:solidFill>
            <a:schemeClr val="accent3"/>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623156BE-0D93-9947-9E1E-B9F92F0B4E09}"/>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4814C958-3B5D-F445-81E0-FF1F179CDCCA}"/>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808096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Agenda 2 Gun Metal">
    <p:bg>
      <p:bgPr>
        <a:solidFill>
          <a:srgbClr val="FFFFFF"/>
        </a:solidFill>
        <a:effectLst/>
      </p:bgPr>
    </p:bg>
    <p:spTree>
      <p:nvGrpSpPr>
        <p:cNvPr id="1" name=""/>
        <p:cNvGrpSpPr/>
        <p:nvPr/>
      </p:nvGrpSpPr>
      <p:grpSpPr>
        <a:xfrm>
          <a:off x="0" y="0"/>
          <a:ext cx="0" cy="0"/>
          <a:chOff x="0" y="0"/>
          <a:chExt cx="0" cy="0"/>
        </a:xfrm>
      </p:grpSpPr>
      <p:sp>
        <p:nvSpPr>
          <p:cNvPr id="10" name="Rectangle: Single Corner Rounded 55">
            <a:extLst>
              <a:ext uri="{FF2B5EF4-FFF2-40B4-BE49-F238E27FC236}">
                <a16:creationId xmlns:a16="http://schemas.microsoft.com/office/drawing/2014/main" id="{F8479696-5776-4351-9904-F9783F17DE92}"/>
              </a:ext>
            </a:extLst>
          </p:cNvPr>
          <p:cNvSpPr/>
          <p:nvPr userDrawn="1"/>
        </p:nvSpPr>
        <p:spPr bwMode="gray">
          <a:xfrm>
            <a:off x="-114299" y="-127002"/>
            <a:ext cx="973370" cy="6482082"/>
          </a:xfrm>
          <a:prstGeom prst="roundRect">
            <a:avLst>
              <a:gd name="adj" fmla="val 8455"/>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C6FF2B29-32B4-CA46-824A-9E235BAE4F9C}"/>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3D7C252D-39AD-7C4C-84C6-B1FD9DC44345}"/>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829367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Agenda 2 Midnight">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7429ABC3-9EBB-47B5-BFD6-442F69DFAB3A}"/>
              </a:ext>
            </a:extLst>
          </p:cNvPr>
          <p:cNvSpPr/>
          <p:nvPr userDrawn="1"/>
        </p:nvSpPr>
        <p:spPr bwMode="gray">
          <a:xfrm>
            <a:off x="-114299" y="-127002"/>
            <a:ext cx="973370" cy="6482082"/>
          </a:xfrm>
          <a:prstGeom prst="roundRect">
            <a:avLst>
              <a:gd name="adj" fmla="val 8455"/>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5" name="Content Placeholder 18">
            <a:extLst>
              <a:ext uri="{FF2B5EF4-FFF2-40B4-BE49-F238E27FC236}">
                <a16:creationId xmlns:a16="http://schemas.microsoft.com/office/drawing/2014/main" id="{D002839B-4A97-1047-9C69-AEB96FCC0BCF}"/>
              </a:ext>
            </a:extLst>
          </p:cNvPr>
          <p:cNvSpPr>
            <a:spLocks noGrp="1"/>
          </p:cNvSpPr>
          <p:nvPr>
            <p:ph sz="quarter" idx="10"/>
          </p:nvPr>
        </p:nvSpPr>
        <p:spPr>
          <a:xfrm>
            <a:off x="1833336" y="1015156"/>
            <a:ext cx="9148989" cy="5339923"/>
          </a:xfrm>
          <a:prstGeom prst="rect">
            <a:avLst/>
          </a:prstGeom>
        </p:spPr>
        <p:txBody>
          <a:bodyPr>
            <a:normAutofit/>
          </a:bodyPr>
          <a:lstStyle>
            <a:lvl1pPr marL="914400" indent="-914400">
              <a:lnSpc>
                <a:spcPct val="90000"/>
              </a:lnSpc>
              <a:spcBef>
                <a:spcPts val="0"/>
              </a:spcBef>
              <a:spcAft>
                <a:spcPts val="900"/>
              </a:spcAft>
              <a:buClr>
                <a:schemeClr val="tx2"/>
              </a:buClr>
              <a:buFont typeface="+mj-lt"/>
              <a:buAutoNum type="arabicPeriod"/>
              <a:defRPr sz="5400">
                <a:solidFill>
                  <a:schemeClr val="tx2"/>
                </a:solidFill>
              </a:defRPr>
            </a:lvl1pPr>
            <a:lvl2pPr marL="914400" indent="-914400">
              <a:lnSpc>
                <a:spcPct val="107000"/>
              </a:lnSpc>
              <a:spcBef>
                <a:spcPts val="0"/>
              </a:spcBef>
              <a:spcAft>
                <a:spcPts val="1800"/>
              </a:spcAft>
              <a:buClr>
                <a:schemeClr val="tx2"/>
              </a:buClr>
              <a:buFont typeface="+mj-lt"/>
              <a:buAutoNum type="arabicPeriod"/>
              <a:defRPr sz="5400">
                <a:solidFill>
                  <a:schemeClr val="tx1"/>
                </a:solidFill>
              </a:defRPr>
            </a:lvl2pPr>
            <a:lvl3pPr marL="914400" indent="-914400">
              <a:lnSpc>
                <a:spcPct val="107000"/>
              </a:lnSpc>
              <a:spcBef>
                <a:spcPts val="0"/>
              </a:spcBef>
              <a:spcAft>
                <a:spcPts val="1800"/>
              </a:spcAft>
              <a:buClr>
                <a:schemeClr val="tx2"/>
              </a:buClr>
              <a:buFont typeface="+mj-lt"/>
              <a:buAutoNum type="arabicPeriod"/>
              <a:defRPr sz="5400">
                <a:solidFill>
                  <a:schemeClr val="tx1"/>
                </a:solidFill>
              </a:defRPr>
            </a:lvl3pPr>
            <a:lvl4pPr marL="914400" indent="-914400">
              <a:lnSpc>
                <a:spcPct val="107000"/>
              </a:lnSpc>
              <a:spcBef>
                <a:spcPts val="0"/>
              </a:spcBef>
              <a:spcAft>
                <a:spcPts val="1800"/>
              </a:spcAft>
              <a:buClr>
                <a:schemeClr val="tx2"/>
              </a:buClr>
              <a:buFont typeface="+mj-lt"/>
              <a:buAutoNum type="arabicPeriod"/>
              <a:defRPr sz="5400">
                <a:solidFill>
                  <a:schemeClr val="tx1"/>
                </a:solidFill>
              </a:defRPr>
            </a:lvl4pPr>
            <a:lvl5pPr marL="914400" indent="-914400">
              <a:lnSpc>
                <a:spcPct val="107000"/>
              </a:lnSpc>
              <a:spcBef>
                <a:spcPts val="0"/>
              </a:spcBef>
              <a:spcAft>
                <a:spcPts val="1800"/>
              </a:spcAft>
              <a:buClr>
                <a:schemeClr val="tx2"/>
              </a:buClr>
              <a:buFont typeface="+mj-lt"/>
              <a:buAutoNum type="arabicPeriod"/>
              <a:defRPr sz="5400">
                <a:solidFill>
                  <a:schemeClr val="tx1"/>
                </a:solidFill>
              </a:defRPr>
            </a:lvl5pPr>
          </a:lstStyle>
          <a:p>
            <a:pPr lvl="0"/>
            <a:r>
              <a:rPr lang="en-US"/>
              <a:t>Click to edit Master text styles</a:t>
            </a:r>
          </a:p>
        </p:txBody>
      </p:sp>
      <p:sp>
        <p:nvSpPr>
          <p:cNvPr id="6" name="Title 2">
            <a:extLst>
              <a:ext uri="{FF2B5EF4-FFF2-40B4-BE49-F238E27FC236}">
                <a16:creationId xmlns:a16="http://schemas.microsoft.com/office/drawing/2014/main" id="{9B68F083-E4D3-5C4B-B811-917B2E5D18D5}"/>
              </a:ext>
            </a:extLst>
          </p:cNvPr>
          <p:cNvSpPr>
            <a:spLocks noGrp="1"/>
          </p:cNvSpPr>
          <p:nvPr>
            <p:ph type="title"/>
          </p:nvPr>
        </p:nvSpPr>
        <p:spPr>
          <a:xfrm rot="5400000">
            <a:off x="-2472981" y="3007719"/>
            <a:ext cx="5682803" cy="361959"/>
          </a:xfrm>
        </p:spPr>
        <p:txBody>
          <a:bodyPr wrap="square">
            <a:spAutoFit/>
          </a:bodyPr>
          <a:lstStyle>
            <a:lvl1pPr>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10833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3A03272E-A5C6-CB49-BA8B-767EA157F8AE}"/>
              </a:ext>
            </a:extLst>
          </p:cNvPr>
          <p:cNvSpPr>
            <a:spLocks noGrp="1"/>
          </p:cNvSpPr>
          <p:nvPr>
            <p:ph type="ftr" sz="quarter" idx="3"/>
          </p:nvPr>
        </p:nvSpPr>
        <p:spPr>
          <a:xfrm>
            <a:off x="495299" y="6528816"/>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endParaRPr lang="en-US" dirty="0"/>
          </a:p>
        </p:txBody>
      </p:sp>
    </p:spTree>
    <p:extLst>
      <p:ext uri="{BB962C8B-B14F-4D97-AF65-F5344CB8AC3E}">
        <p14:creationId xmlns:p14="http://schemas.microsoft.com/office/powerpoint/2010/main" val="674286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7" name="Footer Placeholder 2">
            <a:extLst>
              <a:ext uri="{FF2B5EF4-FFF2-40B4-BE49-F238E27FC236}">
                <a16:creationId xmlns:a16="http://schemas.microsoft.com/office/drawing/2014/main" id="{F6C18923-35DB-3B4A-861B-A5445F6BE6DD}"/>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endParaRPr lang="en-US" dirty="0"/>
          </a:p>
        </p:txBody>
      </p:sp>
    </p:spTree>
    <p:extLst>
      <p:ext uri="{BB962C8B-B14F-4D97-AF65-F5344CB8AC3E}">
        <p14:creationId xmlns:p14="http://schemas.microsoft.com/office/powerpoint/2010/main" val="3667648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endParaRPr lang="en-US" dirty="0"/>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2">
            <a:extLst>
              <a:ext uri="{FF2B5EF4-FFF2-40B4-BE49-F238E27FC236}">
                <a16:creationId xmlns:a16="http://schemas.microsoft.com/office/drawing/2014/main" id="{B4AC2C1E-BA0E-DC40-8740-4C7EC419416D}"/>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endParaRPr lang="en-US" dirty="0"/>
          </a:p>
        </p:txBody>
      </p:sp>
    </p:spTree>
    <p:extLst>
      <p:ext uri="{BB962C8B-B14F-4D97-AF65-F5344CB8AC3E}">
        <p14:creationId xmlns:p14="http://schemas.microsoft.com/office/powerpoint/2010/main" val="2381281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Title and (Subtitle with Bullets)">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C4B80B4-5715-4F96-83DC-B3F7CF22C554}"/>
              </a:ext>
            </a:extLst>
          </p:cNvPr>
          <p:cNvSpPr>
            <a:spLocks noGrp="1"/>
          </p:cNvSpPr>
          <p:nvPr>
            <p:ph type="body" sz="quarter" idx="17"/>
          </p:nvPr>
        </p:nvSpPr>
        <p:spPr>
          <a:xfrm>
            <a:off x="494189" y="1088135"/>
            <a:ext cx="11187112" cy="236347"/>
          </a:xfrm>
        </p:spPr>
        <p:txBody>
          <a:bodyPr/>
          <a:lstStyle>
            <a:lvl1pPr>
              <a:defRPr sz="1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7" name="Footer Placeholder 2">
            <a:extLst>
              <a:ext uri="{FF2B5EF4-FFF2-40B4-BE49-F238E27FC236}">
                <a16:creationId xmlns:a16="http://schemas.microsoft.com/office/drawing/2014/main" id="{F6C18923-35DB-3B4A-861B-A5445F6BE6DD}"/>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endParaRPr lang="en-US" dirty="0"/>
          </a:p>
        </p:txBody>
      </p:sp>
    </p:spTree>
    <p:extLst>
      <p:ext uri="{BB962C8B-B14F-4D97-AF65-F5344CB8AC3E}">
        <p14:creationId xmlns:p14="http://schemas.microsoft.com/office/powerpoint/2010/main" val="1777778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Title and Takeaway Righ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endParaRPr lang="en-US" dirty="0"/>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300" y="642645"/>
            <a:ext cx="7391400" cy="361959"/>
          </a:xfrm>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90" y="1088135"/>
            <a:ext cx="7392134" cy="236347"/>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2">
            <a:extLst>
              <a:ext uri="{FF2B5EF4-FFF2-40B4-BE49-F238E27FC236}">
                <a16:creationId xmlns:a16="http://schemas.microsoft.com/office/drawing/2014/main" id="{BAF42B5A-06ED-4E95-BBB8-F57FEE1F84E5}"/>
              </a:ext>
            </a:extLst>
          </p:cNvPr>
          <p:cNvSpPr>
            <a:spLocks noGrp="1"/>
          </p:cNvSpPr>
          <p:nvPr>
            <p:ph type="body" sz="quarter" idx="17"/>
          </p:nvPr>
        </p:nvSpPr>
        <p:spPr>
          <a:xfrm>
            <a:off x="8829674" y="2058988"/>
            <a:ext cx="2867026" cy="41116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437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Title Left S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endParaRPr lang="en-US" dirty="0"/>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299" y="2906377"/>
            <a:ext cx="2608263" cy="952155"/>
          </a:xfrm>
        </p:spPr>
        <p:txBody>
          <a:bodyPr/>
          <a:lstStyle/>
          <a:p>
            <a:r>
              <a:rPr lang="en-US"/>
              <a:t>Click to edit Master title style</a:t>
            </a:r>
          </a:p>
        </p:txBody>
      </p:sp>
      <p:sp>
        <p:nvSpPr>
          <p:cNvPr id="6" name="Subtitle">
            <a:extLst>
              <a:ext uri="{FF2B5EF4-FFF2-40B4-BE49-F238E27FC236}">
                <a16:creationId xmlns:a16="http://schemas.microsoft.com/office/drawing/2014/main" id="{2A9BCAA3-70F7-4208-9247-D197A13FECB8}"/>
              </a:ext>
            </a:extLst>
          </p:cNvPr>
          <p:cNvSpPr>
            <a:spLocks noGrp="1"/>
          </p:cNvSpPr>
          <p:nvPr>
            <p:ph type="subTitle" idx="1"/>
          </p:nvPr>
        </p:nvSpPr>
        <p:spPr>
          <a:xfrm>
            <a:off x="494189" y="3942416"/>
            <a:ext cx="2608263" cy="472694"/>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27966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379BCE9F-B7E9-445D-B396-3D6F276DBE2C}"/>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r>
              <a:rPr lang="en-US"/>
              <a:t>Media Web Symposium 2023</a:t>
            </a:r>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82F2D51B-5576-4517-9671-7D622E841C9C}"/>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11" name="TextBox 10">
            <a:extLst>
              <a:ext uri="{FF2B5EF4-FFF2-40B4-BE49-F238E27FC236}">
                <a16:creationId xmlns:a16="http://schemas.microsoft.com/office/drawing/2014/main" id="{0778670D-4F69-4C4D-B117-2B7F0B321896}"/>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D59F355A-448C-46FB-AD5A-C2715FB65F1F}"/>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1233043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Footer Placeholder 2">
            <a:extLst>
              <a:ext uri="{FF2B5EF4-FFF2-40B4-BE49-F238E27FC236}">
                <a16:creationId xmlns:a16="http://schemas.microsoft.com/office/drawing/2014/main" id="{F36D16B0-3ADE-DD47-83CE-1305D23E9A61}"/>
              </a:ext>
            </a:extLst>
          </p:cNvPr>
          <p:cNvSpPr>
            <a:spLocks noGrp="1"/>
          </p:cNvSpPr>
          <p:nvPr>
            <p:ph type="ftr" sz="quarter" idx="10"/>
          </p:nvPr>
        </p:nvSpPr>
        <p:spPr>
          <a:xfrm>
            <a:off x="495299" y="6532895"/>
            <a:ext cx="5943600" cy="118174"/>
          </a:xfrm>
        </p:spPr>
        <p:txBody>
          <a:bodyPr/>
          <a:lstStyle>
            <a:lvl1pPr>
              <a:defRPr>
                <a:solidFill>
                  <a:schemeClr val="accent5">
                    <a:lumMod val="60000"/>
                    <a:lumOff val="40000"/>
                  </a:schemeClr>
                </a:solidFill>
              </a:defRPr>
            </a:lvl1pPr>
          </a:lstStyle>
          <a:p>
            <a:r>
              <a:rPr lang="en-US"/>
              <a:t>Media Web Symposium 2023</a:t>
            </a:r>
            <a:endParaRPr lang="en-US" dirty="0"/>
          </a:p>
        </p:txBody>
      </p:sp>
      <p:sp>
        <p:nvSpPr>
          <p:cNvPr id="7" name="Title 1">
            <a:extLst>
              <a:ext uri="{FF2B5EF4-FFF2-40B4-BE49-F238E27FC236}">
                <a16:creationId xmlns:a16="http://schemas.microsoft.com/office/drawing/2014/main" id="{F56B218C-0241-074D-BD90-27E552E71C98}"/>
              </a:ext>
            </a:extLst>
          </p:cNvPr>
          <p:cNvSpPr>
            <a:spLocks noGrp="1"/>
          </p:cNvSpPr>
          <p:nvPr>
            <p:ph type="title"/>
          </p:nvPr>
        </p:nvSpPr>
        <p:spPr>
          <a:xfrm>
            <a:off x="495300" y="646771"/>
            <a:ext cx="11187112" cy="357832"/>
          </a:xfrm>
        </p:spPr>
        <p:txBody>
          <a:bodyPr/>
          <a:lstStyle/>
          <a:p>
            <a:r>
              <a:rPr lang="en-US"/>
              <a:t>Click to edit Master title style</a:t>
            </a:r>
            <a:endParaRPr lang="en-US" dirty="0"/>
          </a:p>
        </p:txBody>
      </p:sp>
      <p:sp>
        <p:nvSpPr>
          <p:cNvPr id="8" name="Content Placeholder 4">
            <a:extLst>
              <a:ext uri="{FF2B5EF4-FFF2-40B4-BE49-F238E27FC236}">
                <a16:creationId xmlns:a16="http://schemas.microsoft.com/office/drawing/2014/main" id="{DB853B50-E269-DF43-AAE9-523798C62499}"/>
              </a:ext>
            </a:extLst>
          </p:cNvPr>
          <p:cNvSpPr>
            <a:spLocks noGrp="1"/>
          </p:cNvSpPr>
          <p:nvPr>
            <p:ph sz="quarter" idx="14"/>
          </p:nvPr>
        </p:nvSpPr>
        <p:spPr>
          <a:xfrm>
            <a:off x="495300" y="1719072"/>
            <a:ext cx="11187112"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a:extLst>
              <a:ext uri="{FF2B5EF4-FFF2-40B4-BE49-F238E27FC236}">
                <a16:creationId xmlns:a16="http://schemas.microsoft.com/office/drawing/2014/main" id="{4A2A4FE0-4282-C34E-A8FD-CAE319C06BC6}"/>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574906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endParaRPr lang="en-US" dirty="0"/>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62533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endParaRPr lang="en-US" dirty="0"/>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43593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Shelf Whit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bg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endParaRPr lang="en-US" dirty="0"/>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B2BADF63-7A2A-4A3A-A253-424687008F60}"/>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9" name="TextBox 8">
            <a:extLst>
              <a:ext uri="{FF2B5EF4-FFF2-40B4-BE49-F238E27FC236}">
                <a16:creationId xmlns:a16="http://schemas.microsoft.com/office/drawing/2014/main" id="{998A71DB-976E-A24A-96E2-B18CF91A65FC}"/>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862144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Shelf Nicke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F4E31C43-957F-9C4E-983A-F81442F5925F}"/>
              </a:ext>
            </a:extLst>
          </p:cNvPr>
          <p:cNvSpPr/>
          <p:nvPr userDrawn="1"/>
        </p:nvSpPr>
        <p:spPr bwMode="gray">
          <a:xfrm>
            <a:off x="481013" y="5312740"/>
            <a:ext cx="11856130" cy="1697660"/>
          </a:xfrm>
          <a:prstGeom prst="roundRect">
            <a:avLst>
              <a:gd name="adj" fmla="val 4848"/>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endParaRPr lang="en-US" dirty="0"/>
          </a:p>
        </p:txBody>
      </p:sp>
      <p:sp>
        <p:nvSpPr>
          <p:cNvPr id="3" name="Title 2">
            <a:extLst>
              <a:ext uri="{FF2B5EF4-FFF2-40B4-BE49-F238E27FC236}">
                <a16:creationId xmlns:a16="http://schemas.microsoft.com/office/drawing/2014/main" id="{400F72C1-5B61-488A-BE0B-3D326470394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7E596D39-9FB6-4C53-A7F5-7483E69CDED2}"/>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6A648C02-9470-473A-B31D-274A93FF1D9C}"/>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1" y="5607050"/>
            <a:ext cx="10926717" cy="929054"/>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6835771C-39C4-439F-9E17-EFD2B4011CB5}"/>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solidFill>
                <a:latin typeface="+mn-lt"/>
                <a:ea typeface="+mn-ea"/>
                <a:cs typeface="+mn-cs"/>
              </a:rPr>
              <a:pPr marL="0" lvl="0" algn="r" defTabSz="914400" rtl="0" eaLnBrk="1" latinLnBrk="0" hangingPunct="1">
                <a:lnSpc>
                  <a:spcPct val="125000"/>
                </a:lnSpc>
              </a:pPr>
              <a:t>‹#›</a:t>
            </a:fld>
            <a:endParaRPr lang="en-US" sz="800" kern="1200">
              <a:solidFill>
                <a:schemeClr val="accent5"/>
              </a:solidFill>
              <a:latin typeface="+mn-lt"/>
              <a:ea typeface="+mn-ea"/>
              <a:cs typeface="+mn-cs"/>
            </a:endParaRPr>
          </a:p>
        </p:txBody>
      </p:sp>
      <p:sp>
        <p:nvSpPr>
          <p:cNvPr id="10" name="TextBox 9">
            <a:extLst>
              <a:ext uri="{FF2B5EF4-FFF2-40B4-BE49-F238E27FC236}">
                <a16:creationId xmlns:a16="http://schemas.microsoft.com/office/drawing/2014/main" id="{80801655-BB5D-8D42-BF35-5552419A1844}"/>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49527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Shelf Blue">
    <p:spTree>
      <p:nvGrpSpPr>
        <p:cNvPr id="1" name=""/>
        <p:cNvGrpSpPr/>
        <p:nvPr/>
      </p:nvGrpSpPr>
      <p:grpSpPr>
        <a:xfrm>
          <a:off x="0" y="0"/>
          <a:ext cx="0" cy="0"/>
          <a:chOff x="0" y="0"/>
          <a:chExt cx="0" cy="0"/>
        </a:xfrm>
      </p:grpSpPr>
      <p:sp>
        <p:nvSpPr>
          <p:cNvPr id="56" name="Rectangle: Rounded Corners 55">
            <a:extLst>
              <a:ext uri="{FF2B5EF4-FFF2-40B4-BE49-F238E27FC236}">
                <a16:creationId xmlns:a16="http://schemas.microsoft.com/office/drawing/2014/main" id="{9C54434D-FA64-4658-9BFD-21AB34B4189F}"/>
              </a:ext>
            </a:extLst>
          </p:cNvPr>
          <p:cNvSpPr/>
          <p:nvPr userDrawn="1"/>
        </p:nvSpPr>
        <p:spPr bwMode="gray">
          <a:xfrm>
            <a:off x="481013" y="5312740"/>
            <a:ext cx="11856130" cy="1697660"/>
          </a:xfrm>
          <a:prstGeom prst="roundRect">
            <a:avLst>
              <a:gd name="adj" fmla="val 4848"/>
            </a:avLst>
          </a:prstGeom>
          <a:solidFill>
            <a:schemeClr val="accent1"/>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endParaRPr lang="en-US" dirty="0"/>
          </a:p>
        </p:txBody>
      </p:sp>
      <p:sp>
        <p:nvSpPr>
          <p:cNvPr id="3" name="Title 2">
            <a:extLst>
              <a:ext uri="{FF2B5EF4-FFF2-40B4-BE49-F238E27FC236}">
                <a16:creationId xmlns:a16="http://schemas.microsoft.com/office/drawing/2014/main" id="{6018C051-C8ED-490A-8420-0B33C7EBC95D}"/>
              </a:ext>
            </a:extLst>
          </p:cNvPr>
          <p:cNvSpPr>
            <a:spLocks noGrp="1"/>
          </p:cNvSpPr>
          <p:nvPr>
            <p:ph type="title"/>
          </p:nvPr>
        </p:nvSpPr>
        <p:spPr/>
        <p:txBody>
          <a:bodyPr/>
          <a:lstStyle/>
          <a:p>
            <a:r>
              <a:rPr lang="en-US"/>
              <a:t>Click to edit Master title style</a:t>
            </a:r>
          </a:p>
        </p:txBody>
      </p:sp>
      <p:sp>
        <p:nvSpPr>
          <p:cNvPr id="15" name="Content Placeholder 4">
            <a:extLst>
              <a:ext uri="{FF2B5EF4-FFF2-40B4-BE49-F238E27FC236}">
                <a16:creationId xmlns:a16="http://schemas.microsoft.com/office/drawing/2014/main" id="{79BAC33F-C2B1-4F90-8D6A-FE73B82B3A96}"/>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ubtitle">
            <a:extLst>
              <a:ext uri="{FF2B5EF4-FFF2-40B4-BE49-F238E27FC236}">
                <a16:creationId xmlns:a16="http://schemas.microsoft.com/office/drawing/2014/main" id="{367C7EAB-A60F-4055-BBCB-DA0E8A0A79F2}"/>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4743" y="5607050"/>
            <a:ext cx="10926715"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34032CCB-9D02-4DA9-9379-A73762F29F44}"/>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2675B83E-0BE5-D244-AA83-CABD189E8C6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9550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Shelf Light Blue">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A8FB935D-3E2E-374D-9237-10480721EB01}"/>
              </a:ext>
            </a:extLst>
          </p:cNvPr>
          <p:cNvSpPr/>
          <p:nvPr userDrawn="1"/>
        </p:nvSpPr>
        <p:spPr bwMode="gray">
          <a:xfrm>
            <a:off x="481013" y="5312740"/>
            <a:ext cx="11856130" cy="1697660"/>
          </a:xfrm>
          <a:prstGeom prst="roundRect">
            <a:avLst>
              <a:gd name="adj" fmla="val 4848"/>
            </a:avLst>
          </a:prstGeom>
          <a:solidFill>
            <a:schemeClr val="accent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endParaRPr lang="en-US" dirty="0"/>
          </a:p>
        </p:txBody>
      </p:sp>
      <p:sp>
        <p:nvSpPr>
          <p:cNvPr id="3" name="Title 2">
            <a:extLst>
              <a:ext uri="{FF2B5EF4-FFF2-40B4-BE49-F238E27FC236}">
                <a16:creationId xmlns:a16="http://schemas.microsoft.com/office/drawing/2014/main" id="{D67D4D28-7220-4DBF-B84F-7522AA7B5C1B}"/>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4E07DCE0-7EB1-456A-B894-0D5496B16D5E}"/>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8820FD8A-8603-4176-922E-40B95479EA99}"/>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3" y="5607050"/>
            <a:ext cx="10926715"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C8381936-07CE-4E0E-A28C-AE4F2F90F489}"/>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TextBox 9">
            <a:extLst>
              <a:ext uri="{FF2B5EF4-FFF2-40B4-BE49-F238E27FC236}">
                <a16:creationId xmlns:a16="http://schemas.microsoft.com/office/drawing/2014/main" id="{E1348D7E-2C52-0648-B459-2BB160BEC88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2">
                    <a:lumMod val="20000"/>
                    <a:lumOff val="8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20916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Shelf Teal">
    <p:spTree>
      <p:nvGrpSpPr>
        <p:cNvPr id="1" name=""/>
        <p:cNvGrpSpPr/>
        <p:nvPr/>
      </p:nvGrpSpPr>
      <p:grpSpPr>
        <a:xfrm>
          <a:off x="0" y="0"/>
          <a:ext cx="0" cy="0"/>
          <a:chOff x="0" y="0"/>
          <a:chExt cx="0" cy="0"/>
        </a:xfrm>
      </p:grpSpPr>
      <p:sp>
        <p:nvSpPr>
          <p:cNvPr id="13" name="Rectangle: Rounded Corners 55">
            <a:extLst>
              <a:ext uri="{FF2B5EF4-FFF2-40B4-BE49-F238E27FC236}">
                <a16:creationId xmlns:a16="http://schemas.microsoft.com/office/drawing/2014/main" id="{64F7479C-618C-7446-B7B5-D8A90E14FF2D}"/>
              </a:ext>
            </a:extLst>
          </p:cNvPr>
          <p:cNvSpPr/>
          <p:nvPr userDrawn="1"/>
        </p:nvSpPr>
        <p:spPr bwMode="gray">
          <a:xfrm>
            <a:off x="481013" y="5312740"/>
            <a:ext cx="11856130" cy="1697660"/>
          </a:xfrm>
          <a:prstGeom prst="roundRect">
            <a:avLst>
              <a:gd name="adj" fmla="val 4848"/>
            </a:avLst>
          </a:prstGeom>
          <a:solidFill>
            <a:schemeClr val="accent3"/>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endParaRPr lang="en-US" dirty="0"/>
          </a:p>
        </p:txBody>
      </p:sp>
      <p:sp>
        <p:nvSpPr>
          <p:cNvPr id="3" name="Title 2">
            <a:extLst>
              <a:ext uri="{FF2B5EF4-FFF2-40B4-BE49-F238E27FC236}">
                <a16:creationId xmlns:a16="http://schemas.microsoft.com/office/drawing/2014/main" id="{F30F1C18-7699-4A7F-B63A-CD243921F051}"/>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6B31CF51-940B-40E8-B469-4A0DD89E624F}"/>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5495F504-4F4A-4408-BBF6-D0CB39AE6B92}"/>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754743" y="5607050"/>
            <a:ext cx="10926716"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8EC75432-B24B-45B9-83ED-D23B86BEF52A}"/>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3">
                    <a:lumMod val="40000"/>
                    <a:lumOff val="60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3">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1684853D-5F0A-494C-9888-7AAEF3B1B6D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3">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524650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Shelf Gun Metal">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69505E91-7C68-D541-9803-812E1EBF74DF}"/>
              </a:ext>
            </a:extLst>
          </p:cNvPr>
          <p:cNvSpPr/>
          <p:nvPr userDrawn="1"/>
        </p:nvSpPr>
        <p:spPr bwMode="gray">
          <a:xfrm>
            <a:off x="481013" y="5312740"/>
            <a:ext cx="11856130" cy="1697660"/>
          </a:xfrm>
          <a:prstGeom prst="roundRect">
            <a:avLst>
              <a:gd name="adj" fmla="val 4848"/>
            </a:avLst>
          </a:prstGeom>
          <a:solidFill>
            <a:schemeClr val="accent5"/>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endParaRPr lang="en-US" dirty="0"/>
          </a:p>
        </p:txBody>
      </p:sp>
      <p:sp>
        <p:nvSpPr>
          <p:cNvPr id="3" name="Title 2">
            <a:extLst>
              <a:ext uri="{FF2B5EF4-FFF2-40B4-BE49-F238E27FC236}">
                <a16:creationId xmlns:a16="http://schemas.microsoft.com/office/drawing/2014/main" id="{BD0318B4-6B51-4F6A-94BE-C72B04D42563}"/>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87440954-896A-4F1B-AEBA-4E4DBC73ED90}"/>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123382FB-35E4-4970-94A3-EDD49E681D64}"/>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24B18C2F-53E3-41A5-897F-9ABCFEF64568}"/>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D9A81EAB-DE44-ED41-8D8F-2A4169FC143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003033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Shelf Midnight">
    <p:spTree>
      <p:nvGrpSpPr>
        <p:cNvPr id="1" name=""/>
        <p:cNvGrpSpPr/>
        <p:nvPr/>
      </p:nvGrpSpPr>
      <p:grpSpPr>
        <a:xfrm>
          <a:off x="0" y="0"/>
          <a:ext cx="0" cy="0"/>
          <a:chOff x="0" y="0"/>
          <a:chExt cx="0" cy="0"/>
        </a:xfrm>
      </p:grpSpPr>
      <p:sp>
        <p:nvSpPr>
          <p:cNvPr id="16" name="Rectangle: Rounded Corners 55">
            <a:extLst>
              <a:ext uri="{FF2B5EF4-FFF2-40B4-BE49-F238E27FC236}">
                <a16:creationId xmlns:a16="http://schemas.microsoft.com/office/drawing/2014/main" id="{C92B453A-5E12-4F44-BB8F-D65CF49A9122}"/>
              </a:ext>
            </a:extLst>
          </p:cNvPr>
          <p:cNvSpPr/>
          <p:nvPr userDrawn="1"/>
        </p:nvSpPr>
        <p:spPr bwMode="gray">
          <a:xfrm>
            <a:off x="481013" y="5312740"/>
            <a:ext cx="11856130" cy="1697660"/>
          </a:xfrm>
          <a:prstGeom prst="roundRect">
            <a:avLst>
              <a:gd name="adj" fmla="val 4848"/>
            </a:avLst>
          </a:prstGeom>
          <a:solidFill>
            <a:schemeClr val="tx2"/>
          </a:solidFill>
          <a:ln w="10795" cap="flat" cmpd="sng" algn="ctr">
            <a:noFill/>
            <a:prstDash val="solid"/>
          </a:ln>
          <a:effectLst>
            <a:innerShdw blurRad="63500" dist="50800" dir="18900000">
              <a:prstClr val="black">
                <a:alpha val="50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n-lt"/>
              <a:ea typeface="+mn-ea"/>
              <a:cs typeface="+mn-cs"/>
            </a:endParaRPr>
          </a:p>
        </p:txBody>
      </p:sp>
      <p:sp>
        <p:nvSpPr>
          <p:cNvPr id="11" name="Footer Placeholder 4">
            <a:extLst>
              <a:ext uri="{FF2B5EF4-FFF2-40B4-BE49-F238E27FC236}">
                <a16:creationId xmlns:a16="http://schemas.microsoft.com/office/drawing/2014/main" id="{30586D9F-6A23-4598-BD43-228B7C23E261}"/>
              </a:ext>
            </a:extLst>
          </p:cNvPr>
          <p:cNvSpPr>
            <a:spLocks noGrp="1"/>
          </p:cNvSpPr>
          <p:nvPr>
            <p:ph type="ftr" sz="quarter" idx="3"/>
          </p:nvPr>
        </p:nvSpPr>
        <p:spPr>
          <a:xfrm>
            <a:off x="494189" y="5120616"/>
            <a:ext cx="6418363" cy="121636"/>
          </a:xfrm>
          <a:prstGeom prst="rect">
            <a:avLst/>
          </a:prstGeom>
        </p:spPr>
        <p:txBody>
          <a:bodyPr vert="horz" wrap="square" lIns="0" tIns="0" rIns="0" bIns="0" rtlCol="0" anchor="b">
            <a:spAutoFit/>
          </a:bodyPr>
          <a:lstStyle>
            <a:lvl1pPr algn="l">
              <a:lnSpc>
                <a:spcPct val="96000"/>
              </a:lnSpc>
              <a:defRPr sz="800">
                <a:solidFill>
                  <a:schemeClr val="accent5">
                    <a:lumMod val="60000"/>
                    <a:lumOff val="40000"/>
                  </a:schemeClr>
                </a:solidFill>
              </a:defRPr>
            </a:lvl1pPr>
          </a:lstStyle>
          <a:p>
            <a:r>
              <a:rPr lang="en-US"/>
              <a:t>Media Web Symposium 2023</a:t>
            </a:r>
            <a:endParaRPr lang="en-US" dirty="0"/>
          </a:p>
        </p:txBody>
      </p:sp>
      <p:sp>
        <p:nvSpPr>
          <p:cNvPr id="3" name="Title 2">
            <a:extLst>
              <a:ext uri="{FF2B5EF4-FFF2-40B4-BE49-F238E27FC236}">
                <a16:creationId xmlns:a16="http://schemas.microsoft.com/office/drawing/2014/main" id="{CE07AFB8-3706-418A-9C57-68819BDA292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4" name="Content Placeholder 4">
            <a:extLst>
              <a:ext uri="{FF2B5EF4-FFF2-40B4-BE49-F238E27FC236}">
                <a16:creationId xmlns:a16="http://schemas.microsoft.com/office/drawing/2014/main" id="{E9F6828D-39BF-4AE8-BBB6-8AEEC2923DA5}"/>
              </a:ext>
            </a:extLst>
          </p:cNvPr>
          <p:cNvSpPr>
            <a:spLocks noGrp="1"/>
          </p:cNvSpPr>
          <p:nvPr>
            <p:ph sz="quarter" idx="14"/>
          </p:nvPr>
        </p:nvSpPr>
        <p:spPr>
          <a:xfrm>
            <a:off x="495300" y="1719072"/>
            <a:ext cx="11187112" cy="307965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3F36228C-E8D4-4505-84AF-8F6E66215BE6}"/>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752885" y="5607050"/>
            <a:ext cx="10928573" cy="929054"/>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7C5C23DA-0A03-41BE-AF55-A9326FD999AC}"/>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extBox 9">
            <a:extLst>
              <a:ext uri="{FF2B5EF4-FFF2-40B4-BE49-F238E27FC236}">
                <a16:creationId xmlns:a16="http://schemas.microsoft.com/office/drawing/2014/main" id="{72C27C62-1DFD-8E4E-8A14-4A72529B937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89218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Left Te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4">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4">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6904370-72AB-4BB4-A7CD-A52DDDBB6992}"/>
              </a:ext>
            </a:extLst>
          </p:cNvPr>
          <p:cNvSpPr>
            <a:spLocks noGrp="1"/>
          </p:cNvSpPr>
          <p:nvPr>
            <p:ph type="title"/>
          </p:nvPr>
        </p:nvSpPr>
        <p:spPr>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03879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Fifty Fifty White">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E209C095-798B-214F-A427-CA1FF1953505}"/>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6">
                    <a:lumMod val="75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
        <p:nvSpPr>
          <p:cNvPr id="11" name="Text Placeholder 28">
            <a:extLst>
              <a:ext uri="{FF2B5EF4-FFF2-40B4-BE49-F238E27FC236}">
                <a16:creationId xmlns:a16="http://schemas.microsoft.com/office/drawing/2014/main" id="{908541F3-28CD-794D-9212-C37EF4271E5A}"/>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8" name="Text Placeholder 30">
            <a:extLst>
              <a:ext uri="{FF2B5EF4-FFF2-40B4-BE49-F238E27FC236}">
                <a16:creationId xmlns:a16="http://schemas.microsoft.com/office/drawing/2014/main" id="{B921A830-8155-434F-BFE6-D8CA5368B334}"/>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9" name="Footer Placeholder 2">
            <a:extLst>
              <a:ext uri="{FF2B5EF4-FFF2-40B4-BE49-F238E27FC236}">
                <a16:creationId xmlns:a16="http://schemas.microsoft.com/office/drawing/2014/main" id="{1ED0D2AB-2132-8B4F-AB70-4197C98BFB64}"/>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endParaRPr lang="en-US" dirty="0"/>
          </a:p>
        </p:txBody>
      </p:sp>
      <p:sp>
        <p:nvSpPr>
          <p:cNvPr id="20" name="Title 2">
            <a:extLst>
              <a:ext uri="{FF2B5EF4-FFF2-40B4-BE49-F238E27FC236}">
                <a16:creationId xmlns:a16="http://schemas.microsoft.com/office/drawing/2014/main" id="{B5650983-3362-1142-83CB-9EC49F127E3C}"/>
              </a:ext>
            </a:extLst>
          </p:cNvPr>
          <p:cNvSpPr>
            <a:spLocks noGrp="1"/>
          </p:cNvSpPr>
          <p:nvPr>
            <p:ph type="title"/>
          </p:nvPr>
        </p:nvSpPr>
        <p:spPr>
          <a:xfrm>
            <a:off x="495300" y="146549"/>
            <a:ext cx="5111495" cy="858055"/>
          </a:xfrm>
        </p:spPr>
        <p:txBody>
          <a:bodyPr>
            <a:spAutoFit/>
          </a:bodyPr>
          <a:lstStyle/>
          <a:p>
            <a:r>
              <a:rPr lang="en-US"/>
              <a:t>Click to edit Master title style</a:t>
            </a:r>
            <a:endParaRPr lang="en-US" dirty="0"/>
          </a:p>
        </p:txBody>
      </p:sp>
      <p:sp>
        <p:nvSpPr>
          <p:cNvPr id="21" name="Content Placeholder 4">
            <a:extLst>
              <a:ext uri="{FF2B5EF4-FFF2-40B4-BE49-F238E27FC236}">
                <a16:creationId xmlns:a16="http://schemas.microsoft.com/office/drawing/2014/main" id="{7CFF6B76-0309-ED4F-B66F-54334FFDD77A}"/>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4F8BEE86-35F8-4548-A2EE-1A3FD6EC6FDC}"/>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4" name="Text Placeholder 5">
            <a:extLst>
              <a:ext uri="{FF2B5EF4-FFF2-40B4-BE49-F238E27FC236}">
                <a16:creationId xmlns:a16="http://schemas.microsoft.com/office/drawing/2014/main" id="{2B80D626-CD2D-6D45-A432-FC7D2B967617}"/>
              </a:ext>
            </a:extLst>
          </p:cNvPr>
          <p:cNvSpPr>
            <a:spLocks noGrp="1"/>
          </p:cNvSpPr>
          <p:nvPr>
            <p:ph type="body" sz="quarter" idx="15"/>
          </p:nvPr>
        </p:nvSpPr>
        <p:spPr bwMode="gray">
          <a:xfrm>
            <a:off x="6583680" y="1719073"/>
            <a:ext cx="5111496" cy="4268259"/>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5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Fifty Fifty Nickel">
    <p:spTree>
      <p:nvGrpSpPr>
        <p:cNvPr id="1" name=""/>
        <p:cNvGrpSpPr/>
        <p:nvPr/>
      </p:nvGrpSpPr>
      <p:grpSpPr>
        <a:xfrm>
          <a:off x="0" y="0"/>
          <a:ext cx="0" cy="0"/>
          <a:chOff x="0" y="0"/>
          <a:chExt cx="0" cy="0"/>
        </a:xfrm>
      </p:grpSpPr>
      <p:sp>
        <p:nvSpPr>
          <p:cNvPr id="13" name="Rectangle: Rounded Corners 19">
            <a:extLst>
              <a:ext uri="{FF2B5EF4-FFF2-40B4-BE49-F238E27FC236}">
                <a16:creationId xmlns:a16="http://schemas.microsoft.com/office/drawing/2014/main" id="{8427B8C3-00CD-DB49-A0BF-67BE30AD9206}"/>
              </a:ext>
            </a:extLst>
          </p:cNvPr>
          <p:cNvSpPr/>
          <p:nvPr userDrawn="1"/>
        </p:nvSpPr>
        <p:spPr bwMode="gray">
          <a:xfrm>
            <a:off x="6093390" y="-159655"/>
            <a:ext cx="6272784" cy="6519672"/>
          </a:xfrm>
          <a:prstGeom prst="roundRect">
            <a:avLst>
              <a:gd name="adj" fmla="val 1350"/>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2A40B6DD-258D-C246-8BB9-62A7411878D6}"/>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
        <p:nvSpPr>
          <p:cNvPr id="11" name="Text Placeholder 28">
            <a:extLst>
              <a:ext uri="{FF2B5EF4-FFF2-40B4-BE49-F238E27FC236}">
                <a16:creationId xmlns:a16="http://schemas.microsoft.com/office/drawing/2014/main" id="{DBBCDC54-CC87-904C-8D9F-1A247E8C6D5F}"/>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tx2"/>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8" name="Text Placeholder 30">
            <a:extLst>
              <a:ext uri="{FF2B5EF4-FFF2-40B4-BE49-F238E27FC236}">
                <a16:creationId xmlns:a16="http://schemas.microsoft.com/office/drawing/2014/main" id="{72D7EA7C-4AD9-4343-9C9B-49A12429400C}"/>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tx2"/>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9" name="Footer Placeholder 2">
            <a:extLst>
              <a:ext uri="{FF2B5EF4-FFF2-40B4-BE49-F238E27FC236}">
                <a16:creationId xmlns:a16="http://schemas.microsoft.com/office/drawing/2014/main" id="{14C02348-CD98-294E-BC2A-06B9CD5F0D31}"/>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endParaRPr lang="en-US" dirty="0"/>
          </a:p>
        </p:txBody>
      </p:sp>
      <p:sp>
        <p:nvSpPr>
          <p:cNvPr id="20" name="Title 2">
            <a:extLst>
              <a:ext uri="{FF2B5EF4-FFF2-40B4-BE49-F238E27FC236}">
                <a16:creationId xmlns:a16="http://schemas.microsoft.com/office/drawing/2014/main" id="{849C1EDC-B19F-C14B-A41C-8D770C7F9EF8}"/>
              </a:ext>
            </a:extLst>
          </p:cNvPr>
          <p:cNvSpPr>
            <a:spLocks noGrp="1"/>
          </p:cNvSpPr>
          <p:nvPr>
            <p:ph type="title"/>
          </p:nvPr>
        </p:nvSpPr>
        <p:spPr>
          <a:xfrm>
            <a:off x="495300" y="146549"/>
            <a:ext cx="5111495" cy="858055"/>
          </a:xfrm>
        </p:spPr>
        <p:txBody>
          <a:bodyPr>
            <a:spAutoFit/>
          </a:bodyPr>
          <a:lstStyle/>
          <a:p>
            <a:r>
              <a:rPr lang="en-US"/>
              <a:t>Click to edit Master title style</a:t>
            </a:r>
            <a:endParaRPr lang="en-US" dirty="0"/>
          </a:p>
        </p:txBody>
      </p:sp>
      <p:sp>
        <p:nvSpPr>
          <p:cNvPr id="21" name="Content Placeholder 4">
            <a:extLst>
              <a:ext uri="{FF2B5EF4-FFF2-40B4-BE49-F238E27FC236}">
                <a16:creationId xmlns:a16="http://schemas.microsoft.com/office/drawing/2014/main" id="{F670B2ED-70D6-3142-AB7E-976580D465E2}"/>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D7D74485-0271-524F-8B8A-8164ABD88AFC}"/>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4" name="Text Placeholder 5">
            <a:extLst>
              <a:ext uri="{FF2B5EF4-FFF2-40B4-BE49-F238E27FC236}">
                <a16:creationId xmlns:a16="http://schemas.microsoft.com/office/drawing/2014/main" id="{481CF0D5-0D6D-A44E-9EA2-45549E1EAD05}"/>
              </a:ext>
            </a:extLst>
          </p:cNvPr>
          <p:cNvSpPr>
            <a:spLocks noGrp="1"/>
          </p:cNvSpPr>
          <p:nvPr>
            <p:ph type="body" sz="quarter" idx="15"/>
          </p:nvPr>
        </p:nvSpPr>
        <p:spPr bwMode="gray">
          <a:xfrm>
            <a:off x="6583680" y="1719073"/>
            <a:ext cx="5111496" cy="4270248"/>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4946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04152D91-17AA-41AE-AB21-FD3D3CE368DF}"/>
              </a:ext>
            </a:extLst>
          </p:cNvPr>
          <p:cNvSpPr/>
          <p:nvPr userDrawn="1"/>
        </p:nvSpPr>
        <p:spPr bwMode="gray">
          <a:xfrm>
            <a:off x="6093390" y="-159655"/>
            <a:ext cx="6272784" cy="6519672"/>
          </a:xfrm>
          <a:prstGeom prst="roundRect">
            <a:avLst>
              <a:gd name="adj" fmla="val 1350"/>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2" name="Text Placeholder 28">
            <a:extLst>
              <a:ext uri="{FF2B5EF4-FFF2-40B4-BE49-F238E27FC236}">
                <a16:creationId xmlns:a16="http://schemas.microsoft.com/office/drawing/2014/main" id="{31A6D88C-0B61-5E4A-A163-4E28BEBD2723}"/>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43" name="Text Placeholder 30">
            <a:extLst>
              <a:ext uri="{FF2B5EF4-FFF2-40B4-BE49-F238E27FC236}">
                <a16:creationId xmlns:a16="http://schemas.microsoft.com/office/drawing/2014/main" id="{BA05B7BD-2711-B14D-9AAD-E3A34AECC05D}"/>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45" name="Footer Placeholder 2">
            <a:extLst>
              <a:ext uri="{FF2B5EF4-FFF2-40B4-BE49-F238E27FC236}">
                <a16:creationId xmlns:a16="http://schemas.microsoft.com/office/drawing/2014/main" id="{A98BC9DF-C552-D942-AEEA-E0F79D3C68A5}"/>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endParaRPr lang="en-US" dirty="0"/>
          </a:p>
        </p:txBody>
      </p:sp>
      <p:sp>
        <p:nvSpPr>
          <p:cNvPr id="46" name="Title 2">
            <a:extLst>
              <a:ext uri="{FF2B5EF4-FFF2-40B4-BE49-F238E27FC236}">
                <a16:creationId xmlns:a16="http://schemas.microsoft.com/office/drawing/2014/main" id="{1130FC52-F31F-7544-851A-A9FB6D342CAE}"/>
              </a:ext>
            </a:extLst>
          </p:cNvPr>
          <p:cNvSpPr>
            <a:spLocks noGrp="1"/>
          </p:cNvSpPr>
          <p:nvPr>
            <p:ph type="title"/>
          </p:nvPr>
        </p:nvSpPr>
        <p:spPr>
          <a:xfrm>
            <a:off x="495300" y="146549"/>
            <a:ext cx="5111495" cy="858055"/>
          </a:xfrm>
        </p:spPr>
        <p:txBody>
          <a:bodyPr>
            <a:spAutoFit/>
          </a:bodyPr>
          <a:lstStyle/>
          <a:p>
            <a:r>
              <a:rPr lang="en-US"/>
              <a:t>Click to edit Master title style</a:t>
            </a:r>
            <a:endParaRPr lang="en-US" dirty="0"/>
          </a:p>
        </p:txBody>
      </p:sp>
      <p:sp>
        <p:nvSpPr>
          <p:cNvPr id="47" name="Content Placeholder 4">
            <a:extLst>
              <a:ext uri="{FF2B5EF4-FFF2-40B4-BE49-F238E27FC236}">
                <a16:creationId xmlns:a16="http://schemas.microsoft.com/office/drawing/2014/main" id="{B5E7483F-960A-C445-85E2-B0C91B781B85}"/>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Subtitle">
            <a:extLst>
              <a:ext uri="{FF2B5EF4-FFF2-40B4-BE49-F238E27FC236}">
                <a16:creationId xmlns:a16="http://schemas.microsoft.com/office/drawing/2014/main" id="{E17041E4-15FE-6842-9C64-29DEE41F2BE1}"/>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4" name="Text Placeholder 5">
            <a:extLst>
              <a:ext uri="{FF2B5EF4-FFF2-40B4-BE49-F238E27FC236}">
                <a16:creationId xmlns:a16="http://schemas.microsoft.com/office/drawing/2014/main" id="{15C1667E-9CBE-4949-928C-EF05922920B1}"/>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9" name="Text Placeholder 30">
            <a:extLst>
              <a:ext uri="{FF2B5EF4-FFF2-40B4-BE49-F238E27FC236}">
                <a16:creationId xmlns:a16="http://schemas.microsoft.com/office/drawing/2014/main" id="{3EE211B0-5301-314E-A546-F5240C27BD6A}"/>
              </a:ext>
            </a:extLst>
          </p:cNvPr>
          <p:cNvSpPr>
            <a:spLocks noGrp="1"/>
          </p:cNvSpPr>
          <p:nvPr>
            <p:ph type="body" sz="quarter" idx="18" hasCustomPrompt="1"/>
          </p:nvPr>
        </p:nvSpPr>
        <p:spPr bwMode="gray">
          <a:xfrm>
            <a:off x="6583680" y="6085070"/>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2">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Tree>
    <p:extLst>
      <p:ext uri="{BB962C8B-B14F-4D97-AF65-F5344CB8AC3E}">
        <p14:creationId xmlns:p14="http://schemas.microsoft.com/office/powerpoint/2010/main" val="422796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Fifty Fifty Gun Metal">
    <p:spTree>
      <p:nvGrpSpPr>
        <p:cNvPr id="1" name=""/>
        <p:cNvGrpSpPr/>
        <p:nvPr/>
      </p:nvGrpSpPr>
      <p:grpSpPr>
        <a:xfrm>
          <a:off x="0" y="0"/>
          <a:ext cx="0" cy="0"/>
          <a:chOff x="0" y="0"/>
          <a:chExt cx="0" cy="0"/>
        </a:xfrm>
      </p:grpSpPr>
      <p:sp>
        <p:nvSpPr>
          <p:cNvPr id="21" name="Rectangle: Rounded Corners 19">
            <a:extLst>
              <a:ext uri="{FF2B5EF4-FFF2-40B4-BE49-F238E27FC236}">
                <a16:creationId xmlns:a16="http://schemas.microsoft.com/office/drawing/2014/main" id="{F87F1BE8-1C87-7140-8D96-5BAA105664DE}"/>
              </a:ext>
            </a:extLst>
          </p:cNvPr>
          <p:cNvSpPr/>
          <p:nvPr userDrawn="1"/>
        </p:nvSpPr>
        <p:spPr bwMode="gray">
          <a:xfrm>
            <a:off x="6093390" y="-159655"/>
            <a:ext cx="6272784" cy="6519672"/>
          </a:xfrm>
          <a:prstGeom prst="roundRect">
            <a:avLst>
              <a:gd name="adj" fmla="val 1350"/>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2978F00E-A531-544A-97D2-32037CCCB895}"/>
              </a:ext>
            </a:extLst>
          </p:cNvPr>
          <p:cNvSpPr>
            <a:spLocks noGrp="1"/>
          </p:cNvSpPr>
          <p:nvPr>
            <p:ph type="body" sz="quarter" idx="18" hasCustomPrompt="1"/>
          </p:nvPr>
        </p:nvSpPr>
        <p:spPr bwMode="gray">
          <a:xfrm>
            <a:off x="6583680" y="6085070"/>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6">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
        <p:nvSpPr>
          <p:cNvPr id="11" name="Text Placeholder 28">
            <a:extLst>
              <a:ext uri="{FF2B5EF4-FFF2-40B4-BE49-F238E27FC236}">
                <a16:creationId xmlns:a16="http://schemas.microsoft.com/office/drawing/2014/main" id="{E3E10B72-CE09-0046-A399-08CDF607F2B9}"/>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5" name="Text Placeholder 30">
            <a:extLst>
              <a:ext uri="{FF2B5EF4-FFF2-40B4-BE49-F238E27FC236}">
                <a16:creationId xmlns:a16="http://schemas.microsoft.com/office/drawing/2014/main" id="{ADEE25ED-B5AE-EE4B-A67A-7AACA0E01940}"/>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Footer Placeholder 2">
            <a:extLst>
              <a:ext uri="{FF2B5EF4-FFF2-40B4-BE49-F238E27FC236}">
                <a16:creationId xmlns:a16="http://schemas.microsoft.com/office/drawing/2014/main" id="{763CCC0A-FCD5-0E4E-BD3E-52E4C4A6574B}"/>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endParaRPr lang="en-US" dirty="0"/>
          </a:p>
        </p:txBody>
      </p:sp>
      <p:sp>
        <p:nvSpPr>
          <p:cNvPr id="19" name="Title 2">
            <a:extLst>
              <a:ext uri="{FF2B5EF4-FFF2-40B4-BE49-F238E27FC236}">
                <a16:creationId xmlns:a16="http://schemas.microsoft.com/office/drawing/2014/main" id="{519D1D9C-EB4E-154F-9E99-DB1EDA4B5C0E}"/>
              </a:ext>
            </a:extLst>
          </p:cNvPr>
          <p:cNvSpPr>
            <a:spLocks noGrp="1"/>
          </p:cNvSpPr>
          <p:nvPr>
            <p:ph type="title"/>
          </p:nvPr>
        </p:nvSpPr>
        <p:spPr>
          <a:xfrm>
            <a:off x="495300" y="146549"/>
            <a:ext cx="5111495" cy="858055"/>
          </a:xfrm>
        </p:spPr>
        <p:txBody>
          <a:bodyPr>
            <a:spAutoFit/>
          </a:bodyPr>
          <a:lstStyle/>
          <a:p>
            <a:r>
              <a:rPr lang="en-US"/>
              <a:t>Click to edit Master title style</a:t>
            </a:r>
            <a:endParaRPr lang="en-US" dirty="0"/>
          </a:p>
        </p:txBody>
      </p:sp>
      <p:sp>
        <p:nvSpPr>
          <p:cNvPr id="20" name="Content Placeholder 4">
            <a:extLst>
              <a:ext uri="{FF2B5EF4-FFF2-40B4-BE49-F238E27FC236}">
                <a16:creationId xmlns:a16="http://schemas.microsoft.com/office/drawing/2014/main" id="{D9A8643E-8094-8440-BBA5-B802F676757B}"/>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a:extLst>
              <a:ext uri="{FF2B5EF4-FFF2-40B4-BE49-F238E27FC236}">
                <a16:creationId xmlns:a16="http://schemas.microsoft.com/office/drawing/2014/main" id="{7645CF81-755A-1745-8DBE-7ED5F0553595}"/>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4" name="Text Placeholder 5">
            <a:extLst>
              <a:ext uri="{FF2B5EF4-FFF2-40B4-BE49-F238E27FC236}">
                <a16:creationId xmlns:a16="http://schemas.microsoft.com/office/drawing/2014/main" id="{1A16A13E-863C-F146-A187-E62532EE1BC1}"/>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9533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Fifty Fifty Midnight">
    <p:spTree>
      <p:nvGrpSpPr>
        <p:cNvPr id="1" name=""/>
        <p:cNvGrpSpPr/>
        <p:nvPr/>
      </p:nvGrpSpPr>
      <p:grpSpPr>
        <a:xfrm>
          <a:off x="0" y="0"/>
          <a:ext cx="0" cy="0"/>
          <a:chOff x="0" y="0"/>
          <a:chExt cx="0" cy="0"/>
        </a:xfrm>
      </p:grpSpPr>
      <p:sp>
        <p:nvSpPr>
          <p:cNvPr id="22" name="Rectangle: Rounded Corners 19">
            <a:extLst>
              <a:ext uri="{FF2B5EF4-FFF2-40B4-BE49-F238E27FC236}">
                <a16:creationId xmlns:a16="http://schemas.microsoft.com/office/drawing/2014/main" id="{93B00248-C527-3D45-83C9-6F26343EC0C4}"/>
              </a:ext>
            </a:extLst>
          </p:cNvPr>
          <p:cNvSpPr/>
          <p:nvPr userDrawn="1"/>
        </p:nvSpPr>
        <p:spPr bwMode="gray">
          <a:xfrm>
            <a:off x="6096000" y="-154842"/>
            <a:ext cx="6272784" cy="6519672"/>
          </a:xfrm>
          <a:prstGeom prst="roundRect">
            <a:avLst>
              <a:gd name="adj" fmla="val 1350"/>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0">
            <a:extLst>
              <a:ext uri="{FF2B5EF4-FFF2-40B4-BE49-F238E27FC236}">
                <a16:creationId xmlns:a16="http://schemas.microsoft.com/office/drawing/2014/main" id="{E6A27C14-AB3B-E64D-88C0-1BE4A074DE6D}"/>
              </a:ext>
            </a:extLst>
          </p:cNvPr>
          <p:cNvSpPr>
            <a:spLocks noGrp="1"/>
          </p:cNvSpPr>
          <p:nvPr>
            <p:ph type="body" sz="quarter" idx="18" hasCustomPrompt="1"/>
          </p:nvPr>
        </p:nvSpPr>
        <p:spPr bwMode="gray">
          <a:xfrm>
            <a:off x="6583680" y="6081014"/>
            <a:ext cx="5111496" cy="118174"/>
          </a:xfrm>
          <a:prstGeom prst="rect">
            <a:avLst/>
          </a:prstGeom>
        </p:spPr>
        <p:txBody>
          <a:bodyPr wrap="square">
            <a:spAutoFit/>
          </a:bodyPr>
          <a:lstStyle>
            <a:lvl1pPr marL="0" indent="0">
              <a:lnSpc>
                <a:spcPct val="96000"/>
              </a:lnSpc>
              <a:spcBef>
                <a:spcPts val="0"/>
              </a:spcBef>
              <a:spcAft>
                <a:spcPts val="225"/>
              </a:spcAft>
              <a:buNone/>
              <a:defRPr sz="800">
                <a:solidFill>
                  <a:schemeClr val="accent5">
                    <a:lumMod val="40000"/>
                    <a:lumOff val="60000"/>
                  </a:schemeClr>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dirty="0"/>
              <a:t>Source sample text</a:t>
            </a:r>
          </a:p>
        </p:txBody>
      </p:sp>
      <p:sp>
        <p:nvSpPr>
          <p:cNvPr id="11" name="Text Placeholder 28">
            <a:extLst>
              <a:ext uri="{FF2B5EF4-FFF2-40B4-BE49-F238E27FC236}">
                <a16:creationId xmlns:a16="http://schemas.microsoft.com/office/drawing/2014/main" id="{F9EE034B-0257-1C45-A7DC-676E48E77CEA}"/>
              </a:ext>
            </a:extLst>
          </p:cNvPr>
          <p:cNvSpPr>
            <a:spLocks noGrp="1"/>
          </p:cNvSpPr>
          <p:nvPr>
            <p:ph type="body" sz="quarter" idx="13"/>
          </p:nvPr>
        </p:nvSpPr>
        <p:spPr bwMode="gray">
          <a:xfrm>
            <a:off x="6583680" y="651302"/>
            <a:ext cx="5111496" cy="353302"/>
          </a:xfrm>
          <a:prstGeom prst="rect">
            <a:avLst/>
          </a:prstGeom>
        </p:spPr>
        <p:txBody>
          <a:bodyPr anchor="b">
            <a:spAutoFit/>
          </a:bodyPr>
          <a:lstStyle>
            <a:lvl1pPr marL="0" indent="0">
              <a:lnSpc>
                <a:spcPct val="82000"/>
              </a:lnSpc>
              <a:buNone/>
              <a:defRPr sz="28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Click to edit Master text styles</a:t>
            </a:r>
          </a:p>
        </p:txBody>
      </p:sp>
      <p:sp>
        <p:nvSpPr>
          <p:cNvPr id="15" name="Text Placeholder 30">
            <a:extLst>
              <a:ext uri="{FF2B5EF4-FFF2-40B4-BE49-F238E27FC236}">
                <a16:creationId xmlns:a16="http://schemas.microsoft.com/office/drawing/2014/main" id="{78F000DC-9EC4-6E4F-BDE7-BFE0E5C1F9AF}"/>
              </a:ext>
            </a:extLst>
          </p:cNvPr>
          <p:cNvSpPr>
            <a:spLocks noGrp="1"/>
          </p:cNvSpPr>
          <p:nvPr>
            <p:ph type="body" sz="quarter" idx="14"/>
          </p:nvPr>
        </p:nvSpPr>
        <p:spPr bwMode="gray">
          <a:xfrm>
            <a:off x="6583680" y="1088136"/>
            <a:ext cx="5111496" cy="236347"/>
          </a:xfrm>
          <a:prstGeom prst="rect">
            <a:avLst/>
          </a:prstGeom>
        </p:spPr>
        <p:txBody>
          <a:bodyPr>
            <a:spAutoFit/>
          </a:bodyPr>
          <a:lstStyle>
            <a:lvl1pPr marL="0" indent="0">
              <a:lnSpc>
                <a:spcPct val="96000"/>
              </a:lnSpc>
              <a:spcBef>
                <a:spcPts val="900"/>
              </a:spcBef>
              <a:buNone/>
              <a:defRPr sz="16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Click to edit Master text styles</a:t>
            </a:r>
          </a:p>
        </p:txBody>
      </p:sp>
      <p:sp>
        <p:nvSpPr>
          <p:cNvPr id="18" name="Footer Placeholder 2">
            <a:extLst>
              <a:ext uri="{FF2B5EF4-FFF2-40B4-BE49-F238E27FC236}">
                <a16:creationId xmlns:a16="http://schemas.microsoft.com/office/drawing/2014/main" id="{A5A33399-B0A0-8748-AA79-FC0A5B75845E}"/>
              </a:ext>
            </a:extLst>
          </p:cNvPr>
          <p:cNvSpPr>
            <a:spLocks noGrp="1"/>
          </p:cNvSpPr>
          <p:nvPr>
            <p:ph type="ftr" sz="quarter" idx="16"/>
          </p:nvPr>
        </p:nvSpPr>
        <p:spPr>
          <a:xfrm>
            <a:off x="495299" y="6532895"/>
            <a:ext cx="511149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endParaRPr lang="en-US" dirty="0"/>
          </a:p>
        </p:txBody>
      </p:sp>
      <p:sp>
        <p:nvSpPr>
          <p:cNvPr id="19" name="Title 2">
            <a:extLst>
              <a:ext uri="{FF2B5EF4-FFF2-40B4-BE49-F238E27FC236}">
                <a16:creationId xmlns:a16="http://schemas.microsoft.com/office/drawing/2014/main" id="{FDF89DCF-630A-5A40-B669-67AE58A496BA}"/>
              </a:ext>
            </a:extLst>
          </p:cNvPr>
          <p:cNvSpPr>
            <a:spLocks noGrp="1"/>
          </p:cNvSpPr>
          <p:nvPr>
            <p:ph type="title"/>
          </p:nvPr>
        </p:nvSpPr>
        <p:spPr>
          <a:xfrm>
            <a:off x="495300" y="146549"/>
            <a:ext cx="5111495" cy="858055"/>
          </a:xfrm>
        </p:spPr>
        <p:txBody>
          <a:bodyPr>
            <a:spAutoFit/>
          </a:bodyPr>
          <a:lstStyle/>
          <a:p>
            <a:r>
              <a:rPr lang="en-US"/>
              <a:t>Click to edit Master title style</a:t>
            </a:r>
            <a:endParaRPr lang="en-US" dirty="0"/>
          </a:p>
        </p:txBody>
      </p:sp>
      <p:sp>
        <p:nvSpPr>
          <p:cNvPr id="20" name="Content Placeholder 4">
            <a:extLst>
              <a:ext uri="{FF2B5EF4-FFF2-40B4-BE49-F238E27FC236}">
                <a16:creationId xmlns:a16="http://schemas.microsoft.com/office/drawing/2014/main" id="{84790201-1828-9648-878F-799A24FACD66}"/>
              </a:ext>
            </a:extLst>
          </p:cNvPr>
          <p:cNvSpPr>
            <a:spLocks noGrp="1"/>
          </p:cNvSpPr>
          <p:nvPr>
            <p:ph sz="quarter" idx="17"/>
          </p:nvPr>
        </p:nvSpPr>
        <p:spPr>
          <a:xfrm>
            <a:off x="495300" y="1719072"/>
            <a:ext cx="5111495" cy="44515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a:extLst>
              <a:ext uri="{FF2B5EF4-FFF2-40B4-BE49-F238E27FC236}">
                <a16:creationId xmlns:a16="http://schemas.microsoft.com/office/drawing/2014/main" id="{3D198E9A-385B-A740-99CC-B7F700E716FB}"/>
              </a:ext>
            </a:extLst>
          </p:cNvPr>
          <p:cNvSpPr>
            <a:spLocks noGrp="1"/>
          </p:cNvSpPr>
          <p:nvPr>
            <p:ph type="subTitle" idx="1"/>
          </p:nvPr>
        </p:nvSpPr>
        <p:spPr>
          <a:xfrm>
            <a:off x="494189" y="1088136"/>
            <a:ext cx="5111495"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4" name="Text Placeholder 5">
            <a:extLst>
              <a:ext uri="{FF2B5EF4-FFF2-40B4-BE49-F238E27FC236}">
                <a16:creationId xmlns:a16="http://schemas.microsoft.com/office/drawing/2014/main" id="{47A9C3D7-40EB-2A42-A50B-7587F3F427E5}"/>
              </a:ext>
            </a:extLst>
          </p:cNvPr>
          <p:cNvSpPr>
            <a:spLocks noGrp="1"/>
          </p:cNvSpPr>
          <p:nvPr>
            <p:ph type="body" sz="quarter" idx="15"/>
          </p:nvPr>
        </p:nvSpPr>
        <p:spPr bwMode="gray">
          <a:xfrm>
            <a:off x="6583680" y="1719073"/>
            <a:ext cx="5111496" cy="4270248"/>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719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A7C99A1E-5CFA-4EFC-A063-074EDF821119}"/>
              </a:ext>
            </a:extLst>
          </p:cNvPr>
          <p:cNvSpPr/>
          <p:nvPr userDrawn="1"/>
        </p:nvSpPr>
        <p:spPr bwMode="gray">
          <a:xfrm>
            <a:off x="8460293" y="-139701"/>
            <a:ext cx="3871407" cy="6499717"/>
          </a:xfrm>
          <a:prstGeom prst="roundRect">
            <a:avLst>
              <a:gd name="adj" fmla="val 1715"/>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9" name="Text Placeholder 5">
            <a:extLst>
              <a:ext uri="{FF2B5EF4-FFF2-40B4-BE49-F238E27FC236}">
                <a16:creationId xmlns:a16="http://schemas.microsoft.com/office/drawing/2014/main" id="{51E58B32-BF86-1B4F-849D-754C4E8DC536}"/>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2">
            <a:extLst>
              <a:ext uri="{FF2B5EF4-FFF2-40B4-BE49-F238E27FC236}">
                <a16:creationId xmlns:a16="http://schemas.microsoft.com/office/drawing/2014/main" id="{5DE0D3DD-B6A4-C940-B9C1-3942EE6EDD97}"/>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endParaRPr lang="en-US" dirty="0"/>
          </a:p>
        </p:txBody>
      </p:sp>
      <p:sp>
        <p:nvSpPr>
          <p:cNvPr id="20" name="Title 2">
            <a:extLst>
              <a:ext uri="{FF2B5EF4-FFF2-40B4-BE49-F238E27FC236}">
                <a16:creationId xmlns:a16="http://schemas.microsoft.com/office/drawing/2014/main" id="{4FFDFB95-D15C-9443-A4A8-88A88E287BEB}"/>
              </a:ext>
            </a:extLst>
          </p:cNvPr>
          <p:cNvSpPr>
            <a:spLocks noGrp="1"/>
          </p:cNvSpPr>
          <p:nvPr>
            <p:ph type="title"/>
          </p:nvPr>
        </p:nvSpPr>
        <p:spPr>
          <a:xfrm>
            <a:off x="495300" y="575576"/>
            <a:ext cx="6426200" cy="429028"/>
          </a:xfrm>
        </p:spPr>
        <p:txBody>
          <a:bodyPr/>
          <a:lstStyle/>
          <a:p>
            <a:r>
              <a:rPr lang="en-US"/>
              <a:t>Click to edit Master title style</a:t>
            </a:r>
            <a:endParaRPr lang="en-US" dirty="0"/>
          </a:p>
        </p:txBody>
      </p:sp>
      <p:sp>
        <p:nvSpPr>
          <p:cNvPr id="21" name="Subtitle">
            <a:extLst>
              <a:ext uri="{FF2B5EF4-FFF2-40B4-BE49-F238E27FC236}">
                <a16:creationId xmlns:a16="http://schemas.microsoft.com/office/drawing/2014/main" id="{34DC837C-21C7-DF42-9E81-CB31882DC1D9}"/>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920252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Cutaway 1/3 Right White">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68C10A23-AB9B-344F-BDAE-6E127C4D2687}"/>
              </a:ext>
            </a:extLst>
          </p:cNvPr>
          <p:cNvSpPr>
            <a:spLocks noGrp="1"/>
          </p:cNvSpPr>
          <p:nvPr>
            <p:ph type="body" sz="quarter" idx="12"/>
          </p:nvPr>
        </p:nvSpPr>
        <p:spPr bwMode="gray">
          <a:xfrm>
            <a:off x="8829675" y="2057185"/>
            <a:ext cx="2867026" cy="4111626"/>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D268E469-C052-664A-A93C-80358167877C}"/>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endParaRPr lang="en-US" dirty="0"/>
          </a:p>
        </p:txBody>
      </p:sp>
      <p:sp>
        <p:nvSpPr>
          <p:cNvPr id="11" name="Title 2">
            <a:extLst>
              <a:ext uri="{FF2B5EF4-FFF2-40B4-BE49-F238E27FC236}">
                <a16:creationId xmlns:a16="http://schemas.microsoft.com/office/drawing/2014/main" id="{CDB1ACE2-BCC7-6341-8940-FF64DFA79FEB}"/>
              </a:ext>
            </a:extLst>
          </p:cNvPr>
          <p:cNvSpPr>
            <a:spLocks noGrp="1"/>
          </p:cNvSpPr>
          <p:nvPr>
            <p:ph type="title"/>
          </p:nvPr>
        </p:nvSpPr>
        <p:spPr>
          <a:xfrm>
            <a:off x="495300" y="575576"/>
            <a:ext cx="6426200" cy="429028"/>
          </a:xfrm>
        </p:spPr>
        <p:txBody>
          <a:bodyPr/>
          <a:lstStyle/>
          <a:p>
            <a:r>
              <a:rPr lang="en-US"/>
              <a:t>Click to edit Master title style</a:t>
            </a:r>
            <a:endParaRPr lang="en-US" dirty="0"/>
          </a:p>
        </p:txBody>
      </p:sp>
      <p:sp>
        <p:nvSpPr>
          <p:cNvPr id="13" name="Subtitle">
            <a:extLst>
              <a:ext uri="{FF2B5EF4-FFF2-40B4-BE49-F238E27FC236}">
                <a16:creationId xmlns:a16="http://schemas.microsoft.com/office/drawing/2014/main" id="{B67435D6-1D31-9249-A99A-C5DD01E90B8D}"/>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16262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Cutaway 1/3 Right Nickel">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B140C577-27DD-4548-9339-2D1F327E54F9}"/>
              </a:ext>
            </a:extLst>
          </p:cNvPr>
          <p:cNvSpPr/>
          <p:nvPr userDrawn="1"/>
        </p:nvSpPr>
        <p:spPr bwMode="gray">
          <a:xfrm>
            <a:off x="8460293" y="-139701"/>
            <a:ext cx="3871407" cy="6499717"/>
          </a:xfrm>
          <a:prstGeom prst="roundRect">
            <a:avLst>
              <a:gd name="adj" fmla="val 1715"/>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8CF46E0A-A9CC-A449-8C05-C6709771610D}"/>
              </a:ext>
            </a:extLst>
          </p:cNvPr>
          <p:cNvSpPr>
            <a:spLocks noGrp="1"/>
          </p:cNvSpPr>
          <p:nvPr>
            <p:ph type="body" sz="quarter" idx="12"/>
          </p:nvPr>
        </p:nvSpPr>
        <p:spPr bwMode="gray">
          <a:xfrm>
            <a:off x="8829675" y="2057185"/>
            <a:ext cx="2867026" cy="4111626"/>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04A1FA0A-CF2F-2D47-9760-01BB1540C97B}"/>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endParaRPr lang="en-US" dirty="0"/>
          </a:p>
        </p:txBody>
      </p:sp>
      <p:sp>
        <p:nvSpPr>
          <p:cNvPr id="11" name="Title 2">
            <a:extLst>
              <a:ext uri="{FF2B5EF4-FFF2-40B4-BE49-F238E27FC236}">
                <a16:creationId xmlns:a16="http://schemas.microsoft.com/office/drawing/2014/main" id="{F33D036D-3D4A-8040-BCBE-BB5197725432}"/>
              </a:ext>
            </a:extLst>
          </p:cNvPr>
          <p:cNvSpPr>
            <a:spLocks noGrp="1"/>
          </p:cNvSpPr>
          <p:nvPr>
            <p:ph type="title"/>
          </p:nvPr>
        </p:nvSpPr>
        <p:spPr>
          <a:xfrm>
            <a:off x="495300" y="575576"/>
            <a:ext cx="6426200" cy="429028"/>
          </a:xfrm>
        </p:spPr>
        <p:txBody>
          <a:bodyPr/>
          <a:lstStyle/>
          <a:p>
            <a:r>
              <a:rPr lang="en-US"/>
              <a:t>Click to edit Master title style</a:t>
            </a:r>
            <a:endParaRPr lang="en-US" dirty="0"/>
          </a:p>
        </p:txBody>
      </p:sp>
      <p:sp>
        <p:nvSpPr>
          <p:cNvPr id="13" name="Subtitle">
            <a:extLst>
              <a:ext uri="{FF2B5EF4-FFF2-40B4-BE49-F238E27FC236}">
                <a16:creationId xmlns:a16="http://schemas.microsoft.com/office/drawing/2014/main" id="{EB1DBC36-E9EE-6B4A-915A-898BDB514718}"/>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678435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userDrawn="1">
  <p:cSld name="Cutaway 1/3 Right Gun Metal">
    <p:spTree>
      <p:nvGrpSpPr>
        <p:cNvPr id="1" name=""/>
        <p:cNvGrpSpPr/>
        <p:nvPr/>
      </p:nvGrpSpPr>
      <p:grpSpPr>
        <a:xfrm>
          <a:off x="0" y="0"/>
          <a:ext cx="0" cy="0"/>
          <a:chOff x="0" y="0"/>
          <a:chExt cx="0" cy="0"/>
        </a:xfrm>
      </p:grpSpPr>
      <p:sp>
        <p:nvSpPr>
          <p:cNvPr id="9" name="Rectangle: Rounded Corners 18">
            <a:extLst>
              <a:ext uri="{FF2B5EF4-FFF2-40B4-BE49-F238E27FC236}">
                <a16:creationId xmlns:a16="http://schemas.microsoft.com/office/drawing/2014/main" id="{4D80D427-68E5-9F42-B2B3-61C71D73B8B7}"/>
              </a:ext>
            </a:extLst>
          </p:cNvPr>
          <p:cNvSpPr/>
          <p:nvPr userDrawn="1"/>
        </p:nvSpPr>
        <p:spPr bwMode="gray">
          <a:xfrm>
            <a:off x="8460293" y="-139701"/>
            <a:ext cx="3871407" cy="6499717"/>
          </a:xfrm>
          <a:prstGeom prst="roundRect">
            <a:avLst>
              <a:gd name="adj" fmla="val 1715"/>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1B4C3FE8-20F3-7E44-AD00-1F33931CBAD9}"/>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2">
            <a:extLst>
              <a:ext uri="{FF2B5EF4-FFF2-40B4-BE49-F238E27FC236}">
                <a16:creationId xmlns:a16="http://schemas.microsoft.com/office/drawing/2014/main" id="{2D490A05-760F-FB46-A3B4-D6021E3ECF32}"/>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endParaRPr lang="en-US" dirty="0"/>
          </a:p>
        </p:txBody>
      </p:sp>
      <p:sp>
        <p:nvSpPr>
          <p:cNvPr id="13" name="Title 2">
            <a:extLst>
              <a:ext uri="{FF2B5EF4-FFF2-40B4-BE49-F238E27FC236}">
                <a16:creationId xmlns:a16="http://schemas.microsoft.com/office/drawing/2014/main" id="{2ED1186A-D50F-8243-8D7A-E867F902FD7B}"/>
              </a:ext>
            </a:extLst>
          </p:cNvPr>
          <p:cNvSpPr>
            <a:spLocks noGrp="1"/>
          </p:cNvSpPr>
          <p:nvPr>
            <p:ph type="title"/>
          </p:nvPr>
        </p:nvSpPr>
        <p:spPr>
          <a:xfrm>
            <a:off x="495300" y="575576"/>
            <a:ext cx="6426200" cy="429028"/>
          </a:xfrm>
        </p:spPr>
        <p:txBody>
          <a:bodyPr/>
          <a:lstStyle/>
          <a:p>
            <a:r>
              <a:rPr lang="en-US"/>
              <a:t>Click to edit Master title style</a:t>
            </a:r>
            <a:endParaRPr lang="en-US" dirty="0"/>
          </a:p>
        </p:txBody>
      </p:sp>
      <p:sp>
        <p:nvSpPr>
          <p:cNvPr id="14" name="Subtitle">
            <a:extLst>
              <a:ext uri="{FF2B5EF4-FFF2-40B4-BE49-F238E27FC236}">
                <a16:creationId xmlns:a16="http://schemas.microsoft.com/office/drawing/2014/main" id="{C84BC659-49EB-FB4A-B7F5-2869ECB6F251}"/>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68572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userDrawn="1">
  <p:cSld name="Cutaway 1/3 Right Midnight">
    <p:spTree>
      <p:nvGrpSpPr>
        <p:cNvPr id="1" name=""/>
        <p:cNvGrpSpPr/>
        <p:nvPr/>
      </p:nvGrpSpPr>
      <p:grpSpPr>
        <a:xfrm>
          <a:off x="0" y="0"/>
          <a:ext cx="0" cy="0"/>
          <a:chOff x="0" y="0"/>
          <a:chExt cx="0" cy="0"/>
        </a:xfrm>
      </p:grpSpPr>
      <p:sp>
        <p:nvSpPr>
          <p:cNvPr id="14" name="Rectangle: Rounded Corners 18">
            <a:extLst>
              <a:ext uri="{FF2B5EF4-FFF2-40B4-BE49-F238E27FC236}">
                <a16:creationId xmlns:a16="http://schemas.microsoft.com/office/drawing/2014/main" id="{896A7325-403F-0A42-A6FF-B47615E6303B}"/>
              </a:ext>
            </a:extLst>
          </p:cNvPr>
          <p:cNvSpPr/>
          <p:nvPr userDrawn="1"/>
        </p:nvSpPr>
        <p:spPr bwMode="gray">
          <a:xfrm>
            <a:off x="8460293" y="-139701"/>
            <a:ext cx="3871407" cy="6499717"/>
          </a:xfrm>
          <a:prstGeom prst="roundRect">
            <a:avLst>
              <a:gd name="adj" fmla="val 1715"/>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5">
            <a:extLst>
              <a:ext uri="{FF2B5EF4-FFF2-40B4-BE49-F238E27FC236}">
                <a16:creationId xmlns:a16="http://schemas.microsoft.com/office/drawing/2014/main" id="{0C738791-B600-7943-B1A8-2D6A1C7FC535}"/>
              </a:ext>
            </a:extLst>
          </p:cNvPr>
          <p:cNvSpPr>
            <a:spLocks noGrp="1"/>
          </p:cNvSpPr>
          <p:nvPr>
            <p:ph type="body" sz="quarter" idx="12"/>
          </p:nvPr>
        </p:nvSpPr>
        <p:spPr bwMode="gray">
          <a:xfrm>
            <a:off x="8829675" y="2057185"/>
            <a:ext cx="2867026" cy="4111626"/>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46C7A33D-1FEE-434B-9F52-81E9A3C63B79}"/>
              </a:ext>
            </a:extLst>
          </p:cNvPr>
          <p:cNvSpPr>
            <a:spLocks noGrp="1"/>
          </p:cNvSpPr>
          <p:nvPr>
            <p:ph type="ftr" sz="quarter" idx="16"/>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endParaRPr lang="en-US" dirty="0"/>
          </a:p>
        </p:txBody>
      </p:sp>
      <p:sp>
        <p:nvSpPr>
          <p:cNvPr id="11" name="Title 2">
            <a:extLst>
              <a:ext uri="{FF2B5EF4-FFF2-40B4-BE49-F238E27FC236}">
                <a16:creationId xmlns:a16="http://schemas.microsoft.com/office/drawing/2014/main" id="{6F3B180F-7BB8-EC41-98C8-D5A4DD6762C8}"/>
              </a:ext>
            </a:extLst>
          </p:cNvPr>
          <p:cNvSpPr>
            <a:spLocks noGrp="1"/>
          </p:cNvSpPr>
          <p:nvPr>
            <p:ph type="title"/>
          </p:nvPr>
        </p:nvSpPr>
        <p:spPr>
          <a:xfrm>
            <a:off x="495300" y="575576"/>
            <a:ext cx="6426200" cy="429028"/>
          </a:xfrm>
        </p:spPr>
        <p:txBody>
          <a:bodyPr/>
          <a:lstStyle/>
          <a:p>
            <a:r>
              <a:rPr lang="en-US"/>
              <a:t>Click to edit Master title style</a:t>
            </a:r>
            <a:endParaRPr lang="en-US" dirty="0"/>
          </a:p>
        </p:txBody>
      </p:sp>
      <p:sp>
        <p:nvSpPr>
          <p:cNvPr id="13" name="Subtitle">
            <a:extLst>
              <a:ext uri="{FF2B5EF4-FFF2-40B4-BE49-F238E27FC236}">
                <a16:creationId xmlns:a16="http://schemas.microsoft.com/office/drawing/2014/main" id="{BC0FF016-5139-3B4B-B303-AFE23034ADD5}"/>
              </a:ext>
            </a:extLst>
          </p:cNvPr>
          <p:cNvSpPr>
            <a:spLocks noGrp="1"/>
          </p:cNvSpPr>
          <p:nvPr>
            <p:ph type="subTitle" idx="1"/>
          </p:nvPr>
        </p:nvSpPr>
        <p:spPr>
          <a:xfrm>
            <a:off x="494189" y="1088136"/>
            <a:ext cx="6426200" cy="236347"/>
          </a:xfrm>
          <a:prstGeom prst="rect">
            <a:avLst/>
          </a:prstGeom>
        </p:spPr>
        <p:txBody>
          <a:bodyPr wrap="square">
            <a:spAutoFit/>
          </a:bodyPr>
          <a:lstStyle>
            <a:lvl1pPr marL="0" indent="0" algn="l">
              <a:lnSpc>
                <a:spcPct val="96000"/>
              </a:lnSpc>
              <a:spcBef>
                <a:spcPts val="9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00985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9"/>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3E091B5-BFCD-4450-B65E-BD037B9E0C10}"/>
              </a:ext>
            </a:extLst>
          </p:cNvPr>
          <p:cNvSpPr>
            <a:spLocks noGrp="1"/>
          </p:cNvSpPr>
          <p:nvPr>
            <p:ph type="ftr" sz="quarter" idx="16"/>
          </p:nvPr>
        </p:nvSpPr>
        <p:spPr>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23FD9A0F-97F7-4850-8C6F-60BFF40BC6F0}"/>
              </a:ext>
            </a:extLst>
          </p:cNvPr>
          <p:cNvSpPr txBox="1"/>
          <p:nvPr userDrawn="1"/>
        </p:nvSpPr>
        <p:spPr>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2030816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0.xml><?xml version="1.0" encoding="utf-8"?>
<p:sldLayout xmlns:a="http://schemas.openxmlformats.org/drawingml/2006/main" xmlns:r="http://schemas.openxmlformats.org/officeDocument/2006/relationships" xmlns:p="http://schemas.openxmlformats.org/presentationml/2006/main" showMasterSp="0" preserve="1" userDrawn="1">
  <p:cSld name="Full Image, Title R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9069388" y="2557766"/>
            <a:ext cx="2627314" cy="1657338"/>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9069387" y="5034191"/>
            <a:ext cx="2627313"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endParaRPr lang="en-US" dirty="0"/>
          </a:p>
        </p:txBody>
      </p:sp>
      <p:sp>
        <p:nvSpPr>
          <p:cNvPr id="10" name="Title 1">
            <a:extLst>
              <a:ext uri="{FF2B5EF4-FFF2-40B4-BE49-F238E27FC236}">
                <a16:creationId xmlns:a16="http://schemas.microsoft.com/office/drawing/2014/main" id="{F2F733F4-FDC8-4D30-B7CF-F12D90AFBE39}"/>
              </a:ext>
            </a:extLst>
          </p:cNvPr>
          <p:cNvSpPr>
            <a:spLocks noGrp="1"/>
          </p:cNvSpPr>
          <p:nvPr>
            <p:ph type="title"/>
          </p:nvPr>
        </p:nvSpPr>
        <p:spPr bwMode="gray">
          <a:xfrm>
            <a:off x="9074292" y="1649323"/>
            <a:ext cx="2627313"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6" name="TextBox 5">
            <a:extLst>
              <a:ext uri="{FF2B5EF4-FFF2-40B4-BE49-F238E27FC236}">
                <a16:creationId xmlns:a16="http://schemas.microsoft.com/office/drawing/2014/main" id="{09D6CCF0-57C4-384B-B6F4-DBD59EA7DA3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728938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1.xml><?xml version="1.0" encoding="utf-8"?>
<p:sldLayout xmlns:a="http://schemas.openxmlformats.org/drawingml/2006/main" xmlns:r="http://schemas.openxmlformats.org/officeDocument/2006/relationships" xmlns:p="http://schemas.openxmlformats.org/presentationml/2006/main" showMasterSp="0" preserve="1" userDrawn="1">
  <p:cSld name="Full Image, Title Lef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2608263" cy="1657338"/>
          </a:xfrm>
          <a:prstGeom prst="rect">
            <a:avLst/>
          </a:prstGeom>
        </p:spPr>
        <p:txBody>
          <a:bodyPr anchor="t">
            <a:normAutofit/>
          </a:bodyPr>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C5D6C4BB-10B8-48B1-8A75-CB4C3C072DD2}"/>
              </a:ext>
            </a:extLst>
          </p:cNvPr>
          <p:cNvSpPr>
            <a:spLocks noGrp="1"/>
          </p:cNvSpPr>
          <p:nvPr>
            <p:ph type="ftr" sz="quarter" idx="16"/>
          </p:nvPr>
        </p:nvSpPr>
        <p:spPr>
          <a:xfrm>
            <a:off x="495300" y="6532895"/>
            <a:ext cx="260826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endParaRPr lang="en-US" dirty="0"/>
          </a:p>
        </p:txBody>
      </p:sp>
      <p:sp>
        <p:nvSpPr>
          <p:cNvPr id="2" name="Title 1">
            <a:extLst>
              <a:ext uri="{FF2B5EF4-FFF2-40B4-BE49-F238E27FC236}">
                <a16:creationId xmlns:a16="http://schemas.microsoft.com/office/drawing/2014/main" id="{32122FCF-2444-4089-9E65-51687ED4C279}"/>
              </a:ext>
            </a:extLst>
          </p:cNvPr>
          <p:cNvSpPr>
            <a:spLocks noGrp="1"/>
          </p:cNvSpPr>
          <p:nvPr>
            <p:ph type="title"/>
          </p:nvPr>
        </p:nvSpPr>
        <p:spPr>
          <a:xfrm>
            <a:off x="495300" y="3835007"/>
            <a:ext cx="2608262"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6" name="TextBox 5">
            <a:extLst>
              <a:ext uri="{FF2B5EF4-FFF2-40B4-BE49-F238E27FC236}">
                <a16:creationId xmlns:a16="http://schemas.microsoft.com/office/drawing/2014/main" id="{2967F99B-809C-A140-B160-DAEC57DB6B6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40297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2.xml><?xml version="1.0" encoding="utf-8"?>
<p:sldLayout xmlns:a="http://schemas.openxmlformats.org/drawingml/2006/main" xmlns:r="http://schemas.openxmlformats.org/officeDocument/2006/relationships" xmlns:p="http://schemas.openxmlformats.org/presentationml/2006/main" showMasterSp="0" preserve="1" userDrawn="1">
  <p:cSld name="Full Image with Titl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Media Web Symposium 2023</a:t>
            </a:r>
            <a:endParaRPr lang="en-US" dirty="0"/>
          </a:p>
        </p:txBody>
      </p:sp>
      <p:sp>
        <p:nvSpPr>
          <p:cNvPr id="5" name="Title 3">
            <a:extLst>
              <a:ext uri="{FF2B5EF4-FFF2-40B4-BE49-F238E27FC236}">
                <a16:creationId xmlns:a16="http://schemas.microsoft.com/office/drawing/2014/main" id="{FD4297B3-BF9D-4941-8E72-F600F3133AED}"/>
              </a:ext>
            </a:extLst>
          </p:cNvPr>
          <p:cNvSpPr>
            <a:spLocks noGrp="1"/>
          </p:cNvSpPr>
          <p:nvPr>
            <p:ph type="title"/>
          </p:nvPr>
        </p:nvSpPr>
        <p:spPr>
          <a:xfrm>
            <a:off x="495300" y="549415"/>
            <a:ext cx="11187112" cy="455189"/>
          </a:xfrm>
        </p:spPr>
        <p:txBody>
          <a:bodyPr/>
          <a:lstStyle>
            <a:lvl1pPr>
              <a:defRPr>
                <a:solidFill>
                  <a:schemeClr val="bg1"/>
                </a:solidFill>
              </a:defRPr>
            </a:lvl1pPr>
          </a:lstStyle>
          <a:p>
            <a:r>
              <a:rPr lang="en-US"/>
              <a:t>Click to edit Master title style</a:t>
            </a:r>
            <a:endParaRPr lang="en-US" dirty="0"/>
          </a:p>
        </p:txBody>
      </p:sp>
      <p:sp>
        <p:nvSpPr>
          <p:cNvPr id="6" name="Subtitle">
            <a:extLst>
              <a:ext uri="{FF2B5EF4-FFF2-40B4-BE49-F238E27FC236}">
                <a16:creationId xmlns:a16="http://schemas.microsoft.com/office/drawing/2014/main" id="{D3929FBC-1F16-4E08-85F8-A3FA3A68AE87}"/>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extBox 6">
            <a:extLst>
              <a:ext uri="{FF2B5EF4-FFF2-40B4-BE49-F238E27FC236}">
                <a16:creationId xmlns:a16="http://schemas.microsoft.com/office/drawing/2014/main" id="{DC89C629-A9B6-E647-8093-A390B13275C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618222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3.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Media Web Symposium 2023</a:t>
            </a:r>
            <a:endParaRPr lang="en-US" dirty="0"/>
          </a:p>
        </p:txBody>
      </p:sp>
      <p:sp>
        <p:nvSpPr>
          <p:cNvPr id="5" name="TextBox 4">
            <a:extLst>
              <a:ext uri="{FF2B5EF4-FFF2-40B4-BE49-F238E27FC236}">
                <a16:creationId xmlns:a16="http://schemas.microsoft.com/office/drawing/2014/main" id="{01F4AD81-1574-E14F-8F0D-32C28C3162C9}"/>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480527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Full Image with Takeaway_Whit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bg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A3AF58CE-3469-E745-820A-134FF84006C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93650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2_Full Image with Takeaway_Nicke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6">
              <a:lumMod val="40000"/>
              <a:lumOff val="60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solidFill>
                <a:latin typeface="+mn-lt"/>
                <a:ea typeface="+mn-ea"/>
                <a:cs typeface="+mn-cs"/>
              </a:defRPr>
            </a:lvl1pPr>
          </a:lstStyle>
          <a:p>
            <a:r>
              <a:rPr lang="en-US"/>
              <a:t>Media Web Symposium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8E411577-17FB-C649-9670-726F4CAE6C84}"/>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solidFill>
              </a:rPr>
              <a:t>Confidential – Qualcomm Technologies, Inc. and/or its affiliated companies – May Contain Trade Secrets</a:t>
            </a:r>
          </a:p>
        </p:txBody>
      </p:sp>
    </p:spTree>
    <p:extLst>
      <p:ext uri="{BB962C8B-B14F-4D97-AF65-F5344CB8AC3E}">
        <p14:creationId xmlns:p14="http://schemas.microsoft.com/office/powerpoint/2010/main" val="3642164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userDrawn="1">
  <p:cSld name="Full Image with Takeaway_Blu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2">
                    <a:lumMod val="40000"/>
                    <a:lumOff val="60000"/>
                  </a:schemeClr>
                </a:solidFill>
                <a:latin typeface="+mn-lt"/>
                <a:ea typeface="+mn-ea"/>
                <a:cs typeface="+mn-cs"/>
              </a:defRPr>
            </a:lvl1pPr>
          </a:lstStyle>
          <a:p>
            <a:r>
              <a:rPr lang="en-US"/>
              <a:t>Media Web Symposium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0E80D881-AF3F-E040-ACE4-6B37EF43041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566852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Full Image with Takeaway_Gunmetal">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accent5"/>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40000"/>
                    <a:lumOff val="60000"/>
                  </a:schemeClr>
                </a:solidFill>
                <a:latin typeface="+mn-lt"/>
                <a:ea typeface="+mn-ea"/>
                <a:cs typeface="+mn-cs"/>
              </a:defRPr>
            </a:lvl1pPr>
          </a:lstStyle>
          <a:p>
            <a:r>
              <a:rPr lang="en-US"/>
              <a:t>Media Web Symposium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FDF54461-5151-C04D-8440-C6989E1AC50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323047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Full Image with Takeaway_Midnigh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2" name="Rectangle 1">
            <a:extLst>
              <a:ext uri="{FF2B5EF4-FFF2-40B4-BE49-F238E27FC236}">
                <a16:creationId xmlns:a16="http://schemas.microsoft.com/office/drawing/2014/main" id="{5211BAF0-34A1-4D57-A786-BAA1BC440A10}"/>
              </a:ext>
            </a:extLst>
          </p:cNvPr>
          <p:cNvSpPr/>
          <p:nvPr userDrawn="1"/>
        </p:nvSpPr>
        <p:spPr>
          <a:xfrm>
            <a:off x="0" y="5264726"/>
            <a:ext cx="12192000" cy="1593273"/>
          </a:xfrm>
          <a:prstGeom prst="rect">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2">
            <a:extLst>
              <a:ext uri="{FF2B5EF4-FFF2-40B4-BE49-F238E27FC236}">
                <a16:creationId xmlns:a16="http://schemas.microsoft.com/office/drawing/2014/main" id="{41CB0C33-9F43-475D-A03E-9162B95F0D8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r>
              <a:rPr lang="en-US"/>
              <a:t>Media Web Symposium 2023</a:t>
            </a:r>
            <a:endParaRPr lang="en-US" dirty="0"/>
          </a:p>
        </p:txBody>
      </p:sp>
      <p:sp>
        <p:nvSpPr>
          <p:cNvPr id="5" name="Text Placeholder 29">
            <a:extLst>
              <a:ext uri="{FF2B5EF4-FFF2-40B4-BE49-F238E27FC236}">
                <a16:creationId xmlns:a16="http://schemas.microsoft.com/office/drawing/2014/main" id="{B0A87391-EF56-4E93-97BD-2A112DF4C068}"/>
              </a:ext>
            </a:extLst>
          </p:cNvPr>
          <p:cNvSpPr>
            <a:spLocks noGrp="1"/>
          </p:cNvSpPr>
          <p:nvPr>
            <p:ph type="body" sz="quarter" idx="15"/>
          </p:nvPr>
        </p:nvSpPr>
        <p:spPr bwMode="gray">
          <a:xfrm>
            <a:off x="495299" y="5607050"/>
            <a:ext cx="11186159" cy="846759"/>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787F20BE-385D-1546-8719-238B0EDC7B5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821265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Showcase Circle Dar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F160BF-8538-46BA-8FF8-A6466F42867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524" y="856"/>
            <a:ext cx="12188951" cy="6856285"/>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Media Web Symposium 2023</a:t>
            </a:r>
            <a:endParaRPr lang="en-US" dirty="0"/>
          </a:p>
        </p:txBody>
      </p:sp>
      <p:sp>
        <p:nvSpPr>
          <p:cNvPr id="5" name="Text Placeholder 4">
            <a:extLst>
              <a:ext uri="{FF2B5EF4-FFF2-40B4-BE49-F238E27FC236}">
                <a16:creationId xmlns:a16="http://schemas.microsoft.com/office/drawing/2014/main" id="{4AB9CF9E-9175-450B-AB3E-7D31F994FD23}"/>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6" name="Picture Placeholder 5">
            <a:extLst>
              <a:ext uri="{FF2B5EF4-FFF2-40B4-BE49-F238E27FC236}">
                <a16:creationId xmlns:a16="http://schemas.microsoft.com/office/drawing/2014/main" id="{EF3D35AC-624D-D544-AC29-93F242E72E1D}"/>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lumMod val="50000"/>
                  </a:schemeClr>
                </a:solidFill>
              </a:defRPr>
            </a:lvl1pPr>
          </a:lstStyle>
          <a:p>
            <a:r>
              <a:rPr lang="en-US" dirty="0"/>
              <a:t>Drop in showcase</a:t>
            </a:r>
            <a:br>
              <a:rPr lang="en-US" dirty="0"/>
            </a:br>
            <a:r>
              <a:rPr lang="en-US" dirty="0"/>
              <a:t>object here</a:t>
            </a:r>
          </a:p>
        </p:txBody>
      </p:sp>
      <p:sp>
        <p:nvSpPr>
          <p:cNvPr id="7" name="TextBox 6">
            <a:extLst>
              <a:ext uri="{FF2B5EF4-FFF2-40B4-BE49-F238E27FC236}">
                <a16:creationId xmlns:a16="http://schemas.microsoft.com/office/drawing/2014/main" id="{C2B1A7AF-F3D5-A247-8FE4-3EEB17DF0D5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40471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2803945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Showcase Square Dar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F160BF-8538-46BA-8FF8-A6466F428677}"/>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40000"/>
                    <a:lumOff val="60000"/>
                  </a:schemeClr>
                </a:solidFill>
              </a:defRPr>
            </a:lvl1pPr>
          </a:lstStyle>
          <a:p>
            <a:r>
              <a:rPr lang="en-US"/>
              <a:t>Media Web Symposium 2023</a:t>
            </a:r>
            <a:endParaRPr lang="en-US" dirty="0"/>
          </a:p>
        </p:txBody>
      </p:sp>
      <p:sp>
        <p:nvSpPr>
          <p:cNvPr id="6" name="Text Placeholder 4">
            <a:extLst>
              <a:ext uri="{FF2B5EF4-FFF2-40B4-BE49-F238E27FC236}">
                <a16:creationId xmlns:a16="http://schemas.microsoft.com/office/drawing/2014/main" id="{09292DE0-26C7-4618-80C9-C8186C225E2F}"/>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bg1"/>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5" name="Picture Placeholder 5">
            <a:extLst>
              <a:ext uri="{FF2B5EF4-FFF2-40B4-BE49-F238E27FC236}">
                <a16:creationId xmlns:a16="http://schemas.microsoft.com/office/drawing/2014/main" id="{7EC3A1C4-1BC3-884C-944A-7D0EE5819A5C}"/>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lumMod val="50000"/>
                  </a:schemeClr>
                </a:solidFill>
              </a:defRPr>
            </a:lvl1pPr>
          </a:lstStyle>
          <a:p>
            <a:r>
              <a:rPr lang="en-US" dirty="0"/>
              <a:t>Drop in showcase</a:t>
            </a:r>
            <a:br>
              <a:rPr lang="en-US" dirty="0"/>
            </a:br>
            <a:r>
              <a:rPr lang="en-US" dirty="0"/>
              <a:t>object here</a:t>
            </a:r>
          </a:p>
        </p:txBody>
      </p:sp>
      <p:sp>
        <p:nvSpPr>
          <p:cNvPr id="7" name="TextBox 6">
            <a:extLst>
              <a:ext uri="{FF2B5EF4-FFF2-40B4-BE49-F238E27FC236}">
                <a16:creationId xmlns:a16="http://schemas.microsoft.com/office/drawing/2014/main" id="{2CB94F15-8CAD-6B46-AB34-F89C3C2278B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785997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Showcase Circle L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DEEBBD2-7909-4CEC-B855-1082E0342233}"/>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Media Web Symposium 2023</a:t>
            </a:r>
            <a:endParaRPr lang="en-US" dirty="0"/>
          </a:p>
        </p:txBody>
      </p:sp>
      <p:sp>
        <p:nvSpPr>
          <p:cNvPr id="7" name="Text Placeholder 4">
            <a:extLst>
              <a:ext uri="{FF2B5EF4-FFF2-40B4-BE49-F238E27FC236}">
                <a16:creationId xmlns:a16="http://schemas.microsoft.com/office/drawing/2014/main" id="{562BC7C7-95C8-4A62-9ABD-E4235BE30AC6}"/>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6" name="Picture Placeholder 5">
            <a:extLst>
              <a:ext uri="{FF2B5EF4-FFF2-40B4-BE49-F238E27FC236}">
                <a16:creationId xmlns:a16="http://schemas.microsoft.com/office/drawing/2014/main" id="{F9B3A5FF-139D-764C-B3E9-7C291A5BE137}"/>
              </a:ext>
            </a:extLst>
          </p:cNvPr>
          <p:cNvSpPr>
            <a:spLocks noGrp="1"/>
          </p:cNvSpPr>
          <p:nvPr>
            <p:ph type="pic" sz="quarter" idx="24" hasCustomPrompt="1"/>
          </p:nvPr>
        </p:nvSpPr>
        <p:spPr>
          <a:xfrm>
            <a:off x="4225925" y="1830649"/>
            <a:ext cx="3740150" cy="3051705"/>
          </a:xfrm>
        </p:spPr>
        <p:txBody>
          <a:bodyPr anchor="ctr"/>
          <a:lstStyle>
            <a:lvl1pPr marL="0" indent="0" algn="ctr">
              <a:buFontTx/>
              <a:buNone/>
              <a:defRPr>
                <a:solidFill>
                  <a:schemeClr val="accent6"/>
                </a:solidFill>
              </a:defRPr>
            </a:lvl1pPr>
          </a:lstStyle>
          <a:p>
            <a:r>
              <a:rPr lang="en-US" dirty="0"/>
              <a:t>Drop in showcase</a:t>
            </a:r>
            <a:br>
              <a:rPr lang="en-US" dirty="0"/>
            </a:br>
            <a:r>
              <a:rPr lang="en-US" dirty="0"/>
              <a:t>object here</a:t>
            </a:r>
          </a:p>
        </p:txBody>
      </p:sp>
      <p:sp>
        <p:nvSpPr>
          <p:cNvPr id="8" name="TextBox 7">
            <a:extLst>
              <a:ext uri="{FF2B5EF4-FFF2-40B4-BE49-F238E27FC236}">
                <a16:creationId xmlns:a16="http://schemas.microsoft.com/office/drawing/2014/main" id="{C49EAFA4-AEE1-6C46-B6E5-72CA3FA3C5C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803351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Showcase Square L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DEEBBD2-7909-4CEC-B855-1082E0342233}"/>
              </a:ext>
            </a:extLst>
          </p:cNvPr>
          <p:cNvPicPr>
            <a:picLocks noChangeAspect="1"/>
          </p:cNvPicPr>
          <p:nvPr userDrawn="1"/>
        </p:nvPicPr>
        <p:blipFill>
          <a:blip r:embed="rId2">
            <a:extLst>
              <a:ext uri="{28A0092B-C50C-407E-A947-70E740481C1C}">
                <a14:useLocalDpi xmlns:a14="http://schemas.microsoft.com/office/drawing/2010/main" val="0"/>
              </a:ext>
            </a:extLst>
          </a:blip>
          <a:srcRect l="12" r="12"/>
          <a:stretch/>
        </p:blipFill>
        <p:spPr>
          <a:xfrm>
            <a:off x="1524" y="0"/>
            <a:ext cx="12188952" cy="6858000"/>
          </a:xfrm>
          <a:prstGeom prst="rect">
            <a:avLst/>
          </a:prstGeom>
        </p:spPr>
      </p:pic>
      <p:sp>
        <p:nvSpPr>
          <p:cNvPr id="3" name="Footer Placeholder 2">
            <a:extLst>
              <a:ext uri="{FF2B5EF4-FFF2-40B4-BE49-F238E27FC236}">
                <a16:creationId xmlns:a16="http://schemas.microsoft.com/office/drawing/2014/main" id="{D42A5ED1-711E-4714-9364-FF2967BF1063}"/>
              </a:ext>
            </a:extLst>
          </p:cNvPr>
          <p:cNvSpPr>
            <a:spLocks noGrp="1"/>
          </p:cNvSpPr>
          <p:nvPr>
            <p:ph type="ftr" sz="quarter" idx="10"/>
          </p:nvPr>
        </p:nvSpPr>
        <p:spPr/>
        <p:txBody>
          <a:bodyPr/>
          <a:lstStyle>
            <a:lvl1pPr>
              <a:defRPr>
                <a:solidFill>
                  <a:schemeClr val="accent5">
                    <a:lumMod val="60000"/>
                    <a:lumOff val="40000"/>
                  </a:schemeClr>
                </a:solidFill>
              </a:defRPr>
            </a:lvl1pPr>
          </a:lstStyle>
          <a:p>
            <a:r>
              <a:rPr lang="en-US"/>
              <a:t>Media Web Symposium 2023</a:t>
            </a:r>
            <a:endParaRPr lang="en-US" dirty="0"/>
          </a:p>
        </p:txBody>
      </p:sp>
      <p:sp>
        <p:nvSpPr>
          <p:cNvPr id="7" name="Text Placeholder 4">
            <a:extLst>
              <a:ext uri="{FF2B5EF4-FFF2-40B4-BE49-F238E27FC236}">
                <a16:creationId xmlns:a16="http://schemas.microsoft.com/office/drawing/2014/main" id="{6490BB97-1EFB-4144-9135-DB96B5FD7F51}"/>
              </a:ext>
            </a:extLst>
          </p:cNvPr>
          <p:cNvSpPr>
            <a:spLocks noGrp="1"/>
          </p:cNvSpPr>
          <p:nvPr>
            <p:ph type="body" sz="quarter" idx="23" hasCustomPrompt="1"/>
          </p:nvPr>
        </p:nvSpPr>
        <p:spPr>
          <a:xfrm>
            <a:off x="2409371" y="416471"/>
            <a:ext cx="7373258" cy="997706"/>
          </a:xfrm>
        </p:spPr>
        <p:txBody>
          <a:bodyPr anchor="b"/>
          <a:lstStyle>
            <a:lvl1pPr marL="0" indent="0" algn="ctr">
              <a:lnSpc>
                <a:spcPct val="95000"/>
              </a:lnSpc>
              <a:buNone/>
              <a:defRPr lang="en-US" sz="2800" b="0" kern="1200" spc="30" baseline="0" dirty="0">
                <a:solidFill>
                  <a:schemeClr val="tx2"/>
                </a:solidFill>
                <a:latin typeface="+mj-lt"/>
                <a:ea typeface="+mj-ea"/>
                <a:cs typeface="+mj-cs"/>
              </a:defRPr>
            </a:lvl1pPr>
            <a:lvl2pPr>
              <a:defRPr lang="en-US" sz="1800" kern="1200" baseline="0" dirty="0" smtClean="0">
                <a:solidFill>
                  <a:schemeClr val="tx1"/>
                </a:solidFill>
                <a:latin typeface="+mn-lt"/>
                <a:ea typeface="+mn-ea"/>
                <a:cs typeface="+mn-cs"/>
              </a:defRPr>
            </a:lvl2pPr>
            <a:lvl3pPr>
              <a:defRPr lang="en-US" sz="1800" kern="1200" baseline="0" dirty="0" smtClean="0">
                <a:solidFill>
                  <a:schemeClr val="tx1"/>
                </a:solidFill>
                <a:latin typeface="+mn-lt"/>
                <a:ea typeface="+mn-ea"/>
                <a:cs typeface="+mn-cs"/>
              </a:defRPr>
            </a:lvl3pPr>
            <a:lvl4pPr>
              <a:defRPr lang="en-US" sz="1800" kern="1200" baseline="0" dirty="0" smtClean="0">
                <a:solidFill>
                  <a:schemeClr val="tx1"/>
                </a:solidFill>
                <a:latin typeface="+mn-lt"/>
                <a:ea typeface="+mn-ea"/>
                <a:cs typeface="+mn-cs"/>
              </a:defRPr>
            </a:lvl4pPr>
            <a:lvl5pPr>
              <a:defRPr lang="en-US" sz="1800" kern="1200" baseline="0" dirty="0">
                <a:solidFill>
                  <a:schemeClr val="tx1"/>
                </a:solidFill>
                <a:latin typeface="+mn-lt"/>
                <a:ea typeface="+mn-ea"/>
                <a:cs typeface="+mn-cs"/>
              </a:defRPr>
            </a:lvl5pPr>
          </a:lstStyle>
          <a:p>
            <a:pPr lvl="0"/>
            <a:r>
              <a:rPr lang="en-US" dirty="0"/>
              <a:t>Click to edit Master title style</a:t>
            </a:r>
          </a:p>
        </p:txBody>
      </p:sp>
      <p:sp>
        <p:nvSpPr>
          <p:cNvPr id="6" name="Picture Placeholder 5">
            <a:extLst>
              <a:ext uri="{FF2B5EF4-FFF2-40B4-BE49-F238E27FC236}">
                <a16:creationId xmlns:a16="http://schemas.microsoft.com/office/drawing/2014/main" id="{D12ABD92-6C8C-9643-918B-330DAE4D14CE}"/>
              </a:ext>
            </a:extLst>
          </p:cNvPr>
          <p:cNvSpPr>
            <a:spLocks noGrp="1"/>
          </p:cNvSpPr>
          <p:nvPr>
            <p:ph type="pic" sz="quarter" idx="24" hasCustomPrompt="1"/>
          </p:nvPr>
        </p:nvSpPr>
        <p:spPr>
          <a:xfrm>
            <a:off x="3891643" y="1830648"/>
            <a:ext cx="4408714" cy="3051705"/>
          </a:xfrm>
        </p:spPr>
        <p:txBody>
          <a:bodyPr anchor="ctr"/>
          <a:lstStyle>
            <a:lvl1pPr marL="0" indent="0" algn="ctr">
              <a:buFontTx/>
              <a:buNone/>
              <a:defRPr>
                <a:solidFill>
                  <a:schemeClr val="accent6"/>
                </a:solidFill>
              </a:defRPr>
            </a:lvl1pPr>
          </a:lstStyle>
          <a:p>
            <a:r>
              <a:rPr lang="en-US" dirty="0"/>
              <a:t>Drop in showcase</a:t>
            </a:r>
            <a:br>
              <a:rPr lang="en-US" dirty="0"/>
            </a:br>
            <a:r>
              <a:rPr lang="en-US" dirty="0"/>
              <a:t>object here</a:t>
            </a:r>
          </a:p>
        </p:txBody>
      </p:sp>
      <p:sp>
        <p:nvSpPr>
          <p:cNvPr id="8" name="TextBox 7">
            <a:extLst>
              <a:ext uri="{FF2B5EF4-FFF2-40B4-BE49-F238E27FC236}">
                <a16:creationId xmlns:a16="http://schemas.microsoft.com/office/drawing/2014/main" id="{1956C6D9-5D4F-7341-B4D7-17E410105805}"/>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087820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3.xml><?xml version="1.0" encoding="utf-8"?>
<p:sldLayout xmlns:a="http://schemas.openxmlformats.org/drawingml/2006/main" xmlns:r="http://schemas.openxmlformats.org/officeDocument/2006/relationships" xmlns:p="http://schemas.openxmlformats.org/presentationml/2006/main" showMasterSp="0" preserve="1" userDrawn="1">
  <p:cSld name="Image Left White">
    <p:spTree>
      <p:nvGrpSpPr>
        <p:cNvPr id="1" name=""/>
        <p:cNvGrpSpPr/>
        <p:nvPr/>
      </p:nvGrpSpPr>
      <p:grpSpPr>
        <a:xfrm>
          <a:off x="0" y="0"/>
          <a:ext cx="0" cy="0"/>
          <a:chOff x="0" y="0"/>
          <a:chExt cx="0" cy="0"/>
        </a:xfrm>
      </p:grpSpPr>
      <p:sp>
        <p:nvSpPr>
          <p:cNvPr id="13" name="Rectangle: Rounded Corners 4">
            <a:extLst>
              <a:ext uri="{FF2B5EF4-FFF2-40B4-BE49-F238E27FC236}">
                <a16:creationId xmlns:a16="http://schemas.microsoft.com/office/drawing/2014/main" id="{C988A4B5-657E-A827-878F-6C41AF5B4316}"/>
              </a:ext>
            </a:extLst>
          </p:cNvPr>
          <p:cNvSpPr/>
          <p:nvPr userDrawn="1"/>
        </p:nvSpPr>
        <p:spPr bwMode="gray">
          <a:xfrm>
            <a:off x="7531546" y="-130877"/>
            <a:ext cx="4772673" cy="7115877"/>
          </a:xfrm>
          <a:prstGeom prst="roundRect">
            <a:avLst>
              <a:gd name="adj" fmla="val 2032"/>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2" cy="1245870"/>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endParaRPr lang="en-US" dirty="0"/>
          </a:p>
        </p:txBody>
      </p:sp>
      <p:sp>
        <p:nvSpPr>
          <p:cNvPr id="11" name="Footer Placeholder 2">
            <a:extLst>
              <a:ext uri="{FF2B5EF4-FFF2-40B4-BE49-F238E27FC236}">
                <a16:creationId xmlns:a16="http://schemas.microsoft.com/office/drawing/2014/main" id="{5D223FAD-8C90-4F07-856D-C7765F163648}"/>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3</a:t>
            </a:r>
            <a:endParaRPr lang="en-US" dirty="0"/>
          </a:p>
        </p:txBody>
      </p:sp>
      <p:sp>
        <p:nvSpPr>
          <p:cNvPr id="14" name="TextBox 13">
            <a:extLst>
              <a:ext uri="{FF2B5EF4-FFF2-40B4-BE49-F238E27FC236}">
                <a16:creationId xmlns:a16="http://schemas.microsoft.com/office/drawing/2014/main" id="{A3010EDA-BD94-443C-AE7B-15DA27CDA5F4}"/>
              </a:ext>
            </a:extLst>
          </p:cNvPr>
          <p:cNvSpPr txBox="1"/>
          <p:nvPr userDrawn="1"/>
        </p:nvSpPr>
        <p:spPr>
          <a:xfrm>
            <a:off x="8091774" y="6419726"/>
            <a:ext cx="286100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6">
                    <a:lumMod val="75000"/>
                  </a:schemeClr>
                </a:solidFill>
              </a:rPr>
              <a:t>Confidential – Qualcomm Technologies, Inc.</a:t>
            </a:r>
            <a:br>
              <a:rPr lang="en-US" dirty="0">
                <a:solidFill>
                  <a:schemeClr val="accent6">
                    <a:lumMod val="75000"/>
                  </a:schemeClr>
                </a:solidFill>
              </a:rPr>
            </a:br>
            <a:r>
              <a:rPr lang="en-US" dirty="0">
                <a:solidFill>
                  <a:schemeClr val="accent6">
                    <a:lumMod val="75000"/>
                  </a:schemeClr>
                </a:solidFill>
              </a:rPr>
              <a:t>and/or its affiliated companies – May Contain Trade Secrets</a:t>
            </a:r>
          </a:p>
        </p:txBody>
      </p:sp>
      <p:sp>
        <p:nvSpPr>
          <p:cNvPr id="15" name="TextBox 14">
            <a:extLst>
              <a:ext uri="{FF2B5EF4-FFF2-40B4-BE49-F238E27FC236}">
                <a16:creationId xmlns:a16="http://schemas.microsoft.com/office/drawing/2014/main" id="{BD71D3C4-2064-78F0-B159-598E25F73191}"/>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Tree>
    <p:extLst>
      <p:ext uri="{BB962C8B-B14F-4D97-AF65-F5344CB8AC3E}">
        <p14:creationId xmlns:p14="http://schemas.microsoft.com/office/powerpoint/2010/main" val="3358561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4.xml><?xml version="1.0" encoding="utf-8"?>
<p:sldLayout xmlns:a="http://schemas.openxmlformats.org/drawingml/2006/main" xmlns:r="http://schemas.openxmlformats.org/officeDocument/2006/relationships" xmlns:p="http://schemas.openxmlformats.org/presentationml/2006/main" showMasterSp="0" preserve="1" userDrawn="1">
  <p:cSld name="Image Lef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5DDBB63F-7729-5148-8CF0-A642711E1939}"/>
              </a:ext>
            </a:extLst>
          </p:cNvPr>
          <p:cNvSpPr/>
          <p:nvPr userDrawn="1"/>
        </p:nvSpPr>
        <p:spPr bwMode="gray">
          <a:xfrm>
            <a:off x="7531546" y="-130877"/>
            <a:ext cx="4772673" cy="7115877"/>
          </a:xfrm>
          <a:prstGeom prst="roundRect">
            <a:avLst>
              <a:gd name="adj" fmla="val 2032"/>
            </a:avLst>
          </a:prstGeom>
          <a:solidFill>
            <a:schemeClr val="accent6">
              <a:lumMod val="40000"/>
              <a:lumOff val="6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5D5512B1-49FB-4D22-8991-A399C53BF2F7}"/>
              </a:ext>
            </a:extLst>
          </p:cNvPr>
          <p:cNvSpPr>
            <a:spLocks noGrp="1"/>
          </p:cNvSpPr>
          <p:nvPr>
            <p:ph type="title"/>
          </p:nvPr>
        </p:nvSpPr>
        <p:spPr>
          <a:xfrm>
            <a:off x="8108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
        <p:nvSpPr>
          <p:cNvPr id="11" name="TextBox 10">
            <a:extLst>
              <a:ext uri="{FF2B5EF4-FFF2-40B4-BE49-F238E27FC236}">
                <a16:creationId xmlns:a16="http://schemas.microsoft.com/office/drawing/2014/main" id="{C1C0E1CE-1768-4605-B5A2-67F3195DD6DE}"/>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75000"/>
                </a:schemeClr>
              </a:solidFill>
              <a:latin typeface="+mn-lt"/>
              <a:ea typeface="+mn-ea"/>
              <a:cs typeface="+mn-cs"/>
            </a:endParaRPr>
          </a:p>
        </p:txBody>
      </p:sp>
      <p:sp>
        <p:nvSpPr>
          <p:cNvPr id="14" name="Footer Placeholder 2">
            <a:extLst>
              <a:ext uri="{FF2B5EF4-FFF2-40B4-BE49-F238E27FC236}">
                <a16:creationId xmlns:a16="http://schemas.microsoft.com/office/drawing/2014/main" id="{DB0D856A-1CCF-412C-8CCA-E1147546037E}"/>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3</a:t>
            </a:r>
            <a:endParaRPr lang="en-US" dirty="0"/>
          </a:p>
        </p:txBody>
      </p:sp>
      <p:sp>
        <p:nvSpPr>
          <p:cNvPr id="15" name="TextBox 14">
            <a:extLst>
              <a:ext uri="{FF2B5EF4-FFF2-40B4-BE49-F238E27FC236}">
                <a16:creationId xmlns:a16="http://schemas.microsoft.com/office/drawing/2014/main" id="{6A103163-FD6E-454C-AE45-8AD32972CE49}"/>
              </a:ext>
            </a:extLst>
          </p:cNvPr>
          <p:cNvSpPr txBox="1"/>
          <p:nvPr userDrawn="1"/>
        </p:nvSpPr>
        <p:spPr>
          <a:xfrm>
            <a:off x="8091774" y="6419726"/>
            <a:ext cx="286100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6">
                    <a:lumMod val="75000"/>
                  </a:schemeClr>
                </a:solidFill>
              </a:rPr>
              <a:t>Confidential – Qualcomm Technologies, Inc.</a:t>
            </a:r>
            <a:br>
              <a:rPr lang="en-US" dirty="0">
                <a:solidFill>
                  <a:schemeClr val="accent6">
                    <a:lumMod val="75000"/>
                  </a:schemeClr>
                </a:solidFill>
              </a:rPr>
            </a:br>
            <a:r>
              <a:rPr lang="en-US" dirty="0">
                <a:solidFill>
                  <a:schemeClr val="accent6">
                    <a:lumMod val="75000"/>
                  </a:schemeClr>
                </a:solidFill>
              </a:rPr>
              <a:t>and/or its affiliated companies – May Contain Trade Secrets</a:t>
            </a:r>
          </a:p>
        </p:txBody>
      </p:sp>
    </p:spTree>
    <p:extLst>
      <p:ext uri="{BB962C8B-B14F-4D97-AF65-F5344CB8AC3E}">
        <p14:creationId xmlns:p14="http://schemas.microsoft.com/office/powerpoint/2010/main" val="563732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5.xml><?xml version="1.0" encoding="utf-8"?>
<p:sldLayout xmlns:a="http://schemas.openxmlformats.org/drawingml/2006/main" xmlns:r="http://schemas.openxmlformats.org/officeDocument/2006/relationships" xmlns:p="http://schemas.openxmlformats.org/presentationml/2006/main" showMasterSp="0" preserve="1" userDrawn="1">
  <p:cSld name="Image Left Blue">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Rounded Corners 4">
            <a:extLst>
              <a:ext uri="{FF2B5EF4-FFF2-40B4-BE49-F238E27FC236}">
                <a16:creationId xmlns:a16="http://schemas.microsoft.com/office/drawing/2014/main" id="{36D6BE73-B9C8-47A2-984C-E200BA96DCB3}"/>
              </a:ext>
            </a:extLst>
          </p:cNvPr>
          <p:cNvSpPr/>
          <p:nvPr/>
        </p:nvSpPr>
        <p:spPr bwMode="gray">
          <a:xfrm>
            <a:off x="7531545" y="-130877"/>
            <a:ext cx="4772673" cy="7115877"/>
          </a:xfrm>
          <a:prstGeom prst="roundRect">
            <a:avLst>
              <a:gd name="adj" fmla="val 2032"/>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2" name="Title 1">
            <a:extLst>
              <a:ext uri="{FF2B5EF4-FFF2-40B4-BE49-F238E27FC236}">
                <a16:creationId xmlns:a16="http://schemas.microsoft.com/office/drawing/2014/main" id="{A7476AD6-6474-493F-AC7C-EB97BA7C71BE}"/>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62898738-F56E-4F64-8859-882DC223BFEE}"/>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2">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2">
                  <a:lumMod val="40000"/>
                  <a:lumOff val="60000"/>
                </a:schemeClr>
              </a:solidFill>
              <a:latin typeface="+mn-lt"/>
              <a:ea typeface="+mn-ea"/>
              <a:cs typeface="+mn-cs"/>
            </a:endParaRPr>
          </a:p>
        </p:txBody>
      </p:sp>
      <p:sp>
        <p:nvSpPr>
          <p:cNvPr id="13" name="Footer Placeholder 2">
            <a:extLst>
              <a:ext uri="{FF2B5EF4-FFF2-40B4-BE49-F238E27FC236}">
                <a16:creationId xmlns:a16="http://schemas.microsoft.com/office/drawing/2014/main" id="{97866D95-F0A8-46B5-9FDE-7A9D5D88C303}"/>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endParaRPr lang="en-US" dirty="0"/>
          </a:p>
        </p:txBody>
      </p:sp>
      <p:sp>
        <p:nvSpPr>
          <p:cNvPr id="14" name="TextBox 13">
            <a:extLst>
              <a:ext uri="{FF2B5EF4-FFF2-40B4-BE49-F238E27FC236}">
                <a16:creationId xmlns:a16="http://schemas.microsoft.com/office/drawing/2014/main" id="{D4CB5266-98D8-4025-A040-1787B6793DF2}"/>
              </a:ext>
            </a:extLst>
          </p:cNvPr>
          <p:cNvSpPr txBox="1"/>
          <p:nvPr userDrawn="1"/>
        </p:nvSpPr>
        <p:spPr>
          <a:xfrm>
            <a:off x="8091774" y="6419726"/>
            <a:ext cx="286100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2">
                    <a:lumMod val="40000"/>
                    <a:lumOff val="60000"/>
                  </a:schemeClr>
                </a:solidFill>
              </a:rPr>
              <a:t>Confidential – Qualcomm Technologies, Inc.</a:t>
            </a:r>
            <a:br>
              <a:rPr lang="en-US" dirty="0">
                <a:solidFill>
                  <a:schemeClr val="accent2">
                    <a:lumMod val="40000"/>
                    <a:lumOff val="60000"/>
                  </a:schemeClr>
                </a:solidFill>
              </a:rPr>
            </a:br>
            <a:r>
              <a:rPr lang="en-US" dirty="0">
                <a:solidFill>
                  <a:schemeClr val="accent2">
                    <a:lumMod val="40000"/>
                    <a:lumOff val="60000"/>
                  </a:schemeClr>
                </a:solidFill>
              </a:rPr>
              <a:t>and/or its affiliated companies – May Contain Trade Secrets</a:t>
            </a:r>
          </a:p>
        </p:txBody>
      </p:sp>
    </p:spTree>
    <p:extLst>
      <p:ext uri="{BB962C8B-B14F-4D97-AF65-F5344CB8AC3E}">
        <p14:creationId xmlns:p14="http://schemas.microsoft.com/office/powerpoint/2010/main" val="371861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6.xml><?xml version="1.0" encoding="utf-8"?>
<p:sldLayout xmlns:a="http://schemas.openxmlformats.org/drawingml/2006/main" xmlns:r="http://schemas.openxmlformats.org/officeDocument/2006/relationships" xmlns:p="http://schemas.openxmlformats.org/presentationml/2006/main" showMasterSp="0" preserve="1" userDrawn="1">
  <p:cSld name="Image Lef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2" name="Rectangle: Rounded Corners 4">
            <a:extLst>
              <a:ext uri="{FF2B5EF4-FFF2-40B4-BE49-F238E27FC236}">
                <a16:creationId xmlns:a16="http://schemas.microsoft.com/office/drawing/2014/main" id="{F94A11C6-9E7D-344C-A93D-5B21026B69C0}"/>
              </a:ext>
            </a:extLst>
          </p:cNvPr>
          <p:cNvSpPr/>
          <p:nvPr userDrawn="1"/>
        </p:nvSpPr>
        <p:spPr bwMode="gray">
          <a:xfrm>
            <a:off x="7531546" y="-130877"/>
            <a:ext cx="4772673" cy="7115877"/>
          </a:xfrm>
          <a:prstGeom prst="roundRect">
            <a:avLst>
              <a:gd name="adj" fmla="val 2032"/>
            </a:avLst>
          </a:prstGeom>
          <a:solidFill>
            <a:schemeClr val="accent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8DC30169-2852-41FD-A7C3-4826B66A052C}"/>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B87A111C-26A3-4E5F-A166-2BEF32FA27C9}"/>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6">
                  <a:lumMod val="40000"/>
                  <a:lumOff val="60000"/>
                </a:schemeClr>
              </a:solidFill>
              <a:latin typeface="+mn-lt"/>
              <a:ea typeface="+mn-ea"/>
              <a:cs typeface="+mn-cs"/>
            </a:endParaRPr>
          </a:p>
        </p:txBody>
      </p:sp>
      <p:sp>
        <p:nvSpPr>
          <p:cNvPr id="14" name="Footer Placeholder 2">
            <a:extLst>
              <a:ext uri="{FF2B5EF4-FFF2-40B4-BE49-F238E27FC236}">
                <a16:creationId xmlns:a16="http://schemas.microsoft.com/office/drawing/2014/main" id="{178F5B55-13E7-4483-B3E9-017D9BC0E304}"/>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40000"/>
                    <a:lumOff val="60000"/>
                  </a:schemeClr>
                </a:solidFill>
              </a:defRPr>
            </a:lvl1pPr>
          </a:lstStyle>
          <a:p>
            <a:r>
              <a:rPr lang="en-US"/>
              <a:t>Media Web Symposium 2023</a:t>
            </a:r>
            <a:endParaRPr lang="en-US" dirty="0"/>
          </a:p>
        </p:txBody>
      </p:sp>
      <p:sp>
        <p:nvSpPr>
          <p:cNvPr id="16" name="TextBox 15">
            <a:extLst>
              <a:ext uri="{FF2B5EF4-FFF2-40B4-BE49-F238E27FC236}">
                <a16:creationId xmlns:a16="http://schemas.microsoft.com/office/drawing/2014/main" id="{B4633CCB-0D5C-4030-9B97-6F7EFE02C69F}"/>
              </a:ext>
            </a:extLst>
          </p:cNvPr>
          <p:cNvSpPr txBox="1"/>
          <p:nvPr userDrawn="1"/>
        </p:nvSpPr>
        <p:spPr>
          <a:xfrm>
            <a:off x="8091774" y="6419726"/>
            <a:ext cx="286100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6">
                    <a:lumMod val="40000"/>
                    <a:lumOff val="60000"/>
                  </a:schemeClr>
                </a:solidFill>
              </a:rPr>
              <a:t>Confidential – Qualcomm Technologies, Inc.</a:t>
            </a:r>
            <a:br>
              <a:rPr lang="en-US" dirty="0">
                <a:solidFill>
                  <a:schemeClr val="accent6">
                    <a:lumMod val="40000"/>
                    <a:lumOff val="60000"/>
                  </a:schemeClr>
                </a:solidFill>
              </a:rPr>
            </a:br>
            <a:r>
              <a:rPr lang="en-US" dirty="0">
                <a:solidFill>
                  <a:schemeClr val="accent6">
                    <a:lumMod val="40000"/>
                    <a:lumOff val="60000"/>
                  </a:schemeClr>
                </a:solidFill>
              </a:rPr>
              <a:t>and/or its affiliated companies – May Contain Trade Secrets</a:t>
            </a:r>
          </a:p>
        </p:txBody>
      </p:sp>
    </p:spTree>
    <p:extLst>
      <p:ext uri="{BB962C8B-B14F-4D97-AF65-F5344CB8AC3E}">
        <p14:creationId xmlns:p14="http://schemas.microsoft.com/office/powerpoint/2010/main" val="165419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7.xml><?xml version="1.0" encoding="utf-8"?>
<p:sldLayout xmlns:a="http://schemas.openxmlformats.org/drawingml/2006/main" xmlns:r="http://schemas.openxmlformats.org/officeDocument/2006/relationships" xmlns:p="http://schemas.openxmlformats.org/presentationml/2006/main" showMasterSp="0"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3" name="Rectangle: Rounded Corners 4">
            <a:extLst>
              <a:ext uri="{FF2B5EF4-FFF2-40B4-BE49-F238E27FC236}">
                <a16:creationId xmlns:a16="http://schemas.microsoft.com/office/drawing/2014/main" id="{57AE534B-214E-4D43-850B-177FC0B91999}"/>
              </a:ext>
            </a:extLst>
          </p:cNvPr>
          <p:cNvSpPr/>
          <p:nvPr userDrawn="1"/>
        </p:nvSpPr>
        <p:spPr bwMode="gray">
          <a:xfrm>
            <a:off x="7531546" y="-130877"/>
            <a:ext cx="4772673" cy="7115877"/>
          </a:xfrm>
          <a:prstGeom prst="roundRect">
            <a:avLst>
              <a:gd name="adj" fmla="val 2032"/>
            </a:avLst>
          </a:prstGeom>
          <a:solidFill>
            <a:schemeClr val="tx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243584"/>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904BA5AF-15E4-480F-AA8E-0691DD39DFC8}"/>
              </a:ext>
            </a:extLst>
          </p:cNvPr>
          <p:cNvSpPr>
            <a:spLocks noGrp="1"/>
          </p:cNvSpPr>
          <p:nvPr>
            <p:ph type="ftr" sz="quarter" idx="16"/>
          </p:nvPr>
        </p:nvSpPr>
        <p:spPr>
          <a:xfrm>
            <a:off x="8103394" y="6193534"/>
            <a:ext cx="3574222"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endParaRPr lang="en-US" dirty="0"/>
          </a:p>
        </p:txBody>
      </p:sp>
      <p:sp>
        <p:nvSpPr>
          <p:cNvPr id="11" name="TextBox 10">
            <a:extLst>
              <a:ext uri="{FF2B5EF4-FFF2-40B4-BE49-F238E27FC236}">
                <a16:creationId xmlns:a16="http://schemas.microsoft.com/office/drawing/2014/main" id="{6162E27C-1987-40F5-A769-FF9A3748939D}"/>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40000"/>
                    <a:lumOff val="6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40000"/>
                  <a:lumOff val="60000"/>
                </a:schemeClr>
              </a:solidFill>
              <a:latin typeface="+mn-lt"/>
              <a:ea typeface="+mn-ea"/>
              <a:cs typeface="+mn-cs"/>
            </a:endParaRPr>
          </a:p>
        </p:txBody>
      </p:sp>
      <p:sp>
        <p:nvSpPr>
          <p:cNvPr id="14" name="TextBox 13">
            <a:extLst>
              <a:ext uri="{FF2B5EF4-FFF2-40B4-BE49-F238E27FC236}">
                <a16:creationId xmlns:a16="http://schemas.microsoft.com/office/drawing/2014/main" id="{812B847A-F98E-4732-BDC9-A85DC2ED67AA}"/>
              </a:ext>
            </a:extLst>
          </p:cNvPr>
          <p:cNvSpPr txBox="1"/>
          <p:nvPr userDrawn="1"/>
        </p:nvSpPr>
        <p:spPr>
          <a:xfrm>
            <a:off x="8091774" y="6419726"/>
            <a:ext cx="2861002"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5">
                    <a:lumMod val="40000"/>
                    <a:lumOff val="60000"/>
                  </a:schemeClr>
                </a:solidFill>
              </a:rPr>
              <a:t>Confidential – Qualcomm Technologies, Inc.</a:t>
            </a:r>
            <a:br>
              <a:rPr lang="en-US" dirty="0">
                <a:solidFill>
                  <a:schemeClr val="accent5">
                    <a:lumMod val="40000"/>
                    <a:lumOff val="60000"/>
                  </a:schemeClr>
                </a:solidFill>
              </a:rPr>
            </a:br>
            <a:r>
              <a:rPr lang="en-US" dirty="0">
                <a:solidFill>
                  <a:schemeClr val="accent5">
                    <a:lumMod val="40000"/>
                    <a:lumOff val="60000"/>
                  </a:schemeClr>
                </a:solidFill>
              </a:rPr>
              <a:t>and/or its affiliated companies – May Contain Trade Secrets</a:t>
            </a:r>
          </a:p>
        </p:txBody>
      </p:sp>
    </p:spTree>
    <p:extLst>
      <p:ext uri="{BB962C8B-B14F-4D97-AF65-F5344CB8AC3E}">
        <p14:creationId xmlns:p14="http://schemas.microsoft.com/office/powerpoint/2010/main" val="982175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Image Right Whit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3</a:t>
            </a:r>
            <a:endParaRPr lang="en-US" dirty="0"/>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356398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10" name="Rectangle: Rounded Corners 13">
            <a:extLst>
              <a:ext uri="{FF2B5EF4-FFF2-40B4-BE49-F238E27FC236}">
                <a16:creationId xmlns:a16="http://schemas.microsoft.com/office/drawing/2014/main" id="{1C4B26C0-2A61-AB46-AC7C-B3B9B1793936}"/>
              </a:ext>
            </a:extLst>
          </p:cNvPr>
          <p:cNvSpPr/>
          <p:nvPr userDrawn="1"/>
        </p:nvSpPr>
        <p:spPr bwMode="gray">
          <a:xfrm>
            <a:off x="-152400" y="-139700"/>
            <a:ext cx="4810774" cy="7150100"/>
          </a:xfrm>
          <a:prstGeom prst="roundRect">
            <a:avLst>
              <a:gd name="adj" fmla="val 1711"/>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600">
                <a:solidFill>
                  <a:schemeClr val="tx2"/>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3</a:t>
            </a:r>
            <a:endParaRPr lang="en-US" dirty="0"/>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3835007"/>
            <a:ext cx="3574220" cy="749692"/>
          </a:xfrm>
        </p:spPr>
        <p:txBody>
          <a:bodyPr wrap="square">
            <a:spAutoFit/>
          </a:bodyPr>
          <a:lstStyle>
            <a:lvl1pPr>
              <a:lnSpc>
                <a:spcPct val="87000"/>
              </a:lnSpc>
              <a:defRPr sz="2800">
                <a:solidFill>
                  <a:schemeClr val="tx2"/>
                </a:solidFill>
              </a:defRPr>
            </a:lvl1pPr>
          </a:lstStyle>
          <a:p>
            <a:r>
              <a:rPr lang="en-US"/>
              <a:t>Click to edit Master title style</a:t>
            </a:r>
          </a:p>
        </p:txBody>
      </p:sp>
    </p:spTree>
    <p:extLst>
      <p:ext uri="{BB962C8B-B14F-4D97-AF65-F5344CB8AC3E}">
        <p14:creationId xmlns:p14="http://schemas.microsoft.com/office/powerpoint/2010/main" val="4175433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mage Lef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tx2"/>
              </a:gs>
              <a:gs pos="100000">
                <a:srgbClr val="0610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57338"/>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800">
                <a:solidFill>
                  <a:schemeClr val="bg1"/>
                </a:solidFill>
              </a:defRPr>
            </a:lvl4pPr>
            <a:lvl5pPr marL="0" indent="0">
              <a:lnSpc>
                <a:spcPct val="107000"/>
              </a:lnSpc>
              <a:spcBef>
                <a:spcPts val="1200"/>
              </a:spcBef>
              <a:buFont typeface="Arial" panose="020B0604020202020204" pitchFamily="34" charset="0"/>
              <a:buNone/>
              <a:defRPr sz="28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9" name="Footer Placeholder 2">
            <a:extLst>
              <a:ext uri="{FF2B5EF4-FFF2-40B4-BE49-F238E27FC236}">
                <a16:creationId xmlns:a16="http://schemas.microsoft.com/office/drawing/2014/main" id="{F11DEBD1-5919-4686-9452-739A6D1692D0}"/>
              </a:ext>
            </a:extLst>
          </p:cNvPr>
          <p:cNvSpPr>
            <a:spLocks noGrp="1"/>
          </p:cNvSpPr>
          <p:nvPr>
            <p:ph type="ftr" sz="quarter" idx="16"/>
          </p:nvPr>
        </p:nvSpPr>
        <p:spPr bwMode="gray">
          <a:xfrm>
            <a:off x="8103394" y="6532895"/>
            <a:ext cx="32918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11" name="TextBox 10">
            <a:extLst>
              <a:ext uri="{FF2B5EF4-FFF2-40B4-BE49-F238E27FC236}">
                <a16:creationId xmlns:a16="http://schemas.microsoft.com/office/drawing/2014/main" id="{435DC34B-0DF9-44EF-8844-6F6CC8EEFC02}"/>
              </a:ext>
            </a:extLst>
          </p:cNvPr>
          <p:cNvSpPr txBox="1"/>
          <p:nvPr userDrawn="1"/>
        </p:nvSpPr>
        <p:spPr bwMode="gray">
          <a:xfrm>
            <a:off x="11571666" y="6513829"/>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10" name="Title 1">
            <a:extLst>
              <a:ext uri="{FF2B5EF4-FFF2-40B4-BE49-F238E27FC236}">
                <a16:creationId xmlns:a16="http://schemas.microsoft.com/office/drawing/2014/main" id="{F8B30772-61E4-4188-8773-0B3D2EF52290}"/>
              </a:ext>
            </a:extLst>
          </p:cNvPr>
          <p:cNvSpPr>
            <a:spLocks noGrp="1"/>
          </p:cNvSpPr>
          <p:nvPr>
            <p:ph type="title"/>
          </p:nvPr>
        </p:nvSpPr>
        <p:spPr bwMode="gray">
          <a:xfrm>
            <a:off x="8108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177584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4" name="Rectangle: Rounded Corners 13">
            <a:extLst>
              <a:ext uri="{FF2B5EF4-FFF2-40B4-BE49-F238E27FC236}">
                <a16:creationId xmlns:a16="http://schemas.microsoft.com/office/drawing/2014/main" id="{2C4F80DE-5D56-47D8-8FA8-D6E5D8B85FA8}"/>
              </a:ext>
            </a:extLst>
          </p:cNvPr>
          <p:cNvSpPr/>
          <p:nvPr userDrawn="1"/>
        </p:nvSpPr>
        <p:spPr bwMode="gray">
          <a:xfrm>
            <a:off x="-152400" y="-139700"/>
            <a:ext cx="4810774" cy="7150100"/>
          </a:xfrm>
          <a:prstGeom prst="roundRect">
            <a:avLst>
              <a:gd name="adj" fmla="val 1711"/>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endParaRPr lang="en-US" dirty="0"/>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396464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0" name="Rectangle: Rounded Corners 13">
            <a:extLst>
              <a:ext uri="{FF2B5EF4-FFF2-40B4-BE49-F238E27FC236}">
                <a16:creationId xmlns:a16="http://schemas.microsoft.com/office/drawing/2014/main" id="{585D67CF-1E31-BE4A-A4CA-ED13AC837827}"/>
              </a:ext>
            </a:extLst>
          </p:cNvPr>
          <p:cNvSpPr/>
          <p:nvPr userDrawn="1"/>
        </p:nvSpPr>
        <p:spPr bwMode="gray">
          <a:xfrm>
            <a:off x="-152400" y="-139700"/>
            <a:ext cx="4810774" cy="7150100"/>
          </a:xfrm>
          <a:prstGeom prst="roundRect">
            <a:avLst>
              <a:gd name="adj" fmla="val 1711"/>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40000"/>
                    <a:lumOff val="60000"/>
                  </a:schemeClr>
                </a:solidFill>
              </a:defRPr>
            </a:lvl1pPr>
          </a:lstStyle>
          <a:p>
            <a:r>
              <a:rPr lang="en-US"/>
              <a:t>Media Web Symposium 2023</a:t>
            </a:r>
            <a:endParaRPr lang="en-US" dirty="0"/>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017039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Image Right Midn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11" name="Rectangle: Rounded Corners 13">
            <a:extLst>
              <a:ext uri="{FF2B5EF4-FFF2-40B4-BE49-F238E27FC236}">
                <a16:creationId xmlns:a16="http://schemas.microsoft.com/office/drawing/2014/main" id="{41816CD1-1BB7-B443-8FFC-B0DBA0DF4495}"/>
              </a:ext>
            </a:extLst>
          </p:cNvPr>
          <p:cNvSpPr/>
          <p:nvPr userDrawn="1"/>
        </p:nvSpPr>
        <p:spPr bwMode="gray">
          <a:xfrm>
            <a:off x="-152400" y="-139700"/>
            <a:ext cx="4810774" cy="7150100"/>
          </a:xfrm>
          <a:prstGeom prst="roundRect">
            <a:avLst>
              <a:gd name="adj" fmla="val 1711"/>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endParaRPr lang="en-US" dirty="0"/>
          </a:p>
        </p:txBody>
      </p:sp>
      <p:sp>
        <p:nvSpPr>
          <p:cNvPr id="9" name="Title 1">
            <a:extLst>
              <a:ext uri="{FF2B5EF4-FFF2-40B4-BE49-F238E27FC236}">
                <a16:creationId xmlns:a16="http://schemas.microsoft.com/office/drawing/2014/main" id="{F61C4DE6-E5D7-49BF-BE1D-0EC8FCDC68D1}"/>
              </a:ext>
            </a:extLst>
          </p:cNvPr>
          <p:cNvSpPr>
            <a:spLocks noGrp="1"/>
          </p:cNvSpPr>
          <p:nvPr>
            <p:ph type="title"/>
          </p:nvPr>
        </p:nvSpPr>
        <p:spPr bwMode="gray">
          <a:xfrm>
            <a:off x="495300" y="3835007"/>
            <a:ext cx="3574220" cy="749692"/>
          </a:xfrm>
        </p:spPr>
        <p:txBody>
          <a:bodyPr wrap="square">
            <a:spAutoFit/>
          </a:bodyPr>
          <a:lstStyle>
            <a:lvl1pPr>
              <a:lnSpc>
                <a:spcPct val="87000"/>
              </a:lnSpc>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966079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Cutaway 1/4 Left White">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13E8953B-95CE-B948-91CB-50695B3EA838}"/>
              </a:ext>
            </a:extLst>
          </p:cNvPr>
          <p:cNvSpPr>
            <a:spLocks noGrp="1"/>
          </p:cNvSpPr>
          <p:nvPr>
            <p:ph type="body" sz="quarter" idx="10"/>
          </p:nvPr>
        </p:nvSpPr>
        <p:spPr bwMode="gray">
          <a:xfrm>
            <a:off x="493713" y="2673350"/>
            <a:ext cx="2606675" cy="3497264"/>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ubtitle">
            <a:extLst>
              <a:ext uri="{FF2B5EF4-FFF2-40B4-BE49-F238E27FC236}">
                <a16:creationId xmlns:a16="http://schemas.microsoft.com/office/drawing/2014/main" id="{405A0419-5C48-854E-9566-19820CA0E20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Footer Placeholder 2">
            <a:extLst>
              <a:ext uri="{FF2B5EF4-FFF2-40B4-BE49-F238E27FC236}">
                <a16:creationId xmlns:a16="http://schemas.microsoft.com/office/drawing/2014/main" id="{8128B968-E284-3340-9496-6B697CB2D547}"/>
              </a:ext>
            </a:extLst>
          </p:cNvPr>
          <p:cNvSpPr>
            <a:spLocks noGrp="1"/>
          </p:cNvSpPr>
          <p:nvPr>
            <p:ph type="ftr" sz="quarter" idx="16"/>
          </p:nvPr>
        </p:nvSpPr>
        <p:spPr bwMode="gray">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3</a:t>
            </a:r>
            <a:endParaRPr lang="en-US" dirty="0"/>
          </a:p>
        </p:txBody>
      </p:sp>
      <p:sp>
        <p:nvSpPr>
          <p:cNvPr id="15" name="Title 1">
            <a:extLst>
              <a:ext uri="{FF2B5EF4-FFF2-40B4-BE49-F238E27FC236}">
                <a16:creationId xmlns:a16="http://schemas.microsoft.com/office/drawing/2014/main" id="{DAC13420-DD97-394B-B026-E979557BA385}"/>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327737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171A93A8-9B5B-B64B-9A90-BE5CC8D7A646}"/>
              </a:ext>
            </a:extLst>
          </p:cNvPr>
          <p:cNvSpPr/>
          <p:nvPr userDrawn="1"/>
        </p:nvSpPr>
        <p:spPr bwMode="gray">
          <a:xfrm>
            <a:off x="-165100" y="-152400"/>
            <a:ext cx="3871407" cy="6553184"/>
          </a:xfrm>
          <a:prstGeom prst="roundRect">
            <a:avLst>
              <a:gd name="adj" fmla="val 2097"/>
            </a:avLst>
          </a:prstGeom>
          <a:solidFill>
            <a:schemeClr val="accent6">
              <a:lumMod val="40000"/>
              <a:lumOff val="60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29428DF5-30F4-B144-8786-1D219A20C1C5}"/>
              </a:ext>
            </a:extLst>
          </p:cNvPr>
          <p:cNvSpPr>
            <a:spLocks noGrp="1"/>
          </p:cNvSpPr>
          <p:nvPr>
            <p:ph type="body" sz="quarter" idx="10"/>
          </p:nvPr>
        </p:nvSpPr>
        <p:spPr bwMode="gray">
          <a:xfrm>
            <a:off x="493713" y="2673350"/>
            <a:ext cx="2606675" cy="3497264"/>
          </a:xfrm>
          <a:prstGeom prst="rect">
            <a:avLst/>
          </a:prstGeo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marL="173736" indent="-173736">
              <a:buClr>
                <a:schemeClr val="tx2"/>
              </a:buClr>
              <a:buFont typeface="Arial" panose="020B0604020202020204" pitchFamily="34" charset="0"/>
              <a:buChar cha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ubtitle">
            <a:extLst>
              <a:ext uri="{FF2B5EF4-FFF2-40B4-BE49-F238E27FC236}">
                <a16:creationId xmlns:a16="http://schemas.microsoft.com/office/drawing/2014/main" id="{1C61E4C8-53FE-C244-B5D0-FE99E4D05FA8}"/>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Footer Placeholder 2">
            <a:extLst>
              <a:ext uri="{FF2B5EF4-FFF2-40B4-BE49-F238E27FC236}">
                <a16:creationId xmlns:a16="http://schemas.microsoft.com/office/drawing/2014/main" id="{53457047-3239-F945-BD7B-E385C9ADD806}"/>
              </a:ext>
            </a:extLst>
          </p:cNvPr>
          <p:cNvSpPr>
            <a:spLocks noGrp="1"/>
          </p:cNvSpPr>
          <p:nvPr>
            <p:ph type="ftr" sz="quarter" idx="16"/>
          </p:nvPr>
        </p:nvSpPr>
        <p:spPr bwMode="gray">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3</a:t>
            </a:r>
            <a:endParaRPr lang="en-US" dirty="0"/>
          </a:p>
        </p:txBody>
      </p:sp>
      <p:sp>
        <p:nvSpPr>
          <p:cNvPr id="15" name="Title 1">
            <a:extLst>
              <a:ext uri="{FF2B5EF4-FFF2-40B4-BE49-F238E27FC236}">
                <a16:creationId xmlns:a16="http://schemas.microsoft.com/office/drawing/2014/main" id="{6402AFBB-56F0-844A-908E-A30A3C9E9540}"/>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43952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2DB42174-1A3D-4E93-A2B6-481349C97762}"/>
              </a:ext>
            </a:extLst>
          </p:cNvPr>
          <p:cNvSpPr/>
          <p:nvPr userDrawn="1"/>
        </p:nvSpPr>
        <p:spPr bwMode="gray">
          <a:xfrm>
            <a:off x="-165100" y="-152400"/>
            <a:ext cx="3871407" cy="6553184"/>
          </a:xfrm>
          <a:prstGeom prst="roundRect">
            <a:avLst>
              <a:gd name="adj" fmla="val 2097"/>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1" name="Text Placeholder 3">
            <a:extLst>
              <a:ext uri="{FF2B5EF4-FFF2-40B4-BE49-F238E27FC236}">
                <a16:creationId xmlns:a16="http://schemas.microsoft.com/office/drawing/2014/main" id="{D7D1B20A-E6D5-DE4A-9690-BA7897E749A8}"/>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Subtitle">
            <a:extLst>
              <a:ext uri="{FF2B5EF4-FFF2-40B4-BE49-F238E27FC236}">
                <a16:creationId xmlns:a16="http://schemas.microsoft.com/office/drawing/2014/main" id="{F57C38EA-82FE-544D-BC2A-03C3ED4FEFF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3" name="Footer Placeholder 2">
            <a:extLst>
              <a:ext uri="{FF2B5EF4-FFF2-40B4-BE49-F238E27FC236}">
                <a16:creationId xmlns:a16="http://schemas.microsoft.com/office/drawing/2014/main" id="{182489EE-5829-274B-9F81-CD585E6115FD}"/>
              </a:ext>
            </a:extLst>
          </p:cNvPr>
          <p:cNvSpPr>
            <a:spLocks noGrp="1"/>
          </p:cNvSpPr>
          <p:nvPr>
            <p:ph type="ftr" sz="quarter" idx="16"/>
          </p:nvPr>
        </p:nvSpPr>
        <p:spPr bwMode="gray">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3</a:t>
            </a:r>
            <a:endParaRPr lang="en-US" dirty="0"/>
          </a:p>
        </p:txBody>
      </p:sp>
      <p:sp>
        <p:nvSpPr>
          <p:cNvPr id="24" name="Title 1">
            <a:extLst>
              <a:ext uri="{FF2B5EF4-FFF2-40B4-BE49-F238E27FC236}">
                <a16:creationId xmlns:a16="http://schemas.microsoft.com/office/drawing/2014/main" id="{0A4FDA66-F69A-A84C-81E6-655DE093CC24}"/>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463239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userDrawn="1">
  <p:cSld name="Cutaway 1/4 Left Gun Metal">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62DD8169-03BE-4545-AB75-752CFCB9BD19}"/>
              </a:ext>
            </a:extLst>
          </p:cNvPr>
          <p:cNvSpPr/>
          <p:nvPr userDrawn="1"/>
        </p:nvSpPr>
        <p:spPr bwMode="gray">
          <a:xfrm>
            <a:off x="-165100" y="-152400"/>
            <a:ext cx="3871407" cy="6553184"/>
          </a:xfrm>
          <a:prstGeom prst="roundRect">
            <a:avLst>
              <a:gd name="adj" fmla="val 2097"/>
            </a:avLst>
          </a:prstGeom>
          <a:solidFill>
            <a:schemeClr val="accent5"/>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7E00799F-9070-4F48-B2FF-0AF10577B71A}"/>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3062ABDB-8E2D-2646-84E6-58F1FAD3095C}"/>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Footer Placeholder 2">
            <a:extLst>
              <a:ext uri="{FF2B5EF4-FFF2-40B4-BE49-F238E27FC236}">
                <a16:creationId xmlns:a16="http://schemas.microsoft.com/office/drawing/2014/main" id="{5808A874-E181-3C46-ADE3-148ABA6EEAFA}"/>
              </a:ext>
            </a:extLst>
          </p:cNvPr>
          <p:cNvSpPr>
            <a:spLocks noGrp="1"/>
          </p:cNvSpPr>
          <p:nvPr>
            <p:ph type="ftr" sz="quarter" idx="16"/>
          </p:nvPr>
        </p:nvSpPr>
        <p:spPr bwMode="gray">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3</a:t>
            </a:r>
            <a:endParaRPr lang="en-US" dirty="0"/>
          </a:p>
        </p:txBody>
      </p:sp>
      <p:sp>
        <p:nvSpPr>
          <p:cNvPr id="15" name="Title 1">
            <a:extLst>
              <a:ext uri="{FF2B5EF4-FFF2-40B4-BE49-F238E27FC236}">
                <a16:creationId xmlns:a16="http://schemas.microsoft.com/office/drawing/2014/main" id="{0713C771-62F2-0F45-B55D-865FF67EA0DE}"/>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0703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Cutaway 1/4 Left Midnight">
    <p:spTree>
      <p:nvGrpSpPr>
        <p:cNvPr id="1" name=""/>
        <p:cNvGrpSpPr/>
        <p:nvPr/>
      </p:nvGrpSpPr>
      <p:grpSpPr>
        <a:xfrm>
          <a:off x="0" y="0"/>
          <a:ext cx="0" cy="0"/>
          <a:chOff x="0" y="0"/>
          <a:chExt cx="0" cy="0"/>
        </a:xfrm>
      </p:grpSpPr>
      <p:sp>
        <p:nvSpPr>
          <p:cNvPr id="11" name="Rectangle: Rounded Corners 8">
            <a:extLst>
              <a:ext uri="{FF2B5EF4-FFF2-40B4-BE49-F238E27FC236}">
                <a16:creationId xmlns:a16="http://schemas.microsoft.com/office/drawing/2014/main" id="{3E9455E2-DBA5-444B-983B-338104922F0B}"/>
              </a:ext>
            </a:extLst>
          </p:cNvPr>
          <p:cNvSpPr/>
          <p:nvPr userDrawn="1"/>
        </p:nvSpPr>
        <p:spPr bwMode="gray">
          <a:xfrm>
            <a:off x="-165100" y="-152400"/>
            <a:ext cx="3871407" cy="6553184"/>
          </a:xfrm>
          <a:prstGeom prst="roundRect">
            <a:avLst>
              <a:gd name="adj" fmla="val 2097"/>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7" name="Text Placeholder 3">
            <a:extLst>
              <a:ext uri="{FF2B5EF4-FFF2-40B4-BE49-F238E27FC236}">
                <a16:creationId xmlns:a16="http://schemas.microsoft.com/office/drawing/2014/main" id="{9D7EA0E4-8B51-4149-A2B3-E1579FBE52F7}"/>
              </a:ext>
            </a:extLst>
          </p:cNvPr>
          <p:cNvSpPr>
            <a:spLocks noGrp="1"/>
          </p:cNvSpPr>
          <p:nvPr>
            <p:ph type="body" sz="quarter" idx="10"/>
          </p:nvPr>
        </p:nvSpPr>
        <p:spPr bwMode="gray">
          <a:xfrm>
            <a:off x="493713" y="2673350"/>
            <a:ext cx="2606675" cy="3497264"/>
          </a:xfrm>
          <a:prstGeom prst="rect">
            <a:avLst/>
          </a:prstGeo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173736" indent="-173736">
              <a:buFont typeface="Arial" panose="020B0604020202020204" pitchFamily="34" charset="0"/>
              <a:buChar cha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ubtitle">
            <a:extLst>
              <a:ext uri="{FF2B5EF4-FFF2-40B4-BE49-F238E27FC236}">
                <a16:creationId xmlns:a16="http://schemas.microsoft.com/office/drawing/2014/main" id="{E14C6BC6-74EB-7B49-9E33-6B520E760449}"/>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Footer Placeholder 2">
            <a:extLst>
              <a:ext uri="{FF2B5EF4-FFF2-40B4-BE49-F238E27FC236}">
                <a16:creationId xmlns:a16="http://schemas.microsoft.com/office/drawing/2014/main" id="{BADBDD29-6084-FC4C-BC05-D397C443DF46}"/>
              </a:ext>
            </a:extLst>
          </p:cNvPr>
          <p:cNvSpPr>
            <a:spLocks noGrp="1"/>
          </p:cNvSpPr>
          <p:nvPr>
            <p:ph type="ftr" sz="quarter" idx="16"/>
          </p:nvPr>
        </p:nvSpPr>
        <p:spPr bwMode="gray">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3</a:t>
            </a:r>
            <a:endParaRPr lang="en-US" dirty="0"/>
          </a:p>
        </p:txBody>
      </p:sp>
      <p:sp>
        <p:nvSpPr>
          <p:cNvPr id="15" name="Title 1">
            <a:extLst>
              <a:ext uri="{FF2B5EF4-FFF2-40B4-BE49-F238E27FC236}">
                <a16:creationId xmlns:a16="http://schemas.microsoft.com/office/drawing/2014/main" id="{F2533761-7353-8947-9BE2-92591B487503}"/>
              </a:ext>
            </a:extLst>
          </p:cNvPr>
          <p:cNvSpPr>
            <a:spLocks noGrp="1"/>
          </p:cNvSpPr>
          <p:nvPr>
            <p:ph type="title"/>
          </p:nvPr>
        </p:nvSpPr>
        <p:spPr bwMode="gray">
          <a:xfrm>
            <a:off x="495300" y="1044740"/>
            <a:ext cx="2605088" cy="749692"/>
          </a:xfrm>
        </p:spPr>
        <p:txBody>
          <a:bodyPr wrap="square">
            <a:spAutoFit/>
          </a:bodyPr>
          <a:lstStyle>
            <a:lvl1pPr>
              <a:lnSpc>
                <a:spcPct val="87000"/>
              </a:lnSpc>
              <a:defRPr sz="2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112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8.xml><?xml version="1.0" encoding="utf-8"?>
<p:sldLayout xmlns:a="http://schemas.openxmlformats.org/drawingml/2006/main" xmlns:r="http://schemas.openxmlformats.org/officeDocument/2006/relationships" xmlns:p="http://schemas.openxmlformats.org/presentationml/2006/main" showMasterSp="0" preserve="1" userDrawn="1">
  <p:cSld name="Large Circle White">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chemeClr val="bg1"/>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EA514D3A-70CE-4812-A873-E8B92AB5CE62}"/>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3</a:t>
            </a:r>
            <a:endParaRPr lang="en-US" dirty="0"/>
          </a:p>
        </p:txBody>
      </p:sp>
      <p:sp>
        <p:nvSpPr>
          <p:cNvPr id="13" name="Title 2">
            <a:extLst>
              <a:ext uri="{FF2B5EF4-FFF2-40B4-BE49-F238E27FC236}">
                <a16:creationId xmlns:a16="http://schemas.microsoft.com/office/drawing/2014/main" id="{9274620C-1F0C-B343-A2E5-A5600D2942C7}"/>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DB79993B-4669-3B44-8D38-0850A4815757}"/>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Content Placeholder 4">
            <a:extLst>
              <a:ext uri="{FF2B5EF4-FFF2-40B4-BE49-F238E27FC236}">
                <a16:creationId xmlns:a16="http://schemas.microsoft.com/office/drawing/2014/main" id="{7886FD52-112E-4B46-B4D5-B3FE40596000}"/>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9">
            <a:extLst>
              <a:ext uri="{FF2B5EF4-FFF2-40B4-BE49-F238E27FC236}">
                <a16:creationId xmlns:a16="http://schemas.microsoft.com/office/drawing/2014/main" id="{CF338098-9C38-5C41-9F6E-C2DB635628EC}"/>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E113887F-F1F6-4687-8811-699E1BCA13F4}"/>
              </a:ext>
            </a:extLst>
          </p:cNvPr>
          <p:cNvSpPr txBox="1"/>
          <p:nvPr userDrawn="1"/>
        </p:nvSpPr>
        <p:spPr>
          <a:xfrm>
            <a:off x="9426895" y="6417160"/>
            <a:ext cx="2448733"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820343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9.xml><?xml version="1.0" encoding="utf-8"?>
<p:sldLayout xmlns:a="http://schemas.openxmlformats.org/drawingml/2006/main" xmlns:r="http://schemas.openxmlformats.org/officeDocument/2006/relationships" xmlns:p="http://schemas.openxmlformats.org/presentationml/2006/main" showMasterSp="0" preserve="1" userDrawn="1">
  <p:cSld name="Large Circle Nickel">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E3E28D24-6767-9C45-ABB8-DA51DF065820}"/>
              </a:ext>
            </a:extLst>
          </p:cNvPr>
          <p:cNvSpPr>
            <a:spLocks/>
          </p:cNvSpPr>
          <p:nvPr userDrawn="1"/>
        </p:nvSpPr>
        <p:spPr bwMode="ltGray">
          <a:xfrm>
            <a:off x="7517108" y="-857339"/>
            <a:ext cx="8359183" cy="8572678"/>
          </a:xfrm>
          <a:prstGeom prst="ellipse">
            <a:avLst/>
          </a:prstGeom>
          <a:solidFill>
            <a:schemeClr val="accent6">
              <a:lumMod val="40000"/>
              <a:lumOff val="60000"/>
            </a:schemeClr>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BBA70238-BC86-4481-AEB5-B9031B393928}"/>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3</a:t>
            </a:r>
            <a:endParaRPr lang="en-US" dirty="0"/>
          </a:p>
        </p:txBody>
      </p:sp>
      <p:sp>
        <p:nvSpPr>
          <p:cNvPr id="12" name="Title 2">
            <a:extLst>
              <a:ext uri="{FF2B5EF4-FFF2-40B4-BE49-F238E27FC236}">
                <a16:creationId xmlns:a16="http://schemas.microsoft.com/office/drawing/2014/main" id="{A2AFDEB2-8AAA-DE48-8DBA-6BF9EF6D704E}"/>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61AD48BB-8517-C148-BF3A-87733F917AD1}"/>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Content Placeholder 4">
            <a:extLst>
              <a:ext uri="{FF2B5EF4-FFF2-40B4-BE49-F238E27FC236}">
                <a16:creationId xmlns:a16="http://schemas.microsoft.com/office/drawing/2014/main" id="{920545EE-653F-B041-A734-672192C04363}"/>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9">
            <a:extLst>
              <a:ext uri="{FF2B5EF4-FFF2-40B4-BE49-F238E27FC236}">
                <a16:creationId xmlns:a16="http://schemas.microsoft.com/office/drawing/2014/main" id="{BB10DE64-85FB-C740-B1EC-0DEBE80A912F}"/>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tx2"/>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7" name="TextBox 16">
            <a:extLst>
              <a:ext uri="{FF2B5EF4-FFF2-40B4-BE49-F238E27FC236}">
                <a16:creationId xmlns:a16="http://schemas.microsoft.com/office/drawing/2014/main" id="{DE11D47D-1BE2-4595-9A02-FCAD5EB91EB3}"/>
              </a:ext>
            </a:extLst>
          </p:cNvPr>
          <p:cNvSpPr txBox="1"/>
          <p:nvPr userDrawn="1"/>
        </p:nvSpPr>
        <p:spPr>
          <a:xfrm>
            <a:off x="9426895" y="6417160"/>
            <a:ext cx="2448733"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983725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1"/>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BE859372-4677-4C6F-BF6E-40E3BFADA6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60000"/>
                    <a:lumOff val="40000"/>
                  </a:schemeClr>
                </a:solidFill>
              </a:defRPr>
            </a:lvl1pPr>
          </a:lstStyle>
          <a:p>
            <a:r>
              <a:rPr lang="en-US"/>
              <a:t>Media Web Symposium 2023</a:t>
            </a:r>
          </a:p>
        </p:txBody>
      </p:sp>
      <p:sp>
        <p:nvSpPr>
          <p:cNvPr id="10" name="Title 1">
            <a:extLst>
              <a:ext uri="{FF2B5EF4-FFF2-40B4-BE49-F238E27FC236}">
                <a16:creationId xmlns:a16="http://schemas.microsoft.com/office/drawing/2014/main" id="{6435A7F3-6D74-487F-B987-EE024614BB1E}"/>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6487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0.xml><?xml version="1.0" encoding="utf-8"?>
<p:sldLayout xmlns:a="http://schemas.openxmlformats.org/drawingml/2006/main" xmlns:r="http://schemas.openxmlformats.org/officeDocument/2006/relationships" xmlns:p="http://schemas.openxmlformats.org/presentationml/2006/main" showMasterSp="0" preserve="1" userDrawn="1">
  <p:cSld name="Large Circle Blue">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10550D71-4DDC-433E-91D6-8DB10965057B}"/>
              </a:ext>
            </a:extLst>
          </p:cNvPr>
          <p:cNvSpPr>
            <a:spLocks/>
          </p:cNvSpPr>
          <p:nvPr userDrawn="1"/>
        </p:nvSpPr>
        <p:spPr bwMode="ltGray">
          <a:xfrm>
            <a:off x="7517108" y="-857339"/>
            <a:ext cx="8359183" cy="8572678"/>
          </a:xfrm>
          <a:prstGeom prst="ellipse">
            <a:avLst/>
          </a:prstGeom>
          <a:solidFill>
            <a:schemeClr val="accent1"/>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8" name="Footer Placeholder 2">
            <a:extLst>
              <a:ext uri="{FF2B5EF4-FFF2-40B4-BE49-F238E27FC236}">
                <a16:creationId xmlns:a16="http://schemas.microsoft.com/office/drawing/2014/main" id="{9D5E8CCD-FCF9-4B0B-A62F-907B1C0EFCEC}"/>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3</a:t>
            </a:r>
            <a:endParaRPr lang="en-US" dirty="0"/>
          </a:p>
        </p:txBody>
      </p:sp>
      <p:sp>
        <p:nvSpPr>
          <p:cNvPr id="17" name="Title 2">
            <a:extLst>
              <a:ext uri="{FF2B5EF4-FFF2-40B4-BE49-F238E27FC236}">
                <a16:creationId xmlns:a16="http://schemas.microsoft.com/office/drawing/2014/main" id="{7B246259-76D6-B74C-A64A-CCBFC5D7D85B}"/>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8" name="Subtitle">
            <a:extLst>
              <a:ext uri="{FF2B5EF4-FFF2-40B4-BE49-F238E27FC236}">
                <a16:creationId xmlns:a16="http://schemas.microsoft.com/office/drawing/2014/main" id="{0AB770EA-5649-754F-967C-C4716DA97A16}"/>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9" name="Content Placeholder 4">
            <a:extLst>
              <a:ext uri="{FF2B5EF4-FFF2-40B4-BE49-F238E27FC236}">
                <a16:creationId xmlns:a16="http://schemas.microsoft.com/office/drawing/2014/main" id="{681C9D64-9B88-4044-9799-D79122BD3557}"/>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9">
            <a:extLst>
              <a:ext uri="{FF2B5EF4-FFF2-40B4-BE49-F238E27FC236}">
                <a16:creationId xmlns:a16="http://schemas.microsoft.com/office/drawing/2014/main" id="{627AF1A1-6C92-6240-81FA-2147DD27EC94}"/>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0" name="TextBox 9">
            <a:extLst>
              <a:ext uri="{FF2B5EF4-FFF2-40B4-BE49-F238E27FC236}">
                <a16:creationId xmlns:a16="http://schemas.microsoft.com/office/drawing/2014/main" id="{68EACA4D-43F0-4FE1-BA26-E107C4AA8BA7}"/>
              </a:ext>
            </a:extLst>
          </p:cNvPr>
          <p:cNvSpPr txBox="1"/>
          <p:nvPr userDrawn="1"/>
        </p:nvSpPr>
        <p:spPr>
          <a:xfrm>
            <a:off x="9426895" y="6417160"/>
            <a:ext cx="2448733"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810594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1.xml><?xml version="1.0" encoding="utf-8"?>
<p:sldLayout xmlns:a="http://schemas.openxmlformats.org/drawingml/2006/main" xmlns:r="http://schemas.openxmlformats.org/officeDocument/2006/relationships" xmlns:p="http://schemas.openxmlformats.org/presentationml/2006/main" showMasterSp="0" preserve="1" userDrawn="1">
  <p:cSld name="Large Circle Gun Metal">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826177F-FC3F-2F42-98BC-69EF3FD7FC45}"/>
              </a:ext>
            </a:extLst>
          </p:cNvPr>
          <p:cNvSpPr>
            <a:spLocks/>
          </p:cNvSpPr>
          <p:nvPr userDrawn="1"/>
        </p:nvSpPr>
        <p:spPr bwMode="ltGray">
          <a:xfrm>
            <a:off x="7517108" y="-857339"/>
            <a:ext cx="8359183" cy="8572678"/>
          </a:xfrm>
          <a:prstGeom prst="ellipse">
            <a:avLst/>
          </a:prstGeom>
          <a:solidFill>
            <a:schemeClr val="accent5"/>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D5CEE6F9-1E4B-4C9A-946F-D83A264DC746}"/>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3</a:t>
            </a:r>
            <a:endParaRPr lang="en-US" dirty="0"/>
          </a:p>
        </p:txBody>
      </p:sp>
      <p:sp>
        <p:nvSpPr>
          <p:cNvPr id="12" name="Title 2">
            <a:extLst>
              <a:ext uri="{FF2B5EF4-FFF2-40B4-BE49-F238E27FC236}">
                <a16:creationId xmlns:a16="http://schemas.microsoft.com/office/drawing/2014/main" id="{0B7058E8-725E-C84D-AF48-4FAF9C2EB9F6}"/>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4" name="Subtitle">
            <a:extLst>
              <a:ext uri="{FF2B5EF4-FFF2-40B4-BE49-F238E27FC236}">
                <a16:creationId xmlns:a16="http://schemas.microsoft.com/office/drawing/2014/main" id="{46859A5A-C3CA-B947-AA31-16540E8ED234}"/>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Content Placeholder 4">
            <a:extLst>
              <a:ext uri="{FF2B5EF4-FFF2-40B4-BE49-F238E27FC236}">
                <a16:creationId xmlns:a16="http://schemas.microsoft.com/office/drawing/2014/main" id="{82799493-50F9-C645-A15F-AF98EB7D8D59}"/>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9">
            <a:extLst>
              <a:ext uri="{FF2B5EF4-FFF2-40B4-BE49-F238E27FC236}">
                <a16:creationId xmlns:a16="http://schemas.microsoft.com/office/drawing/2014/main" id="{1A833B55-A7C3-854B-BA7F-F4BD4B65F5D8}"/>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8" name="TextBox 17">
            <a:extLst>
              <a:ext uri="{FF2B5EF4-FFF2-40B4-BE49-F238E27FC236}">
                <a16:creationId xmlns:a16="http://schemas.microsoft.com/office/drawing/2014/main" id="{F5FB867F-175C-F748-B316-10276DFF6346}"/>
              </a:ext>
            </a:extLst>
          </p:cNvPr>
          <p:cNvSpPr txBox="1"/>
          <p:nvPr userDrawn="1"/>
        </p:nvSpPr>
        <p:spPr>
          <a:xfrm>
            <a:off x="9426895" y="6417160"/>
            <a:ext cx="2448733"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81553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2.xml><?xml version="1.0" encoding="utf-8"?>
<p:sldLayout xmlns:a="http://schemas.openxmlformats.org/drawingml/2006/main" xmlns:r="http://schemas.openxmlformats.org/officeDocument/2006/relationships" xmlns:p="http://schemas.openxmlformats.org/presentationml/2006/main" showMasterSp="0" preserve="1" userDrawn="1">
  <p:cSld name="Large Circle Midnight">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BAE47188-2E65-7E46-B32C-E78D883C6DCA}"/>
              </a:ext>
            </a:extLst>
          </p:cNvPr>
          <p:cNvSpPr>
            <a:spLocks/>
          </p:cNvSpPr>
          <p:nvPr userDrawn="1"/>
        </p:nvSpPr>
        <p:spPr bwMode="ltGray">
          <a:xfrm>
            <a:off x="7517108" y="-857339"/>
            <a:ext cx="8359183" cy="8572678"/>
          </a:xfrm>
          <a:prstGeom prst="ellipse">
            <a:avLst/>
          </a:prstGeom>
          <a:solidFill>
            <a:schemeClr val="tx2"/>
          </a:solidFill>
          <a:ln w="25400" cap="flat" cmpd="sng" algn="ctr">
            <a:noFill/>
            <a:prstDash val="solid"/>
          </a:ln>
          <a:effectLst>
            <a:innerShdw blurRad="63500" dist="50800" dir="13500000">
              <a:prstClr val="black">
                <a:alpha val="50000"/>
              </a:prst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white"/>
              </a:solidFill>
              <a:effectLst/>
              <a:uLnTx/>
              <a:uFillTx/>
              <a:latin typeface="Microsoft Sans Serif"/>
            </a:endParaRPr>
          </a:p>
        </p:txBody>
      </p:sp>
      <p:sp>
        <p:nvSpPr>
          <p:cNvPr id="11" name="Footer Placeholder 2">
            <a:extLst>
              <a:ext uri="{FF2B5EF4-FFF2-40B4-BE49-F238E27FC236}">
                <a16:creationId xmlns:a16="http://schemas.microsoft.com/office/drawing/2014/main" id="{CA8F4DA7-4CDA-4E93-B875-4157AC85CAEB}"/>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6">
                    <a:lumMod val="75000"/>
                  </a:schemeClr>
                </a:solidFill>
              </a:defRPr>
            </a:lvl1pPr>
          </a:lstStyle>
          <a:p>
            <a:r>
              <a:rPr lang="en-US"/>
              <a:t>Media Web Symposium 2023</a:t>
            </a:r>
            <a:endParaRPr lang="en-US" dirty="0"/>
          </a:p>
        </p:txBody>
      </p:sp>
      <p:sp>
        <p:nvSpPr>
          <p:cNvPr id="9" name="Title 2">
            <a:extLst>
              <a:ext uri="{FF2B5EF4-FFF2-40B4-BE49-F238E27FC236}">
                <a16:creationId xmlns:a16="http://schemas.microsoft.com/office/drawing/2014/main" id="{3EA31D99-8C5B-7B44-8F12-D57457CBA784}"/>
              </a:ext>
            </a:extLst>
          </p:cNvPr>
          <p:cNvSpPr>
            <a:spLocks noGrp="1"/>
          </p:cNvSpPr>
          <p:nvPr>
            <p:ph type="title"/>
          </p:nvPr>
        </p:nvSpPr>
        <p:spPr>
          <a:xfrm>
            <a:off x="495300" y="642645"/>
            <a:ext cx="6423978" cy="361959"/>
          </a:xfrm>
        </p:spPr>
        <p:txBody>
          <a:bodyPr wrap="square">
            <a:spAutoFit/>
          </a:bodyPr>
          <a:lstStyle>
            <a:lvl1pPr>
              <a:defRPr>
                <a:solidFill>
                  <a:schemeClr val="tx2"/>
                </a:solidFill>
              </a:defRPr>
            </a:lvl1pPr>
          </a:lstStyle>
          <a:p>
            <a:r>
              <a:rPr lang="en-US"/>
              <a:t>Click to edit Master title style</a:t>
            </a:r>
          </a:p>
        </p:txBody>
      </p:sp>
      <p:sp>
        <p:nvSpPr>
          <p:cNvPr id="12" name="Subtitle">
            <a:extLst>
              <a:ext uri="{FF2B5EF4-FFF2-40B4-BE49-F238E27FC236}">
                <a16:creationId xmlns:a16="http://schemas.microsoft.com/office/drawing/2014/main" id="{92784E52-9B2E-7748-80BB-844DED7D24DE}"/>
              </a:ext>
            </a:extLst>
          </p:cNvPr>
          <p:cNvSpPr>
            <a:spLocks noGrp="1"/>
          </p:cNvSpPr>
          <p:nvPr>
            <p:ph type="subTitle" idx="1"/>
          </p:nvPr>
        </p:nvSpPr>
        <p:spPr>
          <a:xfrm>
            <a:off x="494189" y="1088136"/>
            <a:ext cx="6425089" cy="236347"/>
          </a:xfrm>
          <a:prstGeom prst="rect">
            <a:avLst/>
          </a:prstGeom>
        </p:spPr>
        <p:txBody>
          <a:bodyPr wrap="square">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Content Placeholder 4">
            <a:extLst>
              <a:ext uri="{FF2B5EF4-FFF2-40B4-BE49-F238E27FC236}">
                <a16:creationId xmlns:a16="http://schemas.microsoft.com/office/drawing/2014/main" id="{260A92EA-6842-964F-864F-6425261A0780}"/>
              </a:ext>
            </a:extLst>
          </p:cNvPr>
          <p:cNvSpPr>
            <a:spLocks noGrp="1"/>
          </p:cNvSpPr>
          <p:nvPr>
            <p:ph sz="quarter" idx="17"/>
          </p:nvPr>
        </p:nvSpPr>
        <p:spPr>
          <a:xfrm>
            <a:off x="495300" y="1719072"/>
            <a:ext cx="6425089" cy="4451541"/>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9">
            <a:extLst>
              <a:ext uri="{FF2B5EF4-FFF2-40B4-BE49-F238E27FC236}">
                <a16:creationId xmlns:a16="http://schemas.microsoft.com/office/drawing/2014/main" id="{EE566E6D-F0F7-6449-A21D-F146C5051BB5}"/>
              </a:ext>
            </a:extLst>
          </p:cNvPr>
          <p:cNvSpPr>
            <a:spLocks noGrp="1"/>
          </p:cNvSpPr>
          <p:nvPr>
            <p:ph type="body" sz="quarter" idx="15"/>
          </p:nvPr>
        </p:nvSpPr>
        <p:spPr bwMode="black">
          <a:xfrm>
            <a:off x="8471454" y="2764100"/>
            <a:ext cx="2717245" cy="1134132"/>
          </a:xfrm>
          <a:prstGeom prst="rect">
            <a:avLst/>
          </a:prstGeo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Click to edit Master text styles</a:t>
            </a:r>
          </a:p>
        </p:txBody>
      </p:sp>
      <p:sp>
        <p:nvSpPr>
          <p:cNvPr id="17" name="TextBox 16">
            <a:extLst>
              <a:ext uri="{FF2B5EF4-FFF2-40B4-BE49-F238E27FC236}">
                <a16:creationId xmlns:a16="http://schemas.microsoft.com/office/drawing/2014/main" id="{50F57A78-9BA0-4F58-B7F7-7758910F55B1}"/>
              </a:ext>
            </a:extLst>
          </p:cNvPr>
          <p:cNvSpPr txBox="1"/>
          <p:nvPr userDrawn="1"/>
        </p:nvSpPr>
        <p:spPr>
          <a:xfrm>
            <a:off x="9426895" y="6417160"/>
            <a:ext cx="2448733"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l"/>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859833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3.xml><?xml version="1.0" encoding="utf-8"?>
<p:sldLayout xmlns:a="http://schemas.openxmlformats.org/drawingml/2006/main" xmlns:r="http://schemas.openxmlformats.org/officeDocument/2006/relationships" xmlns:p="http://schemas.openxmlformats.org/presentationml/2006/main" showMasterSp="0" preserve="1" userDrawn="1">
  <p:cSld name="Segue White">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AB543E5-A8C2-415A-B513-83E9DDD7D875}"/>
              </a:ext>
            </a:extLst>
          </p:cNvPr>
          <p:cNvSpPr/>
          <p:nvPr userDrawn="1"/>
        </p:nvSpPr>
        <p:spPr bwMode="white">
          <a:xfrm>
            <a:off x="-171450" y="-152401"/>
            <a:ext cx="10904538" cy="6516131"/>
          </a:xfrm>
          <a:prstGeom prst="roundRect">
            <a:avLst>
              <a:gd name="adj" fmla="val 1263"/>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itle 1">
            <a:extLst>
              <a:ext uri="{FF2B5EF4-FFF2-40B4-BE49-F238E27FC236}">
                <a16:creationId xmlns:a16="http://schemas.microsoft.com/office/drawing/2014/main" id="{78E31F24-408B-034C-891A-D4CD9B80A98F}"/>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endParaRPr lang="en-US" dirty="0"/>
          </a:p>
        </p:txBody>
      </p:sp>
      <p:sp>
        <p:nvSpPr>
          <p:cNvPr id="10" name="TextBox 9">
            <a:extLst>
              <a:ext uri="{FF2B5EF4-FFF2-40B4-BE49-F238E27FC236}">
                <a16:creationId xmlns:a16="http://schemas.microsoft.com/office/drawing/2014/main" id="{2B5700CA-9E56-0709-F89D-C4E99A26765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462300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4.xml><?xml version="1.0" encoding="utf-8"?>
<p:sldLayout xmlns:a="http://schemas.openxmlformats.org/drawingml/2006/main" xmlns:r="http://schemas.openxmlformats.org/officeDocument/2006/relationships" xmlns:p="http://schemas.openxmlformats.org/presentationml/2006/main" showMasterSp="0" preserve="1" userDrawn="1">
  <p:cSld name="Segue Nicke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endParaRPr lang="en-US" dirty="0"/>
          </a:p>
        </p:txBody>
      </p:sp>
      <p:sp>
        <p:nvSpPr>
          <p:cNvPr id="8" name="TextBox 7">
            <a:extLst>
              <a:ext uri="{FF2B5EF4-FFF2-40B4-BE49-F238E27FC236}">
                <a16:creationId xmlns:a16="http://schemas.microsoft.com/office/drawing/2014/main" id="{76FF450D-4022-72EA-97D4-4C2A7D1CEAD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22543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5.xml><?xml version="1.0" encoding="utf-8"?>
<p:sldLayout xmlns:a="http://schemas.openxmlformats.org/drawingml/2006/main" xmlns:r="http://schemas.openxmlformats.org/officeDocument/2006/relationships" xmlns:p="http://schemas.openxmlformats.org/presentationml/2006/main" showMasterSp="0" preserve="1" userDrawn="1">
  <p:cSld name="Segue Blue">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C48B92C6-8BAB-46BE-82E1-29A041E97FB8}"/>
              </a:ext>
            </a:extLst>
          </p:cNvPr>
          <p:cNvSpPr/>
          <p:nvPr userDrawn="1"/>
        </p:nvSpPr>
        <p:spPr bwMode="white">
          <a:xfrm>
            <a:off x="-171450" y="-152401"/>
            <a:ext cx="10904538" cy="6516131"/>
          </a:xfrm>
          <a:prstGeom prst="roundRect">
            <a:avLst>
              <a:gd name="adj" fmla="val 1263"/>
            </a:avLst>
          </a:prstGeom>
          <a:solidFill>
            <a:schemeClr val="accent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31" name="Title 1">
            <a:extLst>
              <a:ext uri="{FF2B5EF4-FFF2-40B4-BE49-F238E27FC236}">
                <a16:creationId xmlns:a16="http://schemas.microsoft.com/office/drawing/2014/main" id="{93EDA90E-CAE4-B04E-BBDA-181C0E0E04D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sp>
        <p:nvSpPr>
          <p:cNvPr id="32" name="Subtitle">
            <a:extLst>
              <a:ext uri="{FF2B5EF4-FFF2-40B4-BE49-F238E27FC236}">
                <a16:creationId xmlns:a16="http://schemas.microsoft.com/office/drawing/2014/main" id="{12BC0725-E8C3-0C43-AD45-92349F42DC34}"/>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TextBox 5">
            <a:extLst>
              <a:ext uri="{FF2B5EF4-FFF2-40B4-BE49-F238E27FC236}">
                <a16:creationId xmlns:a16="http://schemas.microsoft.com/office/drawing/2014/main" id="{A61116F4-BD7A-EC36-6183-633ACC7CF35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377404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6.xml><?xml version="1.0" encoding="utf-8"?>
<p:sldLayout xmlns:a="http://schemas.openxmlformats.org/drawingml/2006/main" xmlns:r="http://schemas.openxmlformats.org/officeDocument/2006/relationships" xmlns:p="http://schemas.openxmlformats.org/presentationml/2006/main" showMasterSp="0" preserve="1" userDrawn="1">
  <p:cSld name="Segue Gun Metal">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8B2FAD12-681E-7873-D4F9-CF2B54ECBDB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561324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7.xml><?xml version="1.0" encoding="utf-8"?>
<p:sldLayout xmlns:a="http://schemas.openxmlformats.org/drawingml/2006/main" xmlns:r="http://schemas.openxmlformats.org/officeDocument/2006/relationships" xmlns:p="http://schemas.openxmlformats.org/presentationml/2006/main" showMasterSp="0" preserve="1" userDrawn="1">
  <p:cSld name="Segue Midnight">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F53C9B4C-AE7E-43E6-8F17-29900FA9155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88119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8.xml><?xml version="1.0" encoding="utf-8"?>
<p:sldLayout xmlns:a="http://schemas.openxmlformats.org/drawingml/2006/main" xmlns:r="http://schemas.openxmlformats.org/officeDocument/2006/relationships" xmlns:p="http://schemas.openxmlformats.org/presentationml/2006/main" showMasterSp="0" preserve="1" userDrawn="1">
  <p:cSld name="Segue White 2">
    <p:bg>
      <p:bgPr>
        <a:solidFill>
          <a:srgbClr val="FFFFFF"/>
        </a:solidFill>
        <a:effectLst/>
      </p:bgPr>
    </p:bg>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AAB543E5-A8C2-415A-B513-83E9DDD7D875}"/>
              </a:ext>
            </a:extLst>
          </p:cNvPr>
          <p:cNvSpPr/>
          <p:nvPr userDrawn="1"/>
        </p:nvSpPr>
        <p:spPr bwMode="white">
          <a:xfrm>
            <a:off x="-171450" y="-152401"/>
            <a:ext cx="10904538" cy="6516131"/>
          </a:xfrm>
          <a:prstGeom prst="roundRect">
            <a:avLst>
              <a:gd name="adj" fmla="val 1263"/>
            </a:avLst>
          </a:prstGeom>
          <a:solidFill>
            <a:srgbClr val="FAFBF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9" name="TextBox 8">
            <a:extLst>
              <a:ext uri="{FF2B5EF4-FFF2-40B4-BE49-F238E27FC236}">
                <a16:creationId xmlns:a16="http://schemas.microsoft.com/office/drawing/2014/main" id="{151D5F09-2CE5-A8D8-9997-166E3D321FB0}"/>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8615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9.xml><?xml version="1.0" encoding="utf-8"?>
<p:sldLayout xmlns:a="http://schemas.openxmlformats.org/drawingml/2006/main" xmlns:r="http://schemas.openxmlformats.org/officeDocument/2006/relationships" xmlns:p="http://schemas.openxmlformats.org/presentationml/2006/main" showMasterSp="0" preserve="1" userDrawn="1">
  <p:cSld name="Segue Nickel 2">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2B302BC-4858-4EC1-8EB4-20A8B1481437}"/>
              </a:ext>
            </a:extLst>
          </p:cNvPr>
          <p:cNvSpPr/>
          <p:nvPr userDrawn="1"/>
        </p:nvSpPr>
        <p:spPr bwMode="white">
          <a:xfrm>
            <a:off x="-171450" y="-152401"/>
            <a:ext cx="10904538" cy="6516131"/>
          </a:xfrm>
          <a:prstGeom prst="roundRect">
            <a:avLst>
              <a:gd name="adj" fmla="val 1263"/>
            </a:avLst>
          </a:prstGeom>
          <a:solidFill>
            <a:srgbClr val="D3DAE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2934A4AA-94A2-46BD-9524-BB1118BCD685}"/>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85A8A33-EB30-4E58-9F4F-DB3301E084F5}"/>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tx2"/>
                </a:solidFill>
              </a:defRPr>
            </a:lvl1pPr>
          </a:lstStyle>
          <a:p>
            <a:r>
              <a:rPr lang="en-US"/>
              <a:t>Click to edit Master title style</a:t>
            </a:r>
          </a:p>
        </p:txBody>
      </p:sp>
      <p:sp>
        <p:nvSpPr>
          <p:cNvPr id="8" name="TextBox 7">
            <a:extLst>
              <a:ext uri="{FF2B5EF4-FFF2-40B4-BE49-F238E27FC236}">
                <a16:creationId xmlns:a16="http://schemas.microsoft.com/office/drawing/2014/main" id="{9F791B87-171D-B840-B21D-BA358261FEF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856781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6000" cy="1657345"/>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24A2011-D876-411A-AE88-8884DC253188}"/>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2">
                    <a:lumMod val="40000"/>
                    <a:lumOff val="60000"/>
                  </a:schemeClr>
                </a:solidFill>
              </a:defRPr>
            </a:lvl1pPr>
          </a:lstStyle>
          <a:p>
            <a:r>
              <a:rPr lang="en-US"/>
              <a:t>Media Web Symposium 2023</a:t>
            </a:r>
          </a:p>
        </p:txBody>
      </p:sp>
      <p:sp>
        <p:nvSpPr>
          <p:cNvPr id="9" name="Title 1">
            <a:extLst>
              <a:ext uri="{FF2B5EF4-FFF2-40B4-BE49-F238E27FC236}">
                <a16:creationId xmlns:a16="http://schemas.microsoft.com/office/drawing/2014/main" id="{BCE7E5EC-A980-499E-B261-9B6A724F45FB}"/>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67912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0.xml><?xml version="1.0" encoding="utf-8"?>
<p:sldLayout xmlns:a="http://schemas.openxmlformats.org/drawingml/2006/main" xmlns:r="http://schemas.openxmlformats.org/officeDocument/2006/relationships" xmlns:p="http://schemas.openxmlformats.org/presentationml/2006/main" showMasterSp="0" preserve="1" userDrawn="1">
  <p:cSld name="Segue Blue 2">
    <p:bg>
      <p:bgPr>
        <a:solidFill>
          <a:schemeClr val="accent1"/>
        </a:solidFill>
        <a:effectLst/>
      </p:bgPr>
    </p:bg>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C48B92C6-8BAB-46BE-82E1-29A041E97FB8}"/>
              </a:ext>
            </a:extLst>
          </p:cNvPr>
          <p:cNvSpPr/>
          <p:nvPr userDrawn="1"/>
        </p:nvSpPr>
        <p:spPr bwMode="white">
          <a:xfrm>
            <a:off x="-171450" y="-152401"/>
            <a:ext cx="10904538" cy="6516131"/>
          </a:xfrm>
          <a:prstGeom prst="roundRect">
            <a:avLst>
              <a:gd name="adj" fmla="val 1263"/>
            </a:avLst>
          </a:prstGeom>
          <a:solidFill>
            <a:srgbClr val="214DC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1">
            <a:extLst>
              <a:ext uri="{FF2B5EF4-FFF2-40B4-BE49-F238E27FC236}">
                <a16:creationId xmlns:a16="http://schemas.microsoft.com/office/drawing/2014/main" id="{ADAEEFC9-1B97-4F96-826D-993D38DFD5B6}"/>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6" name="TextBox 5">
            <a:extLst>
              <a:ext uri="{FF2B5EF4-FFF2-40B4-BE49-F238E27FC236}">
                <a16:creationId xmlns:a16="http://schemas.microsoft.com/office/drawing/2014/main" id="{A021DA7D-2853-DA40-A8E7-3023F80F1BD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987384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1.xml><?xml version="1.0" encoding="utf-8"?>
<p:sldLayout xmlns:a="http://schemas.openxmlformats.org/drawingml/2006/main" xmlns:r="http://schemas.openxmlformats.org/officeDocument/2006/relationships" xmlns:p="http://schemas.openxmlformats.org/presentationml/2006/main" showMasterSp="0" preserve="1" userDrawn="1">
  <p:cSld name="Segue Gun Metal 2">
    <p:bg>
      <p:bgPr>
        <a:solidFill>
          <a:schemeClr val="accent5"/>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FEC0451-770B-4070-ACD4-0882A0095A6A}"/>
              </a:ext>
            </a:extLst>
          </p:cNvPr>
          <p:cNvSpPr/>
          <p:nvPr userDrawn="1"/>
        </p:nvSpPr>
        <p:spPr bwMode="white">
          <a:xfrm>
            <a:off x="-171450" y="-152401"/>
            <a:ext cx="10904538" cy="6516131"/>
          </a:xfrm>
          <a:prstGeom prst="roundRect">
            <a:avLst>
              <a:gd name="adj" fmla="val 1263"/>
            </a:avLst>
          </a:prstGeom>
          <a:solidFill>
            <a:srgbClr val="44536C"/>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46569433-1D23-43C7-A01E-9C6E2975369F}"/>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22E55F0E-7B10-4FDF-B5BD-AF1860F2BF27}"/>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21B99F37-6FCD-294A-A33C-5CBA2E7B978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76759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2.xml><?xml version="1.0" encoding="utf-8"?>
<p:sldLayout xmlns:a="http://schemas.openxmlformats.org/drawingml/2006/main" xmlns:r="http://schemas.openxmlformats.org/officeDocument/2006/relationships" xmlns:p="http://schemas.openxmlformats.org/presentationml/2006/main" showMasterSp="0" preserve="1" userDrawn="1">
  <p:cSld name="Segue Midnight 2">
    <p:bg>
      <p:bgPr>
        <a:solidFill>
          <a:schemeClr val="tx2"/>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850B61F-2463-4E12-B05F-5C04B8EA8B59}"/>
              </a:ext>
            </a:extLst>
          </p:cNvPr>
          <p:cNvSpPr/>
          <p:nvPr userDrawn="1"/>
        </p:nvSpPr>
        <p:spPr bwMode="white">
          <a:xfrm>
            <a:off x="-171450" y="-152401"/>
            <a:ext cx="10904538" cy="6516131"/>
          </a:xfrm>
          <a:prstGeom prst="roundRect">
            <a:avLst>
              <a:gd name="adj" fmla="val 1263"/>
            </a:avLst>
          </a:prstGeom>
          <a:solidFill>
            <a:srgbClr val="092139"/>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noProof="0">
              <a:solidFill>
                <a:prstClr val="white"/>
              </a:solidFill>
            </a:endParaRPr>
          </a:p>
        </p:txBody>
      </p:sp>
      <p:sp>
        <p:nvSpPr>
          <p:cNvPr id="6" name="Subtitle">
            <a:extLst>
              <a:ext uri="{FF2B5EF4-FFF2-40B4-BE49-F238E27FC236}">
                <a16:creationId xmlns:a16="http://schemas.microsoft.com/office/drawing/2014/main" id="{0BF73236-9A00-4737-B99F-8D917394A1B3}"/>
              </a:ext>
            </a:extLst>
          </p:cNvPr>
          <p:cNvSpPr>
            <a:spLocks noGrp="1"/>
          </p:cNvSpPr>
          <p:nvPr>
            <p:ph type="subTitle" idx="1"/>
          </p:nvPr>
        </p:nvSpPr>
        <p:spPr bwMode="black">
          <a:xfrm>
            <a:off x="494189" y="4525630"/>
            <a:ext cx="8831404" cy="914400"/>
          </a:xfrm>
          <a:prstGeom prst="rect">
            <a:avLst/>
          </a:prstGeom>
        </p:spPr>
        <p:txBody>
          <a:bodyPr/>
          <a:lstStyle>
            <a:lvl1pPr marL="0" indent="0" algn="l">
              <a:lnSpc>
                <a:spcPct val="96000"/>
              </a:lnSpc>
              <a:spcBef>
                <a:spcPts val="120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D43BC7C6-A8F1-4D02-91D6-CBA0AF9DA032}"/>
              </a:ext>
            </a:extLst>
          </p:cNvPr>
          <p:cNvSpPr>
            <a:spLocks noGrp="1"/>
          </p:cNvSpPr>
          <p:nvPr>
            <p:ph type="title"/>
          </p:nvPr>
        </p:nvSpPr>
        <p:spPr>
          <a:xfrm>
            <a:off x="495298" y="3593167"/>
            <a:ext cx="8829675" cy="722955"/>
          </a:xfrm>
        </p:spPr>
        <p:txBody>
          <a:bodyPr wrap="square">
            <a:spAutoFit/>
          </a:bodyPr>
          <a:lstStyle>
            <a:lvl1pPr>
              <a:lnSpc>
                <a:spcPct val="87000"/>
              </a:lnSpc>
              <a:defRPr sz="5400">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11DC50CB-427A-2049-BC78-11BFEDC94C1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13475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3.xml><?xml version="1.0" encoding="utf-8"?>
<p:sldLayout xmlns:a="http://schemas.openxmlformats.org/drawingml/2006/main" xmlns:r="http://schemas.openxmlformats.org/officeDocument/2006/relationships" xmlns:p="http://schemas.openxmlformats.org/presentationml/2006/main" showMasterSp="0" preserve="1" userDrawn="1">
  <p:cSld name="Quote White">
    <p:bg>
      <p:bgPr>
        <a:gradFill>
          <a:gsLst>
            <a:gs pos="4000">
              <a:schemeClr val="bg1"/>
            </a:gs>
            <a:gs pos="35000">
              <a:schemeClr val="accent6">
                <a:lumMod val="20000"/>
                <a:lumOff val="80000"/>
              </a:schemeClr>
            </a:gs>
            <a:gs pos="100000">
              <a:schemeClr val="accent6">
                <a:lumMod val="40000"/>
                <a:lumOff val="60000"/>
              </a:schemeClr>
            </a:gs>
          </a:gsLst>
          <a:lin ang="2700000" scaled="1"/>
        </a:gradFill>
        <a:effectLst/>
      </p:bgPr>
    </p:bg>
    <p:spTree>
      <p:nvGrpSpPr>
        <p:cNvPr id="1" name=""/>
        <p:cNvGrpSpPr/>
        <p:nvPr/>
      </p:nvGrpSpPr>
      <p:grpSpPr>
        <a:xfrm>
          <a:off x="0" y="0"/>
          <a:ext cx="0" cy="0"/>
          <a:chOff x="0" y="0"/>
          <a:chExt cx="0" cy="0"/>
        </a:xfrm>
      </p:grpSpPr>
      <p:sp>
        <p:nvSpPr>
          <p:cNvPr id="7" name="Text Placeholder 47">
            <a:extLst>
              <a:ext uri="{FF2B5EF4-FFF2-40B4-BE49-F238E27FC236}">
                <a16:creationId xmlns:a16="http://schemas.microsoft.com/office/drawing/2014/main" id="{0A9A91B8-A650-FF42-8B84-8EE8AA9B4732}"/>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8" name="Text Placeholder 43">
            <a:extLst>
              <a:ext uri="{FF2B5EF4-FFF2-40B4-BE49-F238E27FC236}">
                <a16:creationId xmlns:a16="http://schemas.microsoft.com/office/drawing/2014/main" id="{B5E7CF3F-BD3B-7D42-BDAB-A4F74F05340E}"/>
              </a:ext>
            </a:extLst>
          </p:cNvPr>
          <p:cNvSpPr>
            <a:spLocks noGrp="1"/>
          </p:cNvSpPr>
          <p:nvPr>
            <p:ph type="body" sz="quarter" idx="10" hasCustomPrompt="1"/>
          </p:nvPr>
        </p:nvSpPr>
        <p:spPr bwMode="black">
          <a:xfrm>
            <a:off x="495301" y="612769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a:t>
            </a:r>
          </a:p>
        </p:txBody>
      </p:sp>
      <p:sp>
        <p:nvSpPr>
          <p:cNvPr id="9" name="Text Placeholder 49">
            <a:extLst>
              <a:ext uri="{FF2B5EF4-FFF2-40B4-BE49-F238E27FC236}">
                <a16:creationId xmlns:a16="http://schemas.microsoft.com/office/drawing/2014/main" id="{82B27882-C065-5746-8F41-9F6ECE7B8919}"/>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tx2"/>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Enter a quote or big statement here</a:t>
            </a:r>
          </a:p>
        </p:txBody>
      </p:sp>
      <p:sp>
        <p:nvSpPr>
          <p:cNvPr id="6" name="TextBox 5">
            <a:extLst>
              <a:ext uri="{FF2B5EF4-FFF2-40B4-BE49-F238E27FC236}">
                <a16:creationId xmlns:a16="http://schemas.microsoft.com/office/drawing/2014/main" id="{203911EB-8270-F61E-B42D-4149558B2B5E}"/>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762869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4.xml><?xml version="1.0" encoding="utf-8"?>
<p:sldLayout xmlns:a="http://schemas.openxmlformats.org/drawingml/2006/main" xmlns:r="http://schemas.openxmlformats.org/officeDocument/2006/relationships" xmlns:p="http://schemas.openxmlformats.org/presentationml/2006/main" showMasterSp="0" preserve="1" userDrawn="1">
  <p:cSld name="Quote Nickel">
    <p:bg>
      <p:bgPr>
        <a:gradFill>
          <a:gsLst>
            <a:gs pos="4000">
              <a:schemeClr val="accent6">
                <a:lumMod val="40000"/>
                <a:lumOff val="60000"/>
              </a:schemeClr>
            </a:gs>
            <a:gs pos="40000">
              <a:schemeClr val="accent6">
                <a:lumMod val="60000"/>
                <a:lumOff val="40000"/>
              </a:schemeClr>
            </a:gs>
            <a:gs pos="100000">
              <a:schemeClr val="accent6"/>
            </a:gs>
          </a:gsLst>
          <a:lin ang="2700000" scaled="1"/>
        </a:gradFill>
        <a:effectLst/>
      </p:bgPr>
    </p:bg>
    <p:spTree>
      <p:nvGrpSpPr>
        <p:cNvPr id="1" name=""/>
        <p:cNvGrpSpPr/>
        <p:nvPr/>
      </p:nvGrpSpPr>
      <p:grpSpPr>
        <a:xfrm>
          <a:off x="0" y="0"/>
          <a:ext cx="0" cy="0"/>
          <a:chOff x="0" y="0"/>
          <a:chExt cx="0" cy="0"/>
        </a:xfrm>
      </p:grpSpPr>
      <p:sp>
        <p:nvSpPr>
          <p:cNvPr id="7" name="Text Placeholder 47">
            <a:extLst>
              <a:ext uri="{FF2B5EF4-FFF2-40B4-BE49-F238E27FC236}">
                <a16:creationId xmlns:a16="http://schemas.microsoft.com/office/drawing/2014/main" id="{A2F7BADB-3391-9744-BEE5-43CB8B0262A2}"/>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8" name="Text Placeholder 43">
            <a:extLst>
              <a:ext uri="{FF2B5EF4-FFF2-40B4-BE49-F238E27FC236}">
                <a16:creationId xmlns:a16="http://schemas.microsoft.com/office/drawing/2014/main" id="{233A71B2-4B0B-7C4A-A016-0D15C51DE1F2}"/>
              </a:ext>
            </a:extLst>
          </p:cNvPr>
          <p:cNvSpPr>
            <a:spLocks noGrp="1"/>
          </p:cNvSpPr>
          <p:nvPr>
            <p:ph type="body" sz="quarter" idx="10" hasCustomPrompt="1"/>
          </p:nvPr>
        </p:nvSpPr>
        <p:spPr bwMode="black">
          <a:xfrm>
            <a:off x="495301" y="612769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a:t>
            </a:r>
          </a:p>
        </p:txBody>
      </p:sp>
      <p:sp>
        <p:nvSpPr>
          <p:cNvPr id="9" name="Text Placeholder 49">
            <a:extLst>
              <a:ext uri="{FF2B5EF4-FFF2-40B4-BE49-F238E27FC236}">
                <a16:creationId xmlns:a16="http://schemas.microsoft.com/office/drawing/2014/main" id="{9AEDA435-60E2-A642-AF9F-76D94424393A}"/>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tx2"/>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Enter a quote or big statement here</a:t>
            </a:r>
          </a:p>
        </p:txBody>
      </p:sp>
      <p:sp>
        <p:nvSpPr>
          <p:cNvPr id="6" name="TextBox 5">
            <a:extLst>
              <a:ext uri="{FF2B5EF4-FFF2-40B4-BE49-F238E27FC236}">
                <a16:creationId xmlns:a16="http://schemas.microsoft.com/office/drawing/2014/main" id="{991A2DA2-4881-0041-B3D1-865CD82059A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066563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5.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gradFill>
          <a:gsLst>
            <a:gs pos="4000">
              <a:srgbClr val="355FE0"/>
            </a:gs>
            <a:gs pos="35000">
              <a:schemeClr val="accent1"/>
            </a:gs>
            <a:gs pos="100000">
              <a:srgbClr val="0033B4"/>
            </a:gs>
          </a:gsLst>
          <a:lin ang="2700000" scaled="1"/>
        </a:gradFill>
        <a:effectLst/>
      </p:bgPr>
    </p:bg>
    <p:spTree>
      <p:nvGrpSpPr>
        <p:cNvPr id="1" name=""/>
        <p:cNvGrpSpPr/>
        <p:nvPr/>
      </p:nvGrpSpPr>
      <p:grpSpPr>
        <a:xfrm>
          <a:off x="0" y="0"/>
          <a:ext cx="0" cy="0"/>
          <a:chOff x="0" y="0"/>
          <a:chExt cx="0" cy="0"/>
        </a:xfrm>
      </p:grpSpPr>
      <p:sp>
        <p:nvSpPr>
          <p:cNvPr id="11" name="Text Placeholder 47">
            <a:extLst>
              <a:ext uri="{FF2B5EF4-FFF2-40B4-BE49-F238E27FC236}">
                <a16:creationId xmlns:a16="http://schemas.microsoft.com/office/drawing/2014/main" id="{BAC4BF12-B8EA-F047-93AC-C45226964A8D}"/>
              </a:ext>
            </a:extLst>
          </p:cNvPr>
          <p:cNvSpPr>
            <a:spLocks noGrp="1"/>
          </p:cNvSpPr>
          <p:nvPr>
            <p:ph type="body" sz="quarter" idx="11" hasCustomPrompt="1"/>
          </p:nvPr>
        </p:nvSpPr>
        <p:spPr bwMode="black">
          <a:xfrm>
            <a:off x="4054475" y="6120121"/>
            <a:ext cx="7635240" cy="284752"/>
          </a:xfrm>
          <a:prstGeom prst="rect">
            <a:avLst/>
          </a:prstGeom>
        </p:spPr>
        <p:txBody>
          <a:bodyPr anchor="ctr"/>
          <a:lstStyle>
            <a:lvl1pPr marL="0" indent="0" algn="l">
              <a:lnSpc>
                <a:spcPct val="96000"/>
              </a:lnSpc>
              <a:buNone/>
              <a:defRPr sz="16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9" name="Text Placeholder 43">
            <a:extLst>
              <a:ext uri="{FF2B5EF4-FFF2-40B4-BE49-F238E27FC236}">
                <a16:creationId xmlns:a16="http://schemas.microsoft.com/office/drawing/2014/main" id="{3278FA1E-1A1D-1D48-908F-C0816E40AB17}"/>
              </a:ext>
            </a:extLst>
          </p:cNvPr>
          <p:cNvSpPr>
            <a:spLocks noGrp="1"/>
          </p:cNvSpPr>
          <p:nvPr>
            <p:ph type="body" sz="quarter" idx="10" hasCustomPrompt="1"/>
          </p:nvPr>
        </p:nvSpPr>
        <p:spPr bwMode="black">
          <a:xfrm>
            <a:off x="502285" y="6120040"/>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bg1"/>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a:t>
            </a:r>
          </a:p>
        </p:txBody>
      </p:sp>
      <p:sp>
        <p:nvSpPr>
          <p:cNvPr id="12" name="Text Placeholder 49">
            <a:extLst>
              <a:ext uri="{FF2B5EF4-FFF2-40B4-BE49-F238E27FC236}">
                <a16:creationId xmlns:a16="http://schemas.microsoft.com/office/drawing/2014/main" id="{2F54F312-D712-9F4D-8B66-773B1F3A753E}"/>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Enter a quote or big statement here</a:t>
            </a:r>
          </a:p>
        </p:txBody>
      </p:sp>
      <p:sp>
        <p:nvSpPr>
          <p:cNvPr id="7" name="TextBox 6">
            <a:extLst>
              <a:ext uri="{FF2B5EF4-FFF2-40B4-BE49-F238E27FC236}">
                <a16:creationId xmlns:a16="http://schemas.microsoft.com/office/drawing/2014/main" id="{A4785F6F-9012-B34D-9137-F9A437AD947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2">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61349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6.xml><?xml version="1.0" encoding="utf-8"?>
<p:sldLayout xmlns:a="http://schemas.openxmlformats.org/drawingml/2006/main" xmlns:r="http://schemas.openxmlformats.org/officeDocument/2006/relationships" xmlns:p="http://schemas.openxmlformats.org/presentationml/2006/main" showMasterSp="0" preserve="1" userDrawn="1">
  <p:cSld name="Quote Gunmetal">
    <p:bg>
      <p:bgPr>
        <a:gradFill>
          <a:gsLst>
            <a:gs pos="4000">
              <a:srgbClr val="586B8A"/>
            </a:gs>
            <a:gs pos="35000">
              <a:schemeClr val="accent5"/>
            </a:gs>
            <a:gs pos="100000">
              <a:srgbClr val="2F394B"/>
            </a:gs>
          </a:gsLst>
          <a:lin ang="2700000" scaled="1"/>
        </a:gradFill>
        <a:effectLst/>
      </p:bgPr>
    </p:bg>
    <p:spTree>
      <p:nvGrpSpPr>
        <p:cNvPr id="1" name=""/>
        <p:cNvGrpSpPr/>
        <p:nvPr/>
      </p:nvGrpSpPr>
      <p:grpSpPr>
        <a:xfrm>
          <a:off x="0" y="0"/>
          <a:ext cx="0" cy="0"/>
          <a:chOff x="0" y="0"/>
          <a:chExt cx="0" cy="0"/>
        </a:xfrm>
      </p:grpSpPr>
      <p:sp>
        <p:nvSpPr>
          <p:cNvPr id="5" name="Text Placeholder 47">
            <a:extLst>
              <a:ext uri="{FF2B5EF4-FFF2-40B4-BE49-F238E27FC236}">
                <a16:creationId xmlns:a16="http://schemas.microsoft.com/office/drawing/2014/main" id="{FA5C1A55-A7FD-634C-A0DD-2F5E7ED9633F}"/>
              </a:ext>
            </a:extLst>
          </p:cNvPr>
          <p:cNvSpPr>
            <a:spLocks noGrp="1"/>
          </p:cNvSpPr>
          <p:nvPr>
            <p:ph type="body" sz="quarter" idx="11" hasCustomPrompt="1"/>
          </p:nvPr>
        </p:nvSpPr>
        <p:spPr bwMode="black">
          <a:xfrm>
            <a:off x="4054475" y="6127695"/>
            <a:ext cx="7635240" cy="284752"/>
          </a:xfrm>
          <a:prstGeom prst="rect">
            <a:avLst/>
          </a:prstGeom>
        </p:spPr>
        <p:txBody>
          <a:bodyPr anchor="ctr"/>
          <a:lstStyle>
            <a:lvl1pPr marL="0" indent="0" algn="l">
              <a:lnSpc>
                <a:spcPct val="96000"/>
              </a:lnSpc>
              <a:buNone/>
              <a:defRPr sz="1600">
                <a:solidFill>
                  <a:schemeClr val="accent2">
                    <a:lumMod val="60000"/>
                    <a:lumOff val="40000"/>
                  </a:schemeClr>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8" name="Text Placeholder 43">
            <a:extLst>
              <a:ext uri="{FF2B5EF4-FFF2-40B4-BE49-F238E27FC236}">
                <a16:creationId xmlns:a16="http://schemas.microsoft.com/office/drawing/2014/main" id="{3AFEEAB1-7A23-D941-BDA6-524848C38751}"/>
              </a:ext>
            </a:extLst>
          </p:cNvPr>
          <p:cNvSpPr>
            <a:spLocks noGrp="1"/>
          </p:cNvSpPr>
          <p:nvPr>
            <p:ph type="body" sz="quarter" idx="10" hasCustomPrompt="1"/>
          </p:nvPr>
        </p:nvSpPr>
        <p:spPr bwMode="black">
          <a:xfrm>
            <a:off x="504826" y="6120040"/>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2">
                    <a:lumMod val="60000"/>
                    <a:lumOff val="40000"/>
                  </a:schemeClr>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a:t>
            </a:r>
          </a:p>
        </p:txBody>
      </p:sp>
      <p:sp>
        <p:nvSpPr>
          <p:cNvPr id="9" name="Text Placeholder 49">
            <a:extLst>
              <a:ext uri="{FF2B5EF4-FFF2-40B4-BE49-F238E27FC236}">
                <a16:creationId xmlns:a16="http://schemas.microsoft.com/office/drawing/2014/main" id="{14862A1D-6971-7649-A4FD-7FF52B799757}"/>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Enter a quote or big statement here</a:t>
            </a:r>
          </a:p>
        </p:txBody>
      </p:sp>
      <p:sp>
        <p:nvSpPr>
          <p:cNvPr id="6" name="TextBox 5">
            <a:extLst>
              <a:ext uri="{FF2B5EF4-FFF2-40B4-BE49-F238E27FC236}">
                <a16:creationId xmlns:a16="http://schemas.microsoft.com/office/drawing/2014/main" id="{760A6F2D-E69A-9E46-8950-23F4CE879311}"/>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712378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7.xml><?xml version="1.0" encoding="utf-8"?>
<p:sldLayout xmlns:a="http://schemas.openxmlformats.org/drawingml/2006/main" xmlns:r="http://schemas.openxmlformats.org/officeDocument/2006/relationships" xmlns:p="http://schemas.openxmlformats.org/presentationml/2006/main" showMasterSp="0" preserve="1" userDrawn="1">
  <p:cSld name="Quote Midnight">
    <p:bg>
      <p:bgPr>
        <a:gradFill>
          <a:gsLst>
            <a:gs pos="4000">
              <a:srgbClr val="0F3459"/>
            </a:gs>
            <a:gs pos="35000">
              <a:schemeClr val="tx2"/>
            </a:gs>
            <a:gs pos="100000">
              <a:srgbClr val="05111D"/>
            </a:gs>
          </a:gsLst>
          <a:lin ang="2700000" scaled="1"/>
        </a:gradFill>
        <a:effectLst/>
      </p:bgPr>
    </p:bg>
    <p:spTree>
      <p:nvGrpSpPr>
        <p:cNvPr id="1" name=""/>
        <p:cNvGrpSpPr/>
        <p:nvPr/>
      </p:nvGrpSpPr>
      <p:grpSpPr>
        <a:xfrm>
          <a:off x="0" y="0"/>
          <a:ext cx="0" cy="0"/>
          <a:chOff x="0" y="0"/>
          <a:chExt cx="0" cy="0"/>
        </a:xfrm>
      </p:grpSpPr>
      <p:sp>
        <p:nvSpPr>
          <p:cNvPr id="5" name="Text Placeholder 47">
            <a:extLst>
              <a:ext uri="{FF2B5EF4-FFF2-40B4-BE49-F238E27FC236}">
                <a16:creationId xmlns:a16="http://schemas.microsoft.com/office/drawing/2014/main" id="{3FDFC356-FA50-5545-9192-D32F635E6175}"/>
              </a:ext>
            </a:extLst>
          </p:cNvPr>
          <p:cNvSpPr>
            <a:spLocks noGrp="1"/>
          </p:cNvSpPr>
          <p:nvPr>
            <p:ph type="body" sz="quarter" idx="11" hasCustomPrompt="1"/>
          </p:nvPr>
        </p:nvSpPr>
        <p:spPr bwMode="black">
          <a:xfrm>
            <a:off x="4054475" y="6120040"/>
            <a:ext cx="7635240" cy="284752"/>
          </a:xfrm>
          <a:prstGeom prst="rect">
            <a:avLst/>
          </a:prstGeom>
        </p:spPr>
        <p:txBody>
          <a:bodyPr anchor="ctr"/>
          <a:lstStyle>
            <a:lvl1pPr marL="0" indent="0" algn="l">
              <a:lnSpc>
                <a:spcPct val="96000"/>
              </a:lnSpc>
              <a:buNone/>
              <a:defRPr sz="1600">
                <a:solidFill>
                  <a:schemeClr val="accent3"/>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8" name="Text Placeholder 43">
            <a:extLst>
              <a:ext uri="{FF2B5EF4-FFF2-40B4-BE49-F238E27FC236}">
                <a16:creationId xmlns:a16="http://schemas.microsoft.com/office/drawing/2014/main" id="{C7A35B22-84BA-4942-9B72-5B1075329A9B}"/>
              </a:ext>
            </a:extLst>
          </p:cNvPr>
          <p:cNvSpPr>
            <a:spLocks noGrp="1"/>
          </p:cNvSpPr>
          <p:nvPr>
            <p:ph type="body" sz="quarter" idx="10" hasCustomPrompt="1"/>
          </p:nvPr>
        </p:nvSpPr>
        <p:spPr bwMode="black">
          <a:xfrm>
            <a:off x="495299" y="6131915"/>
            <a:ext cx="3200400" cy="269442"/>
          </a:xfrm>
          <a:prstGeom prst="rect">
            <a:avLst/>
          </a:prstGeom>
        </p:spPr>
        <p:txBody>
          <a:bodyPr anchor="ctr"/>
          <a:lstStyle>
            <a:lvl1pPr marL="0" indent="0" algn="l">
              <a:lnSpc>
                <a:spcPct val="90000"/>
              </a:lnSpc>
              <a:spcBef>
                <a:spcPts val="900"/>
              </a:spcBef>
              <a:spcAft>
                <a:spcPts val="900"/>
              </a:spcAft>
              <a:buNone/>
              <a:defRPr sz="1600" b="0">
                <a:solidFill>
                  <a:schemeClr val="accent3"/>
                </a:solidFill>
                <a:latin typeface="+mn-lt"/>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a:t>
            </a:r>
          </a:p>
        </p:txBody>
      </p:sp>
      <p:sp>
        <p:nvSpPr>
          <p:cNvPr id="9" name="Text Placeholder 49">
            <a:extLst>
              <a:ext uri="{FF2B5EF4-FFF2-40B4-BE49-F238E27FC236}">
                <a16:creationId xmlns:a16="http://schemas.microsoft.com/office/drawing/2014/main" id="{E0666273-162B-D24C-AF15-5645BD21EA4B}"/>
              </a:ext>
            </a:extLst>
          </p:cNvPr>
          <p:cNvSpPr>
            <a:spLocks noGrp="1"/>
          </p:cNvSpPr>
          <p:nvPr>
            <p:ph type="body" sz="quarter" idx="12" hasCustomPrompt="1"/>
          </p:nvPr>
        </p:nvSpPr>
        <p:spPr bwMode="black">
          <a:xfrm>
            <a:off x="495299" y="2087461"/>
            <a:ext cx="11201401" cy="2304256"/>
          </a:xfrm>
          <a:prstGeom prst="rect">
            <a:avLst/>
          </a:prstGeom>
        </p:spPr>
        <p:txBody>
          <a:bodyPr anchor="ctr"/>
          <a:lstStyle>
            <a:lvl1pPr marL="0" indent="0" algn="ctr">
              <a:lnSpc>
                <a:spcPct val="90000"/>
              </a:lnSpc>
              <a:spcBef>
                <a:spcPts val="900"/>
              </a:spcBef>
              <a:spcAft>
                <a:spcPts val="900"/>
              </a:spcAft>
              <a:buFont typeface="Microsoft Sans Serif" panose="020B0604020202020204" pitchFamily="34" charset="0"/>
              <a:buChar char="​"/>
              <a:defRPr sz="72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Enter a quote or big statement here</a:t>
            </a:r>
          </a:p>
        </p:txBody>
      </p:sp>
      <p:sp>
        <p:nvSpPr>
          <p:cNvPr id="6" name="TextBox 5">
            <a:extLst>
              <a:ext uri="{FF2B5EF4-FFF2-40B4-BE49-F238E27FC236}">
                <a16:creationId xmlns:a16="http://schemas.microsoft.com/office/drawing/2014/main" id="{6CCCA2F2-B9AA-3E47-8215-C015C839EAF8}"/>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52989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8.xml><?xml version="1.0" encoding="utf-8"?>
<p:sldLayout xmlns:a="http://schemas.openxmlformats.org/drawingml/2006/main" xmlns:r="http://schemas.openxmlformats.org/officeDocument/2006/relationships" xmlns:p="http://schemas.openxmlformats.org/presentationml/2006/main" showMasterSp="0" preserve="1" userDrawn="1">
  <p:cSld name="Thank You White">
    <p:bg>
      <p:bgPr>
        <a:solidFill>
          <a:schemeClr val="bg1"/>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20000"/>
              <a:lumOff val="8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5" name="TextBox 24">
            <a:extLst>
              <a:ext uri="{FF2B5EF4-FFF2-40B4-BE49-F238E27FC236}">
                <a16:creationId xmlns:a16="http://schemas.microsoft.com/office/drawing/2014/main" id="{E62551AF-526D-428B-862C-907D5068C57C}"/>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chemeClr val="accent6">
                    <a:lumMod val="40000"/>
                    <a:lumOff val="6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chemeClr val="accent6">
                    <a:lumMod val="40000"/>
                    <a:lumOff val="6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chemeClr val="accent6">
                    <a:lumMod val="40000"/>
                    <a:lumOff val="6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chemeClr val="accent6">
                    <a:lumMod val="40000"/>
                    <a:lumOff val="6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chemeClr val="accent6">
                    <a:lumMod val="40000"/>
                    <a:lumOff val="6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chemeClr val="accent6">
                    <a:lumMod val="40000"/>
                    <a:lumOff val="6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chemeClr val="accent6">
                    <a:lumMod val="40000"/>
                    <a:lumOff val="6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chemeClr val="accent6">
                    <a:lumMod val="40000"/>
                    <a:lumOff val="60000"/>
                  </a:schemeClr>
                </a:solidFill>
                <a:effectLst>
                  <a:innerShdw blurRad="25400" dist="12700" dir="13500000">
                    <a:prstClr val="black">
                      <a:alpha val="50000"/>
                    </a:prstClr>
                  </a:innerShdw>
                </a:effectLst>
                <a:uLnTx/>
                <a:uFillTx/>
              </a:rPr>
              <a:t>u</a:t>
            </a:r>
          </a:p>
        </p:txBody>
      </p:sp>
      <p:sp>
        <p:nvSpPr>
          <p:cNvPr id="39" name="TextBox 38">
            <a:extLst>
              <a:ext uri="{FF2B5EF4-FFF2-40B4-BE49-F238E27FC236}">
                <a16:creationId xmlns:a16="http://schemas.microsoft.com/office/drawing/2014/main" id="{9E645FF0-4207-4C90-8CE9-2E601D81A337}"/>
              </a:ext>
            </a:extLst>
          </p:cNvPr>
          <p:cNvSpPr txBox="1"/>
          <p:nvPr userDrawn="1"/>
        </p:nvSpPr>
        <p:spPr bwMode="gray">
          <a:xfrm>
            <a:off x="4313238" y="5149207"/>
            <a:ext cx="4101089" cy="1046440"/>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All data and information contained in or disclosed by this document is confidential</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nd proprietary information of Qualcomm Technologies, Inc. and/or its affili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companies and all rights therein are expressly reserved. By accepting this material the</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recipient agrees that this material and the information contained therein will not be us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copied, reproduced in whole or in part, nor its contents revealed in any manner to other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without the express written permission of Qualcomm Technologies, Inc. Nothing in these</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materials 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ll Rights Reserved.</a:t>
            </a:r>
          </a:p>
        </p:txBody>
      </p:sp>
      <p:sp>
        <p:nvSpPr>
          <p:cNvPr id="44" name="TextBox 43">
            <a:extLst>
              <a:ext uri="{FF2B5EF4-FFF2-40B4-BE49-F238E27FC236}">
                <a16:creationId xmlns:a16="http://schemas.microsoft.com/office/drawing/2014/main" id="{7E26BA33-6378-4AEA-8D5E-1735165C76C7}"/>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qualcomm.com &amp; qualcomm.com/blog</a:t>
            </a:r>
          </a:p>
        </p:txBody>
      </p:sp>
      <p:sp>
        <p:nvSpPr>
          <p:cNvPr id="17" name="TextBox 16">
            <a:extLst>
              <a:ext uri="{FF2B5EF4-FFF2-40B4-BE49-F238E27FC236}">
                <a16:creationId xmlns:a16="http://schemas.microsoft.com/office/drawing/2014/main" id="{20CE67DB-173F-A847-BB03-5CCE0B67BA18}"/>
              </a:ext>
            </a:extLst>
          </p:cNvPr>
          <p:cNvSpPr txBox="1"/>
          <p:nvPr userDrawn="1"/>
        </p:nvSpPr>
        <p:spPr>
          <a:xfrm>
            <a:off x="75296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
        <p:nvSpPr>
          <p:cNvPr id="28" name="TextBox 27">
            <a:extLst>
              <a:ext uri="{FF2B5EF4-FFF2-40B4-BE49-F238E27FC236}">
                <a16:creationId xmlns:a16="http://schemas.microsoft.com/office/drawing/2014/main" id="{42769655-B7D3-BF0A-8736-695F37B9AE92}"/>
              </a:ext>
            </a:extLst>
          </p:cNvPr>
          <p:cNvSpPr txBox="1"/>
          <p:nvPr userDrawn="1"/>
        </p:nvSpPr>
        <p:spPr bwMode="gray">
          <a:xfrm>
            <a:off x="8118475" y="5149207"/>
            <a:ext cx="4073525" cy="126188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Qualcomm is a trademark or registered trademark of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Other products and brand names may be trademarks or registered trademark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luding our QCT semiconductor business.</a:t>
            </a: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grpSp>
        <p:nvGrpSpPr>
          <p:cNvPr id="29" name="Group 28">
            <a:extLst>
              <a:ext uri="{FF2B5EF4-FFF2-40B4-BE49-F238E27FC236}">
                <a16:creationId xmlns:a16="http://schemas.microsoft.com/office/drawing/2014/main" id="{5F8D9654-726B-330A-4BD0-985CC87DEF53}"/>
              </a:ext>
            </a:extLst>
          </p:cNvPr>
          <p:cNvGrpSpPr/>
          <p:nvPr userDrawn="1"/>
        </p:nvGrpSpPr>
        <p:grpSpPr>
          <a:xfrm>
            <a:off x="1710812" y="5696712"/>
            <a:ext cx="1036171" cy="137160"/>
            <a:chOff x="2442332" y="4081331"/>
            <a:chExt cx="1036171" cy="137160"/>
          </a:xfrm>
          <a:solidFill>
            <a:schemeClr val="tx2"/>
          </a:solidFill>
        </p:grpSpPr>
        <p:sp>
          <p:nvSpPr>
            <p:cNvPr id="30" name="Freeform 12">
              <a:extLst>
                <a:ext uri="{FF2B5EF4-FFF2-40B4-BE49-F238E27FC236}">
                  <a16:creationId xmlns:a16="http://schemas.microsoft.com/office/drawing/2014/main" id="{08E5BCE7-99E6-86C6-9BEF-06FE5EA07F7C}"/>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1" name="Group 5">
              <a:extLst>
                <a:ext uri="{FF2B5EF4-FFF2-40B4-BE49-F238E27FC236}">
                  <a16:creationId xmlns:a16="http://schemas.microsoft.com/office/drawing/2014/main" id="{051CF8C3-B7CB-5240-3B10-EDC3FE69E7AE}"/>
                </a:ext>
              </a:extLst>
            </p:cNvPr>
            <p:cNvGrpSpPr>
              <a:grpSpLocks noChangeAspect="1"/>
            </p:cNvGrpSpPr>
            <p:nvPr/>
          </p:nvGrpSpPr>
          <p:grpSpPr bwMode="gray">
            <a:xfrm>
              <a:off x="2442332" y="4081331"/>
              <a:ext cx="138792" cy="137160"/>
              <a:chOff x="3331" y="1656"/>
              <a:chExt cx="1020" cy="1008"/>
            </a:xfrm>
            <a:grpFill/>
          </p:grpSpPr>
          <p:sp>
            <p:nvSpPr>
              <p:cNvPr id="38" name="Freeform 6">
                <a:extLst>
                  <a:ext uri="{FF2B5EF4-FFF2-40B4-BE49-F238E27FC236}">
                    <a16:creationId xmlns:a16="http://schemas.microsoft.com/office/drawing/2014/main" id="{E67FFCF4-6BC4-4C0B-123A-C50389AF369B}"/>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EF3F5689-03D1-CD72-3B35-F67EB877F206}"/>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2" name="Group 4">
              <a:extLst>
                <a:ext uri="{FF2B5EF4-FFF2-40B4-BE49-F238E27FC236}">
                  <a16:creationId xmlns:a16="http://schemas.microsoft.com/office/drawing/2014/main" id="{A2D6CA45-1A15-70B5-5A99-A4308370A7DF}"/>
                </a:ext>
              </a:extLst>
            </p:cNvPr>
            <p:cNvGrpSpPr>
              <a:grpSpLocks noChangeAspect="1"/>
            </p:cNvGrpSpPr>
            <p:nvPr/>
          </p:nvGrpSpPr>
          <p:grpSpPr bwMode="auto">
            <a:xfrm>
              <a:off x="2877851" y="4081836"/>
              <a:ext cx="136034" cy="136150"/>
              <a:chOff x="2653" y="972"/>
              <a:chExt cx="2372" cy="2374"/>
            </a:xfrm>
            <a:grpFill/>
          </p:grpSpPr>
          <p:sp>
            <p:nvSpPr>
              <p:cNvPr id="35" name="Freeform 5">
                <a:extLst>
                  <a:ext uri="{FF2B5EF4-FFF2-40B4-BE49-F238E27FC236}">
                    <a16:creationId xmlns:a16="http://schemas.microsoft.com/office/drawing/2014/main" id="{86920FC4-92E1-DE43-42D4-A36C1F973A01}"/>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6" name="Freeform 6">
                <a:extLst>
                  <a:ext uri="{FF2B5EF4-FFF2-40B4-BE49-F238E27FC236}">
                    <a16:creationId xmlns:a16="http://schemas.microsoft.com/office/drawing/2014/main" id="{A097CA6B-4D8C-D44C-3B3F-67B5A85BCCAD}"/>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Oval 7">
                <a:extLst>
                  <a:ext uri="{FF2B5EF4-FFF2-40B4-BE49-F238E27FC236}">
                    <a16:creationId xmlns:a16="http://schemas.microsoft.com/office/drawing/2014/main" id="{B33D91C7-3C77-43B8-FA1E-690164263E8D}"/>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3" name="Graphic 32">
              <a:extLst>
                <a:ext uri="{FF2B5EF4-FFF2-40B4-BE49-F238E27FC236}">
                  <a16:creationId xmlns:a16="http://schemas.microsoft.com/office/drawing/2014/main" id="{8A9B8798-24F0-BD54-4DA7-7F134271E08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4" name="Graphic 33">
              <a:extLst>
                <a:ext uri="{FF2B5EF4-FFF2-40B4-BE49-F238E27FC236}">
                  <a16:creationId xmlns:a16="http://schemas.microsoft.com/office/drawing/2014/main" id="{21A0DD81-1551-14EF-B4D8-5E9915CCC1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Tree>
    <p:extLst>
      <p:ext uri="{BB962C8B-B14F-4D97-AF65-F5344CB8AC3E}">
        <p14:creationId xmlns:p14="http://schemas.microsoft.com/office/powerpoint/2010/main" val="3668930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9.xml><?xml version="1.0" encoding="utf-8"?>
<p:sldLayout xmlns:a="http://schemas.openxmlformats.org/drawingml/2006/main" xmlns:r="http://schemas.openxmlformats.org/officeDocument/2006/relationships" xmlns:p="http://schemas.openxmlformats.org/presentationml/2006/main" showMasterSp="0" preserve="1" userDrawn="1">
  <p:cSld name="Thank You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chemeClr val="accent6">
              <a:lumMod val="60000"/>
              <a:lumOff val="40000"/>
            </a:schemeClr>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44" name="TextBox 43">
            <a:extLst>
              <a:ext uri="{FF2B5EF4-FFF2-40B4-BE49-F238E27FC236}">
                <a16:creationId xmlns:a16="http://schemas.microsoft.com/office/drawing/2014/main" id="{C08BE0CF-A0BD-420A-A60E-2BCB53E831F6}"/>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tx2"/>
                </a:solidFill>
                <a:effectLst/>
                <a:uLnTx/>
                <a:uFillTx/>
                <a:latin typeface="+mn-lt"/>
                <a:ea typeface="+mn-ea"/>
                <a:cs typeface="+mn-cs"/>
              </a:rPr>
              <a:t>qualcomm.com &amp; qualcomm.com/blog</a:t>
            </a:r>
          </a:p>
        </p:txBody>
      </p:sp>
      <p:sp>
        <p:nvSpPr>
          <p:cNvPr id="32" name="TextBox 31">
            <a:extLst>
              <a:ext uri="{FF2B5EF4-FFF2-40B4-BE49-F238E27FC236}">
                <a16:creationId xmlns:a16="http://schemas.microsoft.com/office/drawing/2014/main" id="{04C8F070-5B83-5C4D-83FC-6FC26B8CF386}"/>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rgbClr val="CAD2E0"/>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rgbClr val="CAD2E0"/>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rgbClr val="CAD2E0"/>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rgbClr val="CAD2E0"/>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rgbClr val="CAD2E0"/>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rgbClr val="CAD2E0"/>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rgbClr val="CAD2E0"/>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rgbClr val="CAD2E0"/>
                </a:solidFill>
                <a:effectLst>
                  <a:innerShdw blurRad="25400" dist="12700" dir="13500000">
                    <a:prstClr val="black">
                      <a:alpha val="50000"/>
                    </a:prstClr>
                  </a:innerShdw>
                </a:effectLst>
                <a:uLnTx/>
                <a:uFillTx/>
              </a:rPr>
              <a:t>u</a:t>
            </a:r>
          </a:p>
        </p:txBody>
      </p:sp>
      <p:sp>
        <p:nvSpPr>
          <p:cNvPr id="17" name="TextBox 16">
            <a:extLst>
              <a:ext uri="{FF2B5EF4-FFF2-40B4-BE49-F238E27FC236}">
                <a16:creationId xmlns:a16="http://schemas.microsoft.com/office/drawing/2014/main" id="{9B7E8119-D08E-A04E-A14D-872716D70D93}"/>
              </a:ext>
            </a:extLst>
          </p:cNvPr>
          <p:cNvSpPr txBox="1"/>
          <p:nvPr userDrawn="1"/>
        </p:nvSpPr>
        <p:spPr>
          <a:xfrm>
            <a:off x="75296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
        <p:nvSpPr>
          <p:cNvPr id="29" name="TextBox 28">
            <a:extLst>
              <a:ext uri="{FF2B5EF4-FFF2-40B4-BE49-F238E27FC236}">
                <a16:creationId xmlns:a16="http://schemas.microsoft.com/office/drawing/2014/main" id="{4D300438-7B29-1238-1D3D-C9E7568113E8}"/>
              </a:ext>
            </a:extLst>
          </p:cNvPr>
          <p:cNvSpPr txBox="1"/>
          <p:nvPr userDrawn="1"/>
        </p:nvSpPr>
        <p:spPr bwMode="gray">
          <a:xfrm>
            <a:off x="4313238" y="5149207"/>
            <a:ext cx="4101089" cy="1046440"/>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All data and information contained in or disclosed by this document is confidential</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nd proprietary information of Qualcomm Technologies, Inc. and/or its affili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companies and all rights therein are expressly reserved. By accepting this material the</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recipient agrees that this material and the information contained therein will not be us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copied, reproduced in whole or in part, nor its contents revealed in any manner to other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without the express written permission of Qualcomm Technologies, Inc. Nothing in these</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materials 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ll Rights Reserved.</a:t>
            </a:r>
          </a:p>
        </p:txBody>
      </p:sp>
      <p:sp>
        <p:nvSpPr>
          <p:cNvPr id="30" name="TextBox 29">
            <a:extLst>
              <a:ext uri="{FF2B5EF4-FFF2-40B4-BE49-F238E27FC236}">
                <a16:creationId xmlns:a16="http://schemas.microsoft.com/office/drawing/2014/main" id="{C6814108-5BD7-ADD6-1E27-D5BC017E51DE}"/>
              </a:ext>
            </a:extLst>
          </p:cNvPr>
          <p:cNvSpPr txBox="1"/>
          <p:nvPr userDrawn="1"/>
        </p:nvSpPr>
        <p:spPr bwMode="gray">
          <a:xfrm>
            <a:off x="8118475" y="5149207"/>
            <a:ext cx="4073525" cy="126188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mn-cs"/>
              </a:rPr>
              <a:t>Qualcomm is a trademark or registered trademark of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Other products and brand names may be trademarks or registered trademark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tx2"/>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tx2"/>
                </a:solidFill>
                <a:effectLst/>
                <a:uLnTx/>
                <a:uFillTx/>
                <a:latin typeface="+mn-lt"/>
                <a:ea typeface="+mn-ea"/>
                <a:cs typeface="+mn-cs"/>
              </a:rPr>
            </a:br>
            <a:r>
              <a:rPr kumimoji="0" lang="en-US" sz="700" b="0" i="0" u="none" strike="noStrike" kern="1200" cap="none" spc="0" normalizeH="0" baseline="0" noProof="0" dirty="0">
                <a:ln>
                  <a:noFill/>
                </a:ln>
                <a:solidFill>
                  <a:schemeClr val="tx2"/>
                </a:solidFill>
                <a:effectLst/>
                <a:uLnTx/>
                <a:uFillTx/>
                <a:latin typeface="+mn-lt"/>
                <a:ea typeface="+mn-ea"/>
                <a:cs typeface="+mn-cs"/>
              </a:rPr>
              <a:t>including our QCT semiconductor business.</a:t>
            </a:r>
          </a:p>
        </p:txBody>
      </p:sp>
      <p:grpSp>
        <p:nvGrpSpPr>
          <p:cNvPr id="27" name="Group 26">
            <a:extLst>
              <a:ext uri="{FF2B5EF4-FFF2-40B4-BE49-F238E27FC236}">
                <a16:creationId xmlns:a16="http://schemas.microsoft.com/office/drawing/2014/main" id="{45126FBF-A5C8-E753-702F-BE6629CA1F8E}"/>
              </a:ext>
            </a:extLst>
          </p:cNvPr>
          <p:cNvGrpSpPr/>
          <p:nvPr userDrawn="1"/>
        </p:nvGrpSpPr>
        <p:grpSpPr>
          <a:xfrm>
            <a:off x="1710812" y="5696712"/>
            <a:ext cx="1036171" cy="137160"/>
            <a:chOff x="2442332" y="4081331"/>
            <a:chExt cx="1036171" cy="137160"/>
          </a:xfrm>
          <a:solidFill>
            <a:schemeClr val="tx2"/>
          </a:solidFill>
        </p:grpSpPr>
        <p:sp>
          <p:nvSpPr>
            <p:cNvPr id="28" name="Freeform 12">
              <a:extLst>
                <a:ext uri="{FF2B5EF4-FFF2-40B4-BE49-F238E27FC236}">
                  <a16:creationId xmlns:a16="http://schemas.microsoft.com/office/drawing/2014/main" id="{BCE9D064-F704-8362-39B8-D61F18A05C82}"/>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1" name="Group 5">
              <a:extLst>
                <a:ext uri="{FF2B5EF4-FFF2-40B4-BE49-F238E27FC236}">
                  <a16:creationId xmlns:a16="http://schemas.microsoft.com/office/drawing/2014/main" id="{57A26EB6-BF0D-3631-40BF-D8EEE225336D}"/>
                </a:ext>
              </a:extLst>
            </p:cNvPr>
            <p:cNvGrpSpPr>
              <a:grpSpLocks noChangeAspect="1"/>
            </p:cNvGrpSpPr>
            <p:nvPr/>
          </p:nvGrpSpPr>
          <p:grpSpPr bwMode="gray">
            <a:xfrm>
              <a:off x="2442332" y="4081331"/>
              <a:ext cx="138792" cy="137160"/>
              <a:chOff x="3331" y="1656"/>
              <a:chExt cx="1020" cy="1008"/>
            </a:xfrm>
            <a:grpFill/>
          </p:grpSpPr>
          <p:sp>
            <p:nvSpPr>
              <p:cNvPr id="39" name="Freeform 6">
                <a:extLst>
                  <a:ext uri="{FF2B5EF4-FFF2-40B4-BE49-F238E27FC236}">
                    <a16:creationId xmlns:a16="http://schemas.microsoft.com/office/drawing/2014/main" id="{208F8E96-E928-21FA-EFEE-ADFA54D21400}"/>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AC1DD193-55D1-442F-0C4B-13D489394677}"/>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3" name="Group 4">
              <a:extLst>
                <a:ext uri="{FF2B5EF4-FFF2-40B4-BE49-F238E27FC236}">
                  <a16:creationId xmlns:a16="http://schemas.microsoft.com/office/drawing/2014/main" id="{AA4E505B-3C25-224A-D3F6-938F9C2D82D7}"/>
                </a:ext>
              </a:extLst>
            </p:cNvPr>
            <p:cNvGrpSpPr>
              <a:grpSpLocks noChangeAspect="1"/>
            </p:cNvGrpSpPr>
            <p:nvPr/>
          </p:nvGrpSpPr>
          <p:grpSpPr bwMode="auto">
            <a:xfrm>
              <a:off x="2877851" y="4081836"/>
              <a:ext cx="136034" cy="136150"/>
              <a:chOff x="2653" y="972"/>
              <a:chExt cx="2372" cy="2374"/>
            </a:xfrm>
            <a:grpFill/>
          </p:grpSpPr>
          <p:sp>
            <p:nvSpPr>
              <p:cNvPr id="36" name="Freeform 5">
                <a:extLst>
                  <a:ext uri="{FF2B5EF4-FFF2-40B4-BE49-F238E27FC236}">
                    <a16:creationId xmlns:a16="http://schemas.microsoft.com/office/drawing/2014/main" id="{B94371F3-6684-AFD8-9A10-E321127995F5}"/>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Freeform 6">
                <a:extLst>
                  <a:ext uri="{FF2B5EF4-FFF2-40B4-BE49-F238E27FC236}">
                    <a16:creationId xmlns:a16="http://schemas.microsoft.com/office/drawing/2014/main" id="{BBDC5DC2-A3E5-2962-AF11-1A51499DB791}"/>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8" name="Oval 7">
                <a:extLst>
                  <a:ext uri="{FF2B5EF4-FFF2-40B4-BE49-F238E27FC236}">
                    <a16:creationId xmlns:a16="http://schemas.microsoft.com/office/drawing/2014/main" id="{A37CBBE8-47E6-18A7-6A66-9009E9619601}"/>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4" name="Graphic 33">
              <a:extLst>
                <a:ext uri="{FF2B5EF4-FFF2-40B4-BE49-F238E27FC236}">
                  <a16:creationId xmlns:a16="http://schemas.microsoft.com/office/drawing/2014/main" id="{B9949FE9-C734-1308-F4E7-E12D5825CE4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5" name="Graphic 34">
              <a:extLst>
                <a:ext uri="{FF2B5EF4-FFF2-40B4-BE49-F238E27FC236}">
                  <a16:creationId xmlns:a16="http://schemas.microsoft.com/office/drawing/2014/main" id="{5B843766-C686-78CC-9812-118C4BFBBA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Tree>
    <p:extLst>
      <p:ext uri="{BB962C8B-B14F-4D97-AF65-F5344CB8AC3E}">
        <p14:creationId xmlns:p14="http://schemas.microsoft.com/office/powerpoint/2010/main" val="289026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mage Right 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4">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2868BC3B-427B-42AE-99BE-43783D38DBAC}"/>
              </a:ext>
            </a:extLst>
          </p:cNvPr>
          <p:cNvSpPr>
            <a:spLocks noGrp="1"/>
          </p:cNvSpPr>
          <p:nvPr>
            <p:ph type="title"/>
          </p:nvPr>
        </p:nvSpPr>
        <p:spPr>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23777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0.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p:bgPr>
        <a:solidFill>
          <a:schemeClr val="accent1"/>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214ACD"/>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68" name="TextBox 67">
            <a:extLst>
              <a:ext uri="{FF2B5EF4-FFF2-40B4-BE49-F238E27FC236}">
                <a16:creationId xmlns:a16="http://schemas.microsoft.com/office/drawing/2014/main" id="{2C46E43E-DAC5-48FD-B064-58807FF1A8C2}"/>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qualcomm.com &amp; qualcomm.com/blog</a:t>
            </a:r>
          </a:p>
        </p:txBody>
      </p:sp>
      <p:sp>
        <p:nvSpPr>
          <p:cNvPr id="18" name="TextBox 17">
            <a:extLst>
              <a:ext uri="{FF2B5EF4-FFF2-40B4-BE49-F238E27FC236}">
                <a16:creationId xmlns:a16="http://schemas.microsoft.com/office/drawing/2014/main" id="{57DEABFE-66C4-5947-8424-FF8BFD492C38}"/>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rgbClr val="1F46C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rgbClr val="1F46C3"/>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rgbClr val="1F46C3"/>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rgbClr val="1F46C3"/>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rgbClr val="1F46C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rgbClr val="1F46C3"/>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rgbClr val="1F46C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rgbClr val="1F46C3"/>
                </a:solidFill>
                <a:effectLst>
                  <a:innerShdw blurRad="25400" dist="12700" dir="13500000">
                    <a:prstClr val="black">
                      <a:alpha val="50000"/>
                    </a:prstClr>
                  </a:innerShdw>
                </a:effectLst>
                <a:uLnTx/>
                <a:uFillTx/>
              </a:rPr>
              <a:t>u</a:t>
            </a:r>
          </a:p>
        </p:txBody>
      </p:sp>
      <p:sp>
        <p:nvSpPr>
          <p:cNvPr id="17" name="TextBox 16">
            <a:extLst>
              <a:ext uri="{FF2B5EF4-FFF2-40B4-BE49-F238E27FC236}">
                <a16:creationId xmlns:a16="http://schemas.microsoft.com/office/drawing/2014/main" id="{D75122FF-3E10-2A4C-925A-B860E64E0D5A}"/>
              </a:ext>
            </a:extLst>
          </p:cNvPr>
          <p:cNvSpPr txBox="1"/>
          <p:nvPr userDrawn="1"/>
        </p:nvSpPr>
        <p:spPr>
          <a:xfrm>
            <a:off x="75296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2">
                    <a:lumMod val="40000"/>
                    <a:lumOff val="60000"/>
                  </a:schemeClr>
                </a:solidFill>
              </a:rPr>
              <a:t>Confidential – Qualcomm Technologies, Inc. and/or its affiliated companies – May Contain Trade Secrets</a:t>
            </a:r>
          </a:p>
        </p:txBody>
      </p:sp>
      <p:sp>
        <p:nvSpPr>
          <p:cNvPr id="22" name="TextBox 21">
            <a:extLst>
              <a:ext uri="{FF2B5EF4-FFF2-40B4-BE49-F238E27FC236}">
                <a16:creationId xmlns:a16="http://schemas.microsoft.com/office/drawing/2014/main" id="{59EA7A12-3AC1-314C-39FF-9314B2E77000}"/>
              </a:ext>
            </a:extLst>
          </p:cNvPr>
          <p:cNvSpPr txBox="1"/>
          <p:nvPr userDrawn="1"/>
        </p:nvSpPr>
        <p:spPr bwMode="gray">
          <a:xfrm>
            <a:off x="4313238" y="5149207"/>
            <a:ext cx="4101089" cy="1046440"/>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All data and information contained in or disclosed by this document is confidential</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nd proprietary information of Qualcomm Technologies, Inc. and/or its affili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mpanies and all rights therein are expressly reserved. By accepting this material th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recipient agrees that this material and the information contained therein will not be us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pied, reproduced in whole or in part, nor its contents revealed in any manner to other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without the express written permission of Qualcomm Technologies, Inc. Nothing in thes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materials 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l Rights Reserved.</a:t>
            </a:r>
          </a:p>
        </p:txBody>
      </p:sp>
      <p:sp>
        <p:nvSpPr>
          <p:cNvPr id="23" name="TextBox 22">
            <a:extLst>
              <a:ext uri="{FF2B5EF4-FFF2-40B4-BE49-F238E27FC236}">
                <a16:creationId xmlns:a16="http://schemas.microsoft.com/office/drawing/2014/main" id="{C9715419-C911-9D37-1CD2-77C18B26F503}"/>
              </a:ext>
            </a:extLst>
          </p:cNvPr>
          <p:cNvSpPr txBox="1"/>
          <p:nvPr userDrawn="1"/>
        </p:nvSpPr>
        <p:spPr bwMode="gray">
          <a:xfrm>
            <a:off x="8118475" y="5149207"/>
            <a:ext cx="4073525" cy="126188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Qualcomm is a trademark or registered trademark of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ther products and brand names may be trademarks or registered trademark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ing our QCT semiconductor business.</a:t>
            </a:r>
          </a:p>
        </p:txBody>
      </p:sp>
      <p:grpSp>
        <p:nvGrpSpPr>
          <p:cNvPr id="20" name="Group 19">
            <a:extLst>
              <a:ext uri="{FF2B5EF4-FFF2-40B4-BE49-F238E27FC236}">
                <a16:creationId xmlns:a16="http://schemas.microsoft.com/office/drawing/2014/main" id="{2841E068-486B-0543-4130-3D8176627778}"/>
              </a:ext>
            </a:extLst>
          </p:cNvPr>
          <p:cNvGrpSpPr/>
          <p:nvPr userDrawn="1"/>
        </p:nvGrpSpPr>
        <p:grpSpPr>
          <a:xfrm>
            <a:off x="1710812" y="5696712"/>
            <a:ext cx="1036171" cy="137160"/>
            <a:chOff x="2442332" y="4081331"/>
            <a:chExt cx="1036171" cy="137160"/>
          </a:xfrm>
          <a:solidFill>
            <a:schemeClr val="bg1"/>
          </a:solidFill>
        </p:grpSpPr>
        <p:sp>
          <p:nvSpPr>
            <p:cNvPr id="21" name="Freeform 12">
              <a:extLst>
                <a:ext uri="{FF2B5EF4-FFF2-40B4-BE49-F238E27FC236}">
                  <a16:creationId xmlns:a16="http://schemas.microsoft.com/office/drawing/2014/main" id="{CDE91238-9485-8E94-027E-16F7C041DF56}"/>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5" name="Group 5">
              <a:extLst>
                <a:ext uri="{FF2B5EF4-FFF2-40B4-BE49-F238E27FC236}">
                  <a16:creationId xmlns:a16="http://schemas.microsoft.com/office/drawing/2014/main" id="{233E33BB-455A-9947-5EE1-DF56753F870F}"/>
                </a:ext>
              </a:extLst>
            </p:cNvPr>
            <p:cNvGrpSpPr>
              <a:grpSpLocks noChangeAspect="1"/>
            </p:cNvGrpSpPr>
            <p:nvPr/>
          </p:nvGrpSpPr>
          <p:grpSpPr bwMode="gray">
            <a:xfrm>
              <a:off x="2442332" y="4081331"/>
              <a:ext cx="138792" cy="137160"/>
              <a:chOff x="3331" y="1656"/>
              <a:chExt cx="1020" cy="1008"/>
            </a:xfrm>
            <a:grpFill/>
          </p:grpSpPr>
          <p:sp>
            <p:nvSpPr>
              <p:cNvPr id="33" name="Freeform 6">
                <a:extLst>
                  <a:ext uri="{FF2B5EF4-FFF2-40B4-BE49-F238E27FC236}">
                    <a16:creationId xmlns:a16="http://schemas.microsoft.com/office/drawing/2014/main" id="{C8B65F3F-3643-23C8-939A-CFFEDC20343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34" name="Freeform 7">
                <a:extLst>
                  <a:ext uri="{FF2B5EF4-FFF2-40B4-BE49-F238E27FC236}">
                    <a16:creationId xmlns:a16="http://schemas.microsoft.com/office/drawing/2014/main" id="{9A36BC85-9A15-8F8B-C0A9-0CFC53B9D398}"/>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27" name="Group 4">
              <a:extLst>
                <a:ext uri="{FF2B5EF4-FFF2-40B4-BE49-F238E27FC236}">
                  <a16:creationId xmlns:a16="http://schemas.microsoft.com/office/drawing/2014/main" id="{04476DB9-9A8B-9A53-594B-AA02AE22E7E2}"/>
                </a:ext>
              </a:extLst>
            </p:cNvPr>
            <p:cNvGrpSpPr>
              <a:grpSpLocks noChangeAspect="1"/>
            </p:cNvGrpSpPr>
            <p:nvPr/>
          </p:nvGrpSpPr>
          <p:grpSpPr bwMode="auto">
            <a:xfrm>
              <a:off x="2877851" y="4081836"/>
              <a:ext cx="136034" cy="136150"/>
              <a:chOff x="2653" y="972"/>
              <a:chExt cx="2372" cy="2374"/>
            </a:xfrm>
            <a:grpFill/>
          </p:grpSpPr>
          <p:sp>
            <p:nvSpPr>
              <p:cNvPr id="30" name="Freeform 5">
                <a:extLst>
                  <a:ext uri="{FF2B5EF4-FFF2-40B4-BE49-F238E27FC236}">
                    <a16:creationId xmlns:a16="http://schemas.microsoft.com/office/drawing/2014/main" id="{DC5FEC81-F12C-C503-0399-FF0ECAB731F6}"/>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 name="Freeform 6">
                <a:extLst>
                  <a:ext uri="{FF2B5EF4-FFF2-40B4-BE49-F238E27FC236}">
                    <a16:creationId xmlns:a16="http://schemas.microsoft.com/office/drawing/2014/main" id="{51B6A364-AE35-B8CB-DB38-51CB7ABA1320}"/>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 name="Oval 7">
                <a:extLst>
                  <a:ext uri="{FF2B5EF4-FFF2-40B4-BE49-F238E27FC236}">
                    <a16:creationId xmlns:a16="http://schemas.microsoft.com/office/drawing/2014/main" id="{DC4144AE-5CAB-E0C0-F8E3-CEB18CFE6B5D}"/>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28" name="Graphic 27">
              <a:extLst>
                <a:ext uri="{FF2B5EF4-FFF2-40B4-BE49-F238E27FC236}">
                  <a16:creationId xmlns:a16="http://schemas.microsoft.com/office/drawing/2014/main" id="{F2026A78-00BA-BE50-00A6-3FD889B1F1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29" name="Graphic 28">
              <a:extLst>
                <a:ext uri="{FF2B5EF4-FFF2-40B4-BE49-F238E27FC236}">
                  <a16:creationId xmlns:a16="http://schemas.microsoft.com/office/drawing/2014/main" id="{44BB85A7-9F56-8BFD-2982-1D196CA5C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Tree>
    <p:extLst>
      <p:ext uri="{BB962C8B-B14F-4D97-AF65-F5344CB8AC3E}">
        <p14:creationId xmlns:p14="http://schemas.microsoft.com/office/powerpoint/2010/main" val="2754335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1.xml><?xml version="1.0" encoding="utf-8"?>
<p:sldLayout xmlns:a="http://schemas.openxmlformats.org/drawingml/2006/main" xmlns:r="http://schemas.openxmlformats.org/officeDocument/2006/relationships" xmlns:p="http://schemas.openxmlformats.org/presentationml/2006/main" showMasterSp="0" preserve="1" userDrawn="1">
  <p:cSld name="Thank You Gunmetal">
    <p:bg>
      <p:bgPr>
        <a:solidFill>
          <a:schemeClr val="accent5"/>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44536C"/>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44" name="TextBox 43">
            <a:extLst>
              <a:ext uri="{FF2B5EF4-FFF2-40B4-BE49-F238E27FC236}">
                <a16:creationId xmlns:a16="http://schemas.microsoft.com/office/drawing/2014/main" id="{22F70D0A-56DD-483C-9B92-40FB17FA7A59}"/>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qualcomm.com &amp; qualcomm.com/blog</a:t>
            </a:r>
          </a:p>
        </p:txBody>
      </p:sp>
      <p:sp>
        <p:nvSpPr>
          <p:cNvPr id="27" name="TextBox 26">
            <a:extLst>
              <a:ext uri="{FF2B5EF4-FFF2-40B4-BE49-F238E27FC236}">
                <a16:creationId xmlns:a16="http://schemas.microsoft.com/office/drawing/2014/main" id="{9F624AB4-C8F8-DB43-96C6-817E21A96454}"/>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rgbClr val="3F4D63"/>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rgbClr val="3F4D63"/>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rgbClr val="3F4D63"/>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rgbClr val="3F4D63"/>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rgbClr val="3F4D63"/>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rgbClr val="3F4D63"/>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rgbClr val="3F4D63"/>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rgbClr val="3F4D63"/>
                </a:solidFill>
                <a:effectLst>
                  <a:innerShdw blurRad="25400" dist="12700" dir="13500000">
                    <a:prstClr val="black">
                      <a:alpha val="50000"/>
                    </a:prstClr>
                  </a:innerShdw>
                </a:effectLst>
                <a:uLnTx/>
                <a:uFillTx/>
              </a:rPr>
              <a:t>u</a:t>
            </a:r>
          </a:p>
        </p:txBody>
      </p:sp>
      <p:sp>
        <p:nvSpPr>
          <p:cNvPr id="17" name="TextBox 16">
            <a:extLst>
              <a:ext uri="{FF2B5EF4-FFF2-40B4-BE49-F238E27FC236}">
                <a16:creationId xmlns:a16="http://schemas.microsoft.com/office/drawing/2014/main" id="{BE5D3E93-63CE-5040-80CD-074D41AE79DD}"/>
              </a:ext>
            </a:extLst>
          </p:cNvPr>
          <p:cNvSpPr txBox="1"/>
          <p:nvPr userDrawn="1"/>
        </p:nvSpPr>
        <p:spPr>
          <a:xfrm>
            <a:off x="75296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28" name="TextBox 27">
            <a:extLst>
              <a:ext uri="{FF2B5EF4-FFF2-40B4-BE49-F238E27FC236}">
                <a16:creationId xmlns:a16="http://schemas.microsoft.com/office/drawing/2014/main" id="{724175FF-4C47-0EC0-D29A-B6372469C717}"/>
              </a:ext>
            </a:extLst>
          </p:cNvPr>
          <p:cNvSpPr txBox="1"/>
          <p:nvPr userDrawn="1"/>
        </p:nvSpPr>
        <p:spPr bwMode="gray">
          <a:xfrm>
            <a:off x="4313238" y="5149207"/>
            <a:ext cx="4101089" cy="1046440"/>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All data and information contained in or disclosed by this document is confidential</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nd proprietary information of Qualcomm Technologies, Inc. and/or its affili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mpanies and all rights therein are expressly reserved. By accepting this material th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recipient agrees that this material and the information contained therein will not be us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pied, reproduced in whole or in part, nor its contents revealed in any manner to other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without the express written permission of Qualcomm Technologies, Inc. Nothing in thes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materials 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l Rights Reserved.</a:t>
            </a:r>
          </a:p>
        </p:txBody>
      </p:sp>
      <p:sp>
        <p:nvSpPr>
          <p:cNvPr id="29" name="TextBox 28">
            <a:extLst>
              <a:ext uri="{FF2B5EF4-FFF2-40B4-BE49-F238E27FC236}">
                <a16:creationId xmlns:a16="http://schemas.microsoft.com/office/drawing/2014/main" id="{C0AFA2A3-A65F-766C-B1CC-72DDBF306D11}"/>
              </a:ext>
            </a:extLst>
          </p:cNvPr>
          <p:cNvSpPr txBox="1"/>
          <p:nvPr userDrawn="1"/>
        </p:nvSpPr>
        <p:spPr bwMode="gray">
          <a:xfrm>
            <a:off x="8118475" y="5149207"/>
            <a:ext cx="4073525" cy="126188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Qualcomm is a trademark or registered trademark of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ther products and brand names may be trademarks or registered trademark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ing our QCT semiconductor business.</a:t>
            </a:r>
          </a:p>
        </p:txBody>
      </p:sp>
      <p:grpSp>
        <p:nvGrpSpPr>
          <p:cNvPr id="30" name="Group 29">
            <a:extLst>
              <a:ext uri="{FF2B5EF4-FFF2-40B4-BE49-F238E27FC236}">
                <a16:creationId xmlns:a16="http://schemas.microsoft.com/office/drawing/2014/main" id="{4C2C7FFC-0D1B-9CD5-03A8-998B92A2DA6B}"/>
              </a:ext>
            </a:extLst>
          </p:cNvPr>
          <p:cNvGrpSpPr/>
          <p:nvPr userDrawn="1"/>
        </p:nvGrpSpPr>
        <p:grpSpPr>
          <a:xfrm>
            <a:off x="1710812" y="5696712"/>
            <a:ext cx="1036171" cy="137160"/>
            <a:chOff x="2442332" y="4081331"/>
            <a:chExt cx="1036171" cy="137160"/>
          </a:xfrm>
          <a:solidFill>
            <a:schemeClr val="bg1"/>
          </a:solidFill>
        </p:grpSpPr>
        <p:sp>
          <p:nvSpPr>
            <p:cNvPr id="31" name="Freeform 12">
              <a:extLst>
                <a:ext uri="{FF2B5EF4-FFF2-40B4-BE49-F238E27FC236}">
                  <a16:creationId xmlns:a16="http://schemas.microsoft.com/office/drawing/2014/main" id="{8F179865-B5B4-EF04-24F6-8AF5475D7926}"/>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32" name="Group 5">
              <a:extLst>
                <a:ext uri="{FF2B5EF4-FFF2-40B4-BE49-F238E27FC236}">
                  <a16:creationId xmlns:a16="http://schemas.microsoft.com/office/drawing/2014/main" id="{AE9079EC-B465-5574-4564-EE68C08E41A5}"/>
                </a:ext>
              </a:extLst>
            </p:cNvPr>
            <p:cNvGrpSpPr>
              <a:grpSpLocks noChangeAspect="1"/>
            </p:cNvGrpSpPr>
            <p:nvPr/>
          </p:nvGrpSpPr>
          <p:grpSpPr bwMode="gray">
            <a:xfrm>
              <a:off x="2442332" y="4081331"/>
              <a:ext cx="138792" cy="137160"/>
              <a:chOff x="3331" y="1656"/>
              <a:chExt cx="1020" cy="1008"/>
            </a:xfrm>
            <a:grpFill/>
          </p:grpSpPr>
          <p:sp>
            <p:nvSpPr>
              <p:cNvPr id="39" name="Freeform 6">
                <a:extLst>
                  <a:ext uri="{FF2B5EF4-FFF2-40B4-BE49-F238E27FC236}">
                    <a16:creationId xmlns:a16="http://schemas.microsoft.com/office/drawing/2014/main" id="{BF0C7DCC-1282-A8D2-04FC-7AAE1D6E559A}"/>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0428D95C-6C06-D764-49A8-D7A887B2B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3" name="Group 4">
              <a:extLst>
                <a:ext uri="{FF2B5EF4-FFF2-40B4-BE49-F238E27FC236}">
                  <a16:creationId xmlns:a16="http://schemas.microsoft.com/office/drawing/2014/main" id="{6C68C859-4EC8-1507-DF29-1BC152138E18}"/>
                </a:ext>
              </a:extLst>
            </p:cNvPr>
            <p:cNvGrpSpPr>
              <a:grpSpLocks noChangeAspect="1"/>
            </p:cNvGrpSpPr>
            <p:nvPr/>
          </p:nvGrpSpPr>
          <p:grpSpPr bwMode="auto">
            <a:xfrm>
              <a:off x="2877851" y="4081836"/>
              <a:ext cx="136034" cy="136150"/>
              <a:chOff x="2653" y="972"/>
              <a:chExt cx="2372" cy="2374"/>
            </a:xfrm>
            <a:grpFill/>
          </p:grpSpPr>
          <p:sp>
            <p:nvSpPr>
              <p:cNvPr id="36" name="Freeform 5">
                <a:extLst>
                  <a:ext uri="{FF2B5EF4-FFF2-40B4-BE49-F238E27FC236}">
                    <a16:creationId xmlns:a16="http://schemas.microsoft.com/office/drawing/2014/main" id="{661E46D6-FA00-2261-EF99-579FDD224957}"/>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Freeform 6">
                <a:extLst>
                  <a:ext uri="{FF2B5EF4-FFF2-40B4-BE49-F238E27FC236}">
                    <a16:creationId xmlns:a16="http://schemas.microsoft.com/office/drawing/2014/main" id="{96CAD447-43F7-CB49-9D57-D6D554FB8761}"/>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8" name="Oval 7">
                <a:extLst>
                  <a:ext uri="{FF2B5EF4-FFF2-40B4-BE49-F238E27FC236}">
                    <a16:creationId xmlns:a16="http://schemas.microsoft.com/office/drawing/2014/main" id="{CEE36BB7-E502-D8BD-6207-587878D3DE04}"/>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4" name="Graphic 33">
              <a:extLst>
                <a:ext uri="{FF2B5EF4-FFF2-40B4-BE49-F238E27FC236}">
                  <a16:creationId xmlns:a16="http://schemas.microsoft.com/office/drawing/2014/main" id="{F46A1345-8A86-DBC5-3E68-FA0B090445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35" name="Graphic 34">
              <a:extLst>
                <a:ext uri="{FF2B5EF4-FFF2-40B4-BE49-F238E27FC236}">
                  <a16:creationId xmlns:a16="http://schemas.microsoft.com/office/drawing/2014/main" id="{6D6790E1-F869-72D0-E342-E41433348D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Tree>
    <p:extLst>
      <p:ext uri="{BB962C8B-B14F-4D97-AF65-F5344CB8AC3E}">
        <p14:creationId xmlns:p14="http://schemas.microsoft.com/office/powerpoint/2010/main" val="2354007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2.xml><?xml version="1.0" encoding="utf-8"?>
<p:sldLayout xmlns:a="http://schemas.openxmlformats.org/drawingml/2006/main" xmlns:r="http://schemas.openxmlformats.org/officeDocument/2006/relationships" xmlns:p="http://schemas.openxmlformats.org/presentationml/2006/main" showMasterSp="0" preserve="1" userDrawn="1">
  <p:cSld name="Thank You Midnight">
    <p:bg>
      <p:bgPr>
        <a:solidFill>
          <a:schemeClr val="tx2"/>
        </a:solidFill>
        <a:effectLst/>
      </p:bgPr>
    </p:bg>
    <p:spTree>
      <p:nvGrpSpPr>
        <p:cNvPr id="1" name=""/>
        <p:cNvGrpSpPr/>
        <p:nvPr/>
      </p:nvGrpSpPr>
      <p:grpSpPr>
        <a:xfrm>
          <a:off x="0" y="0"/>
          <a:ext cx="0" cy="0"/>
          <a:chOff x="0" y="0"/>
          <a:chExt cx="0" cy="0"/>
        </a:xfrm>
      </p:grpSpPr>
      <p:sp>
        <p:nvSpPr>
          <p:cNvPr id="24" name="Rectangle: Rounded Corners 16">
            <a:extLst>
              <a:ext uri="{FF2B5EF4-FFF2-40B4-BE49-F238E27FC236}">
                <a16:creationId xmlns:a16="http://schemas.microsoft.com/office/drawing/2014/main" id="{3DFD4707-7D72-477C-BAE7-E84DFEA41F3D}"/>
              </a:ext>
            </a:extLst>
          </p:cNvPr>
          <p:cNvSpPr/>
          <p:nvPr userDrawn="1"/>
        </p:nvSpPr>
        <p:spPr>
          <a:xfrm>
            <a:off x="465622" y="4935112"/>
            <a:ext cx="11234664" cy="1922888"/>
          </a:xfrm>
          <a:custGeom>
            <a:avLst/>
            <a:gdLst>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74943 w 11234664"/>
              <a:gd name="connsiteY6" fmla="*/ 2225161 h 2225161"/>
              <a:gd name="connsiteX7" fmla="*/ 0 w 11234664"/>
              <a:gd name="connsiteY7" fmla="*/ 2150218 h 2225161"/>
              <a:gd name="connsiteX8" fmla="*/ 0 w 11234664"/>
              <a:gd name="connsiteY8" fmla="*/ 74943 h 2225161"/>
              <a:gd name="connsiteX0" fmla="*/ 0 w 11234664"/>
              <a:gd name="connsiteY0" fmla="*/ 74943 h 2225161"/>
              <a:gd name="connsiteX1" fmla="*/ 74943 w 11234664"/>
              <a:gd name="connsiteY1" fmla="*/ 0 h 2225161"/>
              <a:gd name="connsiteX2" fmla="*/ 11159721 w 11234664"/>
              <a:gd name="connsiteY2" fmla="*/ 0 h 2225161"/>
              <a:gd name="connsiteX3" fmla="*/ 11234664 w 11234664"/>
              <a:gd name="connsiteY3" fmla="*/ 74943 h 2225161"/>
              <a:gd name="connsiteX4" fmla="*/ 11234664 w 11234664"/>
              <a:gd name="connsiteY4" fmla="*/ 2150218 h 2225161"/>
              <a:gd name="connsiteX5" fmla="*/ 11159721 w 11234664"/>
              <a:gd name="connsiteY5" fmla="*/ 2225161 h 2225161"/>
              <a:gd name="connsiteX6" fmla="*/ 0 w 11234664"/>
              <a:gd name="connsiteY6" fmla="*/ 2150218 h 2225161"/>
              <a:gd name="connsiteX7" fmla="*/ 0 w 11234664"/>
              <a:gd name="connsiteY7" fmla="*/ 74943 h 2225161"/>
              <a:gd name="connsiteX0" fmla="*/ 0 w 11234664"/>
              <a:gd name="connsiteY0" fmla="*/ 74943 h 2409627"/>
              <a:gd name="connsiteX1" fmla="*/ 74943 w 11234664"/>
              <a:gd name="connsiteY1" fmla="*/ 0 h 2409627"/>
              <a:gd name="connsiteX2" fmla="*/ 11159721 w 11234664"/>
              <a:gd name="connsiteY2" fmla="*/ 0 h 2409627"/>
              <a:gd name="connsiteX3" fmla="*/ 11234664 w 11234664"/>
              <a:gd name="connsiteY3" fmla="*/ 74943 h 2409627"/>
              <a:gd name="connsiteX4" fmla="*/ 11234664 w 11234664"/>
              <a:gd name="connsiteY4" fmla="*/ 2150218 h 2409627"/>
              <a:gd name="connsiteX5" fmla="*/ 0 w 11234664"/>
              <a:gd name="connsiteY5" fmla="*/ 2150218 h 2409627"/>
              <a:gd name="connsiteX6" fmla="*/ 0 w 11234664"/>
              <a:gd name="connsiteY6" fmla="*/ 74943 h 2409627"/>
              <a:gd name="connsiteX0" fmla="*/ 0 w 11234664"/>
              <a:gd name="connsiteY0" fmla="*/ 74943 h 2303942"/>
              <a:gd name="connsiteX1" fmla="*/ 74943 w 11234664"/>
              <a:gd name="connsiteY1" fmla="*/ 0 h 2303942"/>
              <a:gd name="connsiteX2" fmla="*/ 11159721 w 11234664"/>
              <a:gd name="connsiteY2" fmla="*/ 0 h 2303942"/>
              <a:gd name="connsiteX3" fmla="*/ 11234664 w 11234664"/>
              <a:gd name="connsiteY3" fmla="*/ 74943 h 2303942"/>
              <a:gd name="connsiteX4" fmla="*/ 11234664 w 11234664"/>
              <a:gd name="connsiteY4" fmla="*/ 2150218 h 2303942"/>
              <a:gd name="connsiteX5" fmla="*/ 0 w 11234664"/>
              <a:gd name="connsiteY5" fmla="*/ 2150218 h 2303942"/>
              <a:gd name="connsiteX6" fmla="*/ 0 w 11234664"/>
              <a:gd name="connsiteY6" fmla="*/ 74943 h 2303942"/>
              <a:gd name="connsiteX0" fmla="*/ 0 w 11234664"/>
              <a:gd name="connsiteY0" fmla="*/ 74943 h 2150218"/>
              <a:gd name="connsiteX1" fmla="*/ 74943 w 11234664"/>
              <a:gd name="connsiteY1" fmla="*/ 0 h 2150218"/>
              <a:gd name="connsiteX2" fmla="*/ 11159721 w 11234664"/>
              <a:gd name="connsiteY2" fmla="*/ 0 h 2150218"/>
              <a:gd name="connsiteX3" fmla="*/ 11234664 w 11234664"/>
              <a:gd name="connsiteY3" fmla="*/ 74943 h 2150218"/>
              <a:gd name="connsiteX4" fmla="*/ 11234664 w 11234664"/>
              <a:gd name="connsiteY4" fmla="*/ 2150218 h 2150218"/>
              <a:gd name="connsiteX5" fmla="*/ 0 w 11234664"/>
              <a:gd name="connsiteY5" fmla="*/ 2150218 h 2150218"/>
              <a:gd name="connsiteX6" fmla="*/ 0 w 11234664"/>
              <a:gd name="connsiteY6" fmla="*/ 74943 h 215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34664" h="2150218">
                <a:moveTo>
                  <a:pt x="0" y="74943"/>
                </a:moveTo>
                <a:cubicBezTo>
                  <a:pt x="0" y="33553"/>
                  <a:pt x="33553" y="0"/>
                  <a:pt x="74943" y="0"/>
                </a:cubicBezTo>
                <a:lnTo>
                  <a:pt x="11159721" y="0"/>
                </a:lnTo>
                <a:cubicBezTo>
                  <a:pt x="11201111" y="0"/>
                  <a:pt x="11234664" y="33553"/>
                  <a:pt x="11234664" y="74943"/>
                </a:cubicBezTo>
                <a:lnTo>
                  <a:pt x="11234664" y="2150218"/>
                </a:lnTo>
                <a:lnTo>
                  <a:pt x="0" y="2150218"/>
                </a:lnTo>
                <a:lnTo>
                  <a:pt x="0" y="74943"/>
                </a:lnTo>
                <a:close/>
              </a:path>
            </a:pathLst>
          </a:custGeom>
          <a:solidFill>
            <a:srgbClr val="091F35"/>
          </a:solidFill>
          <a:ln>
            <a:noFill/>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tx2"/>
              </a:solidFill>
              <a:latin typeface="Microsoft Sans Serif"/>
              <a:cs typeface="Microsoft Sans Serif" panose="020B0604020202020204" pitchFamily="34" charset="0"/>
            </a:endParaRPr>
          </a:p>
        </p:txBody>
      </p:sp>
      <p:sp>
        <p:nvSpPr>
          <p:cNvPr id="26" name="Freeform 5">
            <a:extLst>
              <a:ext uri="{FF2B5EF4-FFF2-40B4-BE49-F238E27FC236}">
                <a16:creationId xmlns:a16="http://schemas.microsoft.com/office/drawing/2014/main" id="{1C4299A6-E92A-426F-8BF2-F5974985648B}"/>
              </a:ext>
            </a:extLst>
          </p:cNvPr>
          <p:cNvSpPr>
            <a:spLocks noChangeAspect="1" noEditPoints="1"/>
          </p:cNvSpPr>
          <p:nvPr userDrawn="1"/>
        </p:nvSpPr>
        <p:spPr bwMode="black">
          <a:xfrm>
            <a:off x="847768" y="5234191"/>
            <a:ext cx="1616145" cy="296224"/>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latin typeface="Microsoft Sans Serif"/>
            </a:endParaRPr>
          </a:p>
        </p:txBody>
      </p:sp>
      <p:sp>
        <p:nvSpPr>
          <p:cNvPr id="38" name="TextBox 37">
            <a:extLst>
              <a:ext uri="{FF2B5EF4-FFF2-40B4-BE49-F238E27FC236}">
                <a16:creationId xmlns:a16="http://schemas.microsoft.com/office/drawing/2014/main" id="{5A83A160-D46F-4734-801C-1A888641CFE8}"/>
              </a:ext>
            </a:extLst>
          </p:cNvPr>
          <p:cNvSpPr txBox="1"/>
          <p:nvPr userDrawn="1"/>
        </p:nvSpPr>
        <p:spPr bwMode="gray">
          <a:xfrm>
            <a:off x="847768" y="5687930"/>
            <a:ext cx="3127218" cy="616131"/>
          </a:xfrm>
          <a:prstGeom prst="rect">
            <a:avLst/>
          </a:prstGeom>
          <a:noFill/>
        </p:spPr>
        <p:txBody>
          <a:bodyPr wrap="square" lIns="0" tIns="0" rIns="0" bIns="0" rtlCol="0">
            <a:spAutoFit/>
          </a:bodyPr>
          <a:lstStyle/>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llow us on:</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For more information, visit us at:</a:t>
            </a:r>
          </a:p>
          <a:p>
            <a:pPr marL="0" marR="0" lvl="0" indent="0" algn="l" defTabSz="914400" rtl="0" eaLnBrk="1" fontAlgn="auto" latinLnBrk="0" hangingPunct="1">
              <a:lnSpc>
                <a:spcPct val="114000"/>
              </a:lnSpc>
              <a:spcBef>
                <a:spcPts val="0"/>
              </a:spcBef>
              <a:spcAft>
                <a:spcPts val="30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mn-lt"/>
                <a:ea typeface="+mn-ea"/>
                <a:cs typeface="+mn-cs"/>
              </a:rPr>
              <a:t>qualcomm.com &amp; qualcomm.com/blog</a:t>
            </a:r>
          </a:p>
        </p:txBody>
      </p:sp>
      <p:sp>
        <p:nvSpPr>
          <p:cNvPr id="17" name="TextBox 16">
            <a:extLst>
              <a:ext uri="{FF2B5EF4-FFF2-40B4-BE49-F238E27FC236}">
                <a16:creationId xmlns:a16="http://schemas.microsoft.com/office/drawing/2014/main" id="{92404B8A-66AD-4D44-AFE4-9BECF391E4CB}"/>
              </a:ext>
            </a:extLst>
          </p:cNvPr>
          <p:cNvSpPr txBox="1"/>
          <p:nvPr userDrawn="1"/>
        </p:nvSpPr>
        <p:spPr bwMode="gray">
          <a:xfrm>
            <a:off x="465622" y="2536613"/>
            <a:ext cx="8725779" cy="1606594"/>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12000" b="0" i="0" u="none" strike="noStrike" kern="1200" cap="none" spc="-300" normalizeH="0" noProof="0" dirty="0">
                <a:ln>
                  <a:noFill/>
                </a:ln>
                <a:solidFill>
                  <a:schemeClr val="accent6">
                    <a:lumMod val="50000"/>
                  </a:schemeClr>
                </a:solidFill>
                <a:effectLst>
                  <a:innerShdw blurRad="25400" dist="12700" dir="13500000">
                    <a:prstClr val="black">
                      <a:alpha val="50000"/>
                    </a:prstClr>
                  </a:innerShdw>
                </a:effectLst>
                <a:uLnTx/>
                <a:uFillTx/>
              </a:rPr>
              <a:t>T</a:t>
            </a:r>
            <a:r>
              <a:rPr kumimoji="0" lang="en-US" sz="12000" b="0" i="0" u="none" strike="noStrike" kern="1200" cap="none" spc="-300" normalizeH="0" baseline="0" noProof="0" dirty="0">
                <a:ln>
                  <a:noFill/>
                </a:ln>
                <a:solidFill>
                  <a:schemeClr val="accent6">
                    <a:lumMod val="50000"/>
                  </a:schemeClr>
                </a:solidFill>
                <a:effectLst>
                  <a:innerShdw blurRad="25400" dist="12700" dir="13500000">
                    <a:prstClr val="black">
                      <a:alpha val="50000"/>
                    </a:prstClr>
                  </a:innerShdw>
                </a:effectLst>
                <a:uLnTx/>
                <a:uFillTx/>
              </a:rPr>
              <a:t>h</a:t>
            </a:r>
            <a:r>
              <a:rPr kumimoji="0" lang="en-US" sz="12000" b="0" i="0" u="none" strike="noStrike" kern="1200" cap="none" spc="-600" normalizeH="0" noProof="0" dirty="0">
                <a:ln>
                  <a:noFill/>
                </a:ln>
                <a:solidFill>
                  <a:schemeClr val="accent6">
                    <a:lumMod val="50000"/>
                  </a:schemeClr>
                </a:solidFill>
                <a:effectLst>
                  <a:innerShdw blurRad="25400" dist="12700" dir="13500000">
                    <a:prstClr val="black">
                      <a:alpha val="50000"/>
                    </a:prstClr>
                  </a:innerShdw>
                </a:effectLst>
                <a:uLnTx/>
                <a:uFillTx/>
              </a:rPr>
              <a:t>a</a:t>
            </a:r>
            <a:r>
              <a:rPr kumimoji="0" lang="en-US" sz="12000" b="0" i="0" u="none" strike="noStrike" kern="1200" cap="none" spc="-450" normalizeH="0" noProof="0" dirty="0">
                <a:ln>
                  <a:noFill/>
                </a:ln>
                <a:solidFill>
                  <a:schemeClr val="accent6">
                    <a:lumMod val="50000"/>
                  </a:schemeClr>
                </a:solidFill>
                <a:effectLst>
                  <a:innerShdw blurRad="25400" dist="12700" dir="13500000">
                    <a:prstClr val="black">
                      <a:alpha val="50000"/>
                    </a:prstClr>
                  </a:innerShdw>
                </a:effectLst>
                <a:uLnTx/>
                <a:uFillTx/>
              </a:rPr>
              <a:t>n</a:t>
            </a:r>
            <a:r>
              <a:rPr kumimoji="0" lang="en-US" sz="12000" b="0" i="0" u="none" strike="noStrike" kern="1200" cap="none" spc="-600" normalizeH="0" noProof="0" dirty="0">
                <a:ln>
                  <a:noFill/>
                </a:ln>
                <a:solidFill>
                  <a:schemeClr val="accent6">
                    <a:lumMod val="50000"/>
                  </a:schemeClr>
                </a:solidFill>
                <a:effectLst>
                  <a:innerShdw blurRad="25400" dist="12700" dir="13500000">
                    <a:prstClr val="black">
                      <a:alpha val="50000"/>
                    </a:prstClr>
                  </a:innerShdw>
                </a:effectLst>
                <a:uLnTx/>
                <a:uFillTx/>
              </a:rPr>
              <a:t>k </a:t>
            </a:r>
            <a:r>
              <a:rPr kumimoji="0" lang="en-US" sz="12000" b="0" i="0" u="none" strike="noStrike" kern="1200" cap="none" spc="-300" normalizeH="0" baseline="0" noProof="0" dirty="0">
                <a:ln>
                  <a:noFill/>
                </a:ln>
                <a:solidFill>
                  <a:schemeClr val="accent6">
                    <a:lumMod val="50000"/>
                  </a:schemeClr>
                </a:solidFill>
                <a:effectLst>
                  <a:innerShdw blurRad="25400" dist="12700" dir="13500000">
                    <a:prstClr val="black">
                      <a:alpha val="50000"/>
                    </a:prstClr>
                  </a:innerShdw>
                </a:effectLst>
                <a:uLnTx/>
                <a:uFillTx/>
              </a:rPr>
              <a:t>y</a:t>
            </a:r>
            <a:r>
              <a:rPr kumimoji="0" lang="en-US" sz="12000" b="0" i="0" u="none" strike="noStrike" kern="1200" cap="none" normalizeH="0" baseline="0" noProof="0" dirty="0">
                <a:ln>
                  <a:noFill/>
                </a:ln>
                <a:solidFill>
                  <a:schemeClr val="accent6">
                    <a:lumMod val="50000"/>
                  </a:schemeClr>
                </a:solidFill>
                <a:effectLst>
                  <a:innerShdw blurRad="25400" dist="12700" dir="13500000">
                    <a:prstClr val="black">
                      <a:alpha val="50000"/>
                    </a:prstClr>
                  </a:innerShdw>
                </a:effectLst>
                <a:uLnTx/>
                <a:uFillTx/>
              </a:rPr>
              <a:t>o</a:t>
            </a:r>
            <a:r>
              <a:rPr kumimoji="0" lang="en-US" sz="12000" b="0" i="0" u="none" strike="noStrike" kern="1200" cap="none" spc="-300" normalizeH="0" baseline="0" noProof="0" dirty="0">
                <a:ln>
                  <a:noFill/>
                </a:ln>
                <a:solidFill>
                  <a:schemeClr val="accent6">
                    <a:lumMod val="50000"/>
                  </a:schemeClr>
                </a:solidFill>
                <a:effectLst>
                  <a:innerShdw blurRad="25400" dist="12700" dir="13500000">
                    <a:prstClr val="black">
                      <a:alpha val="50000"/>
                    </a:prstClr>
                  </a:innerShdw>
                </a:effectLst>
                <a:uLnTx/>
                <a:uFillTx/>
              </a:rPr>
              <a:t>u</a:t>
            </a:r>
          </a:p>
        </p:txBody>
      </p:sp>
      <p:sp>
        <p:nvSpPr>
          <p:cNvPr id="18" name="TextBox 17">
            <a:extLst>
              <a:ext uri="{FF2B5EF4-FFF2-40B4-BE49-F238E27FC236}">
                <a16:creationId xmlns:a16="http://schemas.microsoft.com/office/drawing/2014/main" id="{2A980C16-EC75-CB40-AB7F-F5BBCD203B3E}"/>
              </a:ext>
            </a:extLst>
          </p:cNvPr>
          <p:cNvSpPr txBox="1"/>
          <p:nvPr userDrawn="1"/>
        </p:nvSpPr>
        <p:spPr>
          <a:xfrm>
            <a:off x="75296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grpSp>
        <p:nvGrpSpPr>
          <p:cNvPr id="22" name="Group 21">
            <a:extLst>
              <a:ext uri="{FF2B5EF4-FFF2-40B4-BE49-F238E27FC236}">
                <a16:creationId xmlns:a16="http://schemas.microsoft.com/office/drawing/2014/main" id="{1358A744-C834-54E9-AA30-C951C986B342}"/>
              </a:ext>
            </a:extLst>
          </p:cNvPr>
          <p:cNvGrpSpPr/>
          <p:nvPr userDrawn="1"/>
        </p:nvGrpSpPr>
        <p:grpSpPr>
          <a:xfrm>
            <a:off x="1710812" y="5696712"/>
            <a:ext cx="1036171" cy="137160"/>
            <a:chOff x="2442332" y="4081331"/>
            <a:chExt cx="1036171" cy="137160"/>
          </a:xfrm>
          <a:solidFill>
            <a:schemeClr val="bg1"/>
          </a:solidFill>
        </p:grpSpPr>
        <p:sp>
          <p:nvSpPr>
            <p:cNvPr id="23" name="Freeform 12">
              <a:extLst>
                <a:ext uri="{FF2B5EF4-FFF2-40B4-BE49-F238E27FC236}">
                  <a16:creationId xmlns:a16="http://schemas.microsoft.com/office/drawing/2014/main" id="{C79C791E-32A0-D50B-85EB-CC1611B194FE}"/>
                </a:ext>
              </a:extLst>
            </p:cNvPr>
            <p:cNvSpPr>
              <a:spLocks noChangeAspect="1"/>
            </p:cNvSpPr>
            <p:nvPr/>
          </p:nvSpPr>
          <p:spPr bwMode="gray">
            <a:xfrm>
              <a:off x="2645092" y="4081331"/>
              <a:ext cx="168791" cy="137160"/>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nvGrpSpPr>
            <p:cNvPr id="25" name="Group 5">
              <a:extLst>
                <a:ext uri="{FF2B5EF4-FFF2-40B4-BE49-F238E27FC236}">
                  <a16:creationId xmlns:a16="http://schemas.microsoft.com/office/drawing/2014/main" id="{0D4430FF-72B3-C0B0-6A1C-BA142B4277BB}"/>
                </a:ext>
              </a:extLst>
            </p:cNvPr>
            <p:cNvGrpSpPr>
              <a:grpSpLocks noChangeAspect="1"/>
            </p:cNvGrpSpPr>
            <p:nvPr/>
          </p:nvGrpSpPr>
          <p:grpSpPr bwMode="gray">
            <a:xfrm>
              <a:off x="2442332" y="4081331"/>
              <a:ext cx="138792" cy="137160"/>
              <a:chOff x="3331" y="1656"/>
              <a:chExt cx="1020" cy="1008"/>
            </a:xfrm>
            <a:grpFill/>
          </p:grpSpPr>
          <p:sp>
            <p:nvSpPr>
              <p:cNvPr id="44" name="Freeform 6">
                <a:extLst>
                  <a:ext uri="{FF2B5EF4-FFF2-40B4-BE49-F238E27FC236}">
                    <a16:creationId xmlns:a16="http://schemas.microsoft.com/office/drawing/2014/main" id="{DC6A2126-4B46-D02B-846A-EB935D2FEDA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sp>
            <p:nvSpPr>
              <p:cNvPr id="45" name="Freeform 7">
                <a:extLst>
                  <a:ext uri="{FF2B5EF4-FFF2-40B4-BE49-F238E27FC236}">
                    <a16:creationId xmlns:a16="http://schemas.microsoft.com/office/drawing/2014/main" id="{1CD6DA10-A899-0BD6-9501-169D3CE96C6D}"/>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icrosoft Sans Serif" panose="020B0604020202020204" pitchFamily="34" charset="0"/>
                  <a:ea typeface="+mn-ea"/>
                  <a:cs typeface="+mn-cs"/>
                </a:endParaRPr>
              </a:p>
            </p:txBody>
          </p:sp>
        </p:grpSp>
        <p:grpSp>
          <p:nvGrpSpPr>
            <p:cNvPr id="37" name="Group 4">
              <a:extLst>
                <a:ext uri="{FF2B5EF4-FFF2-40B4-BE49-F238E27FC236}">
                  <a16:creationId xmlns:a16="http://schemas.microsoft.com/office/drawing/2014/main" id="{02B235D2-9980-4D2D-5378-ADCF60E06361}"/>
                </a:ext>
              </a:extLst>
            </p:cNvPr>
            <p:cNvGrpSpPr>
              <a:grpSpLocks noChangeAspect="1"/>
            </p:cNvGrpSpPr>
            <p:nvPr/>
          </p:nvGrpSpPr>
          <p:grpSpPr bwMode="auto">
            <a:xfrm>
              <a:off x="2877851" y="4081836"/>
              <a:ext cx="136034" cy="136150"/>
              <a:chOff x="2653" y="972"/>
              <a:chExt cx="2372" cy="2374"/>
            </a:xfrm>
            <a:grpFill/>
          </p:grpSpPr>
          <p:sp>
            <p:nvSpPr>
              <p:cNvPr id="41" name="Freeform 5">
                <a:extLst>
                  <a:ext uri="{FF2B5EF4-FFF2-40B4-BE49-F238E27FC236}">
                    <a16:creationId xmlns:a16="http://schemas.microsoft.com/office/drawing/2014/main" id="{2B728F9D-9B40-E03A-53A6-80B4A9813CDF}"/>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2" name="Freeform 6">
                <a:extLst>
                  <a:ext uri="{FF2B5EF4-FFF2-40B4-BE49-F238E27FC236}">
                    <a16:creationId xmlns:a16="http://schemas.microsoft.com/office/drawing/2014/main" id="{B882109E-504A-E233-7DA7-EF5B5ADE7604}"/>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3" name="Oval 7">
                <a:extLst>
                  <a:ext uri="{FF2B5EF4-FFF2-40B4-BE49-F238E27FC236}">
                    <a16:creationId xmlns:a16="http://schemas.microsoft.com/office/drawing/2014/main" id="{9B6288A8-5CDF-23A6-BBEC-62EA8B7E0857}"/>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9" name="Graphic 38">
              <a:extLst>
                <a:ext uri="{FF2B5EF4-FFF2-40B4-BE49-F238E27FC236}">
                  <a16:creationId xmlns:a16="http://schemas.microsoft.com/office/drawing/2014/main" id="{C18DC95A-E6E7-E6E8-9AA3-A2ED22B26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853" y="4081331"/>
              <a:ext cx="198712" cy="137160"/>
            </a:xfrm>
            <a:prstGeom prst="rect">
              <a:avLst/>
            </a:prstGeom>
          </p:spPr>
        </p:pic>
        <p:pic>
          <p:nvPicPr>
            <p:cNvPr id="40" name="Graphic 39">
              <a:extLst>
                <a:ext uri="{FF2B5EF4-FFF2-40B4-BE49-F238E27FC236}">
                  <a16:creationId xmlns:a16="http://schemas.microsoft.com/office/drawing/2014/main" id="{B60697B6-C5CD-081C-B2BD-0AD7CA429C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40535" y="4081331"/>
              <a:ext cx="137968" cy="137160"/>
            </a:xfrm>
            <a:prstGeom prst="rect">
              <a:avLst/>
            </a:prstGeom>
          </p:spPr>
        </p:pic>
      </p:grpSp>
      <p:sp>
        <p:nvSpPr>
          <p:cNvPr id="46" name="TextBox 45">
            <a:extLst>
              <a:ext uri="{FF2B5EF4-FFF2-40B4-BE49-F238E27FC236}">
                <a16:creationId xmlns:a16="http://schemas.microsoft.com/office/drawing/2014/main" id="{744BC0EA-4693-AA8C-378F-81E7B0BE23DE}"/>
              </a:ext>
            </a:extLst>
          </p:cNvPr>
          <p:cNvSpPr txBox="1"/>
          <p:nvPr userDrawn="1"/>
        </p:nvSpPr>
        <p:spPr bwMode="gray">
          <a:xfrm>
            <a:off x="4313238" y="5149207"/>
            <a:ext cx="4101089" cy="1046440"/>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All data and information contained in or disclosed by this document is confidential</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nd proprietary information of Qualcomm Technologies, Inc. and/or its affili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mpanies and all rights therein are expressly reserved. By accepting this material th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recipient agrees that this material and the information contained therein will not be us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copied, reproduced in whole or in part, nor its contents revealed in any manner to other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without the express written permission of Qualcomm Technologies, Inc. Nothing in these</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materials is an offer to sell any of the components or devices referenced herei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2018-2022 Qualcomm Technologies, Inc. and/or its affiliated compani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l Rights Reserved.</a:t>
            </a:r>
          </a:p>
        </p:txBody>
      </p:sp>
      <p:sp>
        <p:nvSpPr>
          <p:cNvPr id="47" name="TextBox 46">
            <a:extLst>
              <a:ext uri="{FF2B5EF4-FFF2-40B4-BE49-F238E27FC236}">
                <a16:creationId xmlns:a16="http://schemas.microsoft.com/office/drawing/2014/main" id="{5646B856-483C-1B34-B426-2FC7C9A12E1C}"/>
              </a:ext>
            </a:extLst>
          </p:cNvPr>
          <p:cNvSpPr txBox="1"/>
          <p:nvPr userDrawn="1"/>
        </p:nvSpPr>
        <p:spPr bwMode="gray">
          <a:xfrm>
            <a:off x="8118475" y="5149207"/>
            <a:ext cx="4073525" cy="1261884"/>
          </a:xfrm>
          <a:prstGeom prst="rect">
            <a:avLst/>
          </a:prstGeom>
          <a:noFill/>
        </p:spPr>
        <p:txBody>
          <a:bodyPr wrap="square" lIns="0" tIns="0" rIns="0" bIns="0" numCol="1" spcCol="118872"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Qualcomm is a trademark or registered trademark of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ther products and brand names may be trademarks or registered trademark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of their respective owners.</a:t>
            </a:r>
          </a:p>
          <a:p>
            <a:pPr>
              <a:lnSpc>
                <a:spcPct val="100000"/>
              </a:lnSpc>
              <a:spcBef>
                <a:spcPts val="400"/>
              </a:spcBef>
              <a:spcAft>
                <a:spcPts val="0"/>
              </a:spcAft>
              <a:defRPr/>
            </a:pPr>
            <a:r>
              <a:rPr kumimoji="0" lang="en-US" sz="700" b="0" i="0" u="none" strike="noStrike" kern="1200" cap="none" spc="0" normalizeH="0" baseline="0" noProof="0" dirty="0">
                <a:ln>
                  <a:noFill/>
                </a:ln>
                <a:solidFill>
                  <a:schemeClr val="bg1"/>
                </a:solidFill>
                <a:effectLst/>
                <a:uLnTx/>
                <a:uFillTx/>
                <a:latin typeface="+mn-lt"/>
                <a:ea typeface="+mn-ea"/>
                <a:cs typeface="+mn-cs"/>
              </a:rPr>
              <a:t>References in this presentation to “Qualcomm” may mean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nd/or other subsidiaries or business units within</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the Qualcomm corporate structure, as applicable. Qualcomm Incorporate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es our licensing business, QTL, and the vast majority of our patent portfolio.</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Qualcomm Technologies, Inc., a subsidiary of Qualcomm Incorporated, operat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along with its subsidiaries, substantially all of our engineering, research and</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development functions, and substantially all of our products and services businesses,</a:t>
            </a:r>
            <a:br>
              <a:rPr kumimoji="0" lang="en-US" sz="700" b="0" i="0" u="none" strike="noStrike" kern="1200" cap="none" spc="0" normalizeH="0" baseline="0" noProof="0" dirty="0">
                <a:ln>
                  <a:noFill/>
                </a:ln>
                <a:solidFill>
                  <a:schemeClr val="bg1"/>
                </a:solidFill>
                <a:effectLst/>
                <a:uLnTx/>
                <a:uFillTx/>
                <a:latin typeface="+mn-lt"/>
                <a:ea typeface="+mn-ea"/>
                <a:cs typeface="+mn-cs"/>
              </a:rPr>
            </a:br>
            <a:r>
              <a:rPr kumimoji="0" lang="en-US" sz="700" b="0" i="0" u="none" strike="noStrike" kern="1200" cap="none" spc="0" normalizeH="0" baseline="0" noProof="0" dirty="0">
                <a:ln>
                  <a:noFill/>
                </a:ln>
                <a:solidFill>
                  <a:schemeClr val="bg1"/>
                </a:solidFill>
                <a:effectLst/>
                <a:uLnTx/>
                <a:uFillTx/>
                <a:latin typeface="+mn-lt"/>
                <a:ea typeface="+mn-ea"/>
                <a:cs typeface="+mn-cs"/>
              </a:rPr>
              <a:t>including our QCT semiconductor business.</a:t>
            </a:r>
          </a:p>
        </p:txBody>
      </p:sp>
    </p:spTree>
    <p:extLst>
      <p:ext uri="{BB962C8B-B14F-4D97-AF65-F5344CB8AC3E}">
        <p14:creationId xmlns:p14="http://schemas.microsoft.com/office/powerpoint/2010/main" val="1422566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3.xml><?xml version="1.0" encoding="utf-8"?>
<p:sldLayout xmlns:a="http://schemas.openxmlformats.org/drawingml/2006/main" xmlns:r="http://schemas.openxmlformats.org/officeDocument/2006/relationships" xmlns:p="http://schemas.openxmlformats.org/presentationml/2006/main" showMasterSp="0" preserve="1" userDrawn="1">
  <p:cSld name="SD Title Photo">
    <p:bg>
      <p:bgPr>
        <a:solidFill>
          <a:schemeClr val="tx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C8744E5A-C06A-4B60-BDC7-1D821CA9F5B0}"/>
              </a:ext>
            </a:extLst>
          </p:cNvPr>
          <p:cNvSpPr>
            <a:spLocks noGrp="1"/>
          </p:cNvSpPr>
          <p:nvPr>
            <p:ph type="pic" sz="quarter" idx="11"/>
          </p:nvPr>
        </p:nvSpPr>
        <p:spPr>
          <a:xfrm>
            <a:off x="0" y="0"/>
            <a:ext cx="12192000" cy="6858000"/>
          </a:xfrm>
          <a:prstGeom prst="rect">
            <a:avLst/>
          </a:prstGeom>
          <a:noFill/>
        </p:spPr>
        <p:txBody>
          <a:bodyPr anchor="ctr"/>
          <a:lstStyle>
            <a:lvl1pPr marL="0" indent="0" algn="ctr">
              <a:buNone/>
              <a:defRPr>
                <a:solidFill>
                  <a:schemeClr val="tx1"/>
                </a:solidFill>
              </a:defRPr>
            </a:lvl1pPr>
          </a:lstStyle>
          <a:p>
            <a:r>
              <a:rPr lang="en-US"/>
              <a:t>Click icon to add picture</a:t>
            </a:r>
            <a:endParaRPr lang="en-US" dirty="0"/>
          </a:p>
        </p:txBody>
      </p:sp>
      <p:sp>
        <p:nvSpPr>
          <p:cNvPr id="19" name="Text Placeholder 48">
            <a:extLst>
              <a:ext uri="{FF2B5EF4-FFF2-40B4-BE49-F238E27FC236}">
                <a16:creationId xmlns:a16="http://schemas.microsoft.com/office/drawing/2014/main" id="{7FFBC827-F060-4124-9E77-70A3670A8E66}"/>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snapdragon</a:t>
            </a:r>
          </a:p>
        </p:txBody>
      </p:sp>
      <p:sp>
        <p:nvSpPr>
          <p:cNvPr id="10" name="Footer Placeholder 2">
            <a:extLst>
              <a:ext uri="{FF2B5EF4-FFF2-40B4-BE49-F238E27FC236}">
                <a16:creationId xmlns:a16="http://schemas.microsoft.com/office/drawing/2014/main" id="{11394C91-0ECD-4A2E-A5C6-77B0EFFDD1F0}"/>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defRPr/>
            </a:pPr>
            <a:r>
              <a:rPr lang="en-US"/>
              <a:t>Media Web Symposium 2023</a:t>
            </a:r>
            <a:endParaRPr lang="en-US" dirty="0"/>
          </a:p>
        </p:txBody>
      </p:sp>
      <p:sp>
        <p:nvSpPr>
          <p:cNvPr id="14" name="TextBox 13">
            <a:extLst>
              <a:ext uri="{FF2B5EF4-FFF2-40B4-BE49-F238E27FC236}">
                <a16:creationId xmlns:a16="http://schemas.microsoft.com/office/drawing/2014/main" id="{00A0D3CC-ABF9-394D-9BFB-0D9BEE41E3C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2" name="Text Placeholder 7">
            <a:extLst>
              <a:ext uri="{FF2B5EF4-FFF2-40B4-BE49-F238E27FC236}">
                <a16:creationId xmlns:a16="http://schemas.microsoft.com/office/drawing/2014/main" id="{22B4B7F2-9257-E9BC-4E85-37019D2FECDF}"/>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15" name="Title 2">
            <a:extLst>
              <a:ext uri="{FF2B5EF4-FFF2-40B4-BE49-F238E27FC236}">
                <a16:creationId xmlns:a16="http://schemas.microsoft.com/office/drawing/2014/main" id="{78FF28B7-017F-B3EE-EB3A-CD76353626BC}"/>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pic>
        <p:nvPicPr>
          <p:cNvPr id="18" name="Picture 17">
            <a:extLst>
              <a:ext uri="{FF2B5EF4-FFF2-40B4-BE49-F238E27FC236}">
                <a16:creationId xmlns:a16="http://schemas.microsoft.com/office/drawing/2014/main" id="{17979B82-C39F-98CA-AA4A-EE4EA62DC2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4632" y="484632"/>
            <a:ext cx="1938687" cy="369966"/>
          </a:xfrm>
          <a:prstGeom prst="rect">
            <a:avLst/>
          </a:prstGeom>
        </p:spPr>
      </p:pic>
      <p:sp>
        <p:nvSpPr>
          <p:cNvPr id="23" name="Text Placeholder 5">
            <a:extLst>
              <a:ext uri="{FF2B5EF4-FFF2-40B4-BE49-F238E27FC236}">
                <a16:creationId xmlns:a16="http://schemas.microsoft.com/office/drawing/2014/main" id="{63C8CC7D-D393-2065-7AF4-980CFE94B2F5}"/>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24" name="Text Placeholder 7">
            <a:extLst>
              <a:ext uri="{FF2B5EF4-FFF2-40B4-BE49-F238E27FC236}">
                <a16:creationId xmlns:a16="http://schemas.microsoft.com/office/drawing/2014/main" id="{7199A3E9-BF97-138B-93A2-95BE682304EB}"/>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150053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SD Title Red">
    <p:bg>
      <p:bgPr>
        <a:solidFill>
          <a:schemeClr val="bg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63B2BBF7-2804-471D-B156-C43D3BE2AE94}"/>
              </a:ext>
            </a:extLst>
          </p:cNvPr>
          <p:cNvGrpSpPr/>
          <p:nvPr userDrawn="1"/>
        </p:nvGrpSpPr>
        <p:grpSpPr>
          <a:xfrm>
            <a:off x="6553200" y="-2853800"/>
            <a:ext cx="12192000" cy="12223054"/>
            <a:chOff x="2118610" y="-558521"/>
            <a:chExt cx="7954780" cy="7975042"/>
          </a:xfrm>
        </p:grpSpPr>
        <p:sp>
          <p:nvSpPr>
            <p:cNvPr id="9" name="Freeform 21">
              <a:extLst>
                <a:ext uri="{FF2B5EF4-FFF2-40B4-BE49-F238E27FC236}">
                  <a16:creationId xmlns:a16="http://schemas.microsoft.com/office/drawing/2014/main" id="{47560505-2EFD-4F5F-8152-2936FDB34462}"/>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CD111E"/>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0" name="Freeform 22">
              <a:extLst>
                <a:ext uri="{FF2B5EF4-FFF2-40B4-BE49-F238E27FC236}">
                  <a16:creationId xmlns:a16="http://schemas.microsoft.com/office/drawing/2014/main" id="{DCA622B7-C125-476C-9874-54D3CC640EBB}"/>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D81220"/>
            </a:solidFill>
            <a:ln>
              <a:noFill/>
            </a:ln>
            <a:effectLst>
              <a:outerShdw blurRad="304800" dist="304800" dir="8100000" algn="tr" rotWithShape="0">
                <a:srgbClr val="1F0306">
                  <a:alpha val="34902"/>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1" name="Freeform 23">
              <a:extLst>
                <a:ext uri="{FF2B5EF4-FFF2-40B4-BE49-F238E27FC236}">
                  <a16:creationId xmlns:a16="http://schemas.microsoft.com/office/drawing/2014/main" id="{291979CC-F981-4686-9D45-BB9AE15D97B3}"/>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outerShdw blurRad="304800" dist="304800" dir="8100000" algn="tr" rotWithShape="0">
                <a:srgbClr val="160204">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5" name="Freeform 23">
              <a:extLst>
                <a:ext uri="{FF2B5EF4-FFF2-40B4-BE49-F238E27FC236}">
                  <a16:creationId xmlns:a16="http://schemas.microsoft.com/office/drawing/2014/main" id="{FABF63AC-C929-40F9-9844-0A21AE3749EE}"/>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bg2"/>
            </a:solidFill>
            <a:ln>
              <a:noFill/>
            </a:ln>
            <a:effectLst>
              <a:innerShdw blurRad="304800" dist="304800">
                <a:srgbClr val="180204">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22" name="Text Placeholder 48">
            <a:extLst>
              <a:ext uri="{FF2B5EF4-FFF2-40B4-BE49-F238E27FC236}">
                <a16:creationId xmlns:a16="http://schemas.microsoft.com/office/drawing/2014/main" id="{92647A1B-6237-4C19-BE76-B28E84D67F5D}"/>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snapdragon</a:t>
            </a:r>
          </a:p>
        </p:txBody>
      </p:sp>
      <p:sp>
        <p:nvSpPr>
          <p:cNvPr id="17" name="Footer Placeholder 2">
            <a:extLst>
              <a:ext uri="{FF2B5EF4-FFF2-40B4-BE49-F238E27FC236}">
                <a16:creationId xmlns:a16="http://schemas.microsoft.com/office/drawing/2014/main" id="{6988F201-2BAB-47D5-B487-071113E79661}"/>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marR="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lang="en-US" sz="800" kern="1200" baseline="0">
                <a:solidFill>
                  <a:schemeClr val="bg1"/>
                </a:solidFill>
                <a:latin typeface="+mn-lt"/>
                <a:ea typeface="+mn-ea"/>
                <a:cs typeface="+mn-cs"/>
              </a:defRPr>
            </a:lvl1pPr>
          </a:lstStyle>
          <a:p>
            <a:pPr>
              <a:defRPr/>
            </a:pPr>
            <a:r>
              <a:rPr lang="en-US"/>
              <a:t>Media Web Symposium 2023</a:t>
            </a:r>
            <a:endParaRPr lang="en-US" dirty="0"/>
          </a:p>
        </p:txBody>
      </p:sp>
      <p:sp>
        <p:nvSpPr>
          <p:cNvPr id="20" name="TextBox 19">
            <a:extLst>
              <a:ext uri="{FF2B5EF4-FFF2-40B4-BE49-F238E27FC236}">
                <a16:creationId xmlns:a16="http://schemas.microsoft.com/office/drawing/2014/main" id="{6A843309-E0A1-5247-9312-CC4E16618A4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
        <p:nvSpPr>
          <p:cNvPr id="16" name="Text Placeholder 7">
            <a:extLst>
              <a:ext uri="{FF2B5EF4-FFF2-40B4-BE49-F238E27FC236}">
                <a16:creationId xmlns:a16="http://schemas.microsoft.com/office/drawing/2014/main" id="{30E485AF-557B-29F2-ADB1-D899FE0EDB5F}"/>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23" name="Title 2">
            <a:extLst>
              <a:ext uri="{FF2B5EF4-FFF2-40B4-BE49-F238E27FC236}">
                <a16:creationId xmlns:a16="http://schemas.microsoft.com/office/drawing/2014/main" id="{D97AA817-7754-311C-CCE1-0724407542E7}"/>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pic>
        <p:nvPicPr>
          <p:cNvPr id="24" name="Picture 23">
            <a:extLst>
              <a:ext uri="{FF2B5EF4-FFF2-40B4-BE49-F238E27FC236}">
                <a16:creationId xmlns:a16="http://schemas.microsoft.com/office/drawing/2014/main" id="{3F5F6F96-5CC0-BE5B-65FE-75C6F87E570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4632" y="484632"/>
            <a:ext cx="1938687" cy="369966"/>
          </a:xfrm>
          <a:prstGeom prst="rect">
            <a:avLst/>
          </a:prstGeom>
        </p:spPr>
      </p:pic>
      <p:sp>
        <p:nvSpPr>
          <p:cNvPr id="26" name="Text Placeholder 5">
            <a:extLst>
              <a:ext uri="{FF2B5EF4-FFF2-40B4-BE49-F238E27FC236}">
                <a16:creationId xmlns:a16="http://schemas.microsoft.com/office/drawing/2014/main" id="{F90869F0-7594-737E-73B6-F9EDF99972D5}"/>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27" name="Text Placeholder 7">
            <a:extLst>
              <a:ext uri="{FF2B5EF4-FFF2-40B4-BE49-F238E27FC236}">
                <a16:creationId xmlns:a16="http://schemas.microsoft.com/office/drawing/2014/main" id="{F3CEFD0B-12F7-A937-291D-4972CE50177F}"/>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355645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75.xml><?xml version="1.0" encoding="utf-8"?>
<p:sldLayout xmlns:a="http://schemas.openxmlformats.org/drawingml/2006/main" xmlns:r="http://schemas.openxmlformats.org/officeDocument/2006/relationships" xmlns:p="http://schemas.openxmlformats.org/presentationml/2006/main" showMasterSp="0" preserve="1" userDrawn="1">
  <p:cSld name="SD Title White">
    <p:bg>
      <p:bgPr>
        <a:solidFill>
          <a:srgbClr val="FFFFFF"/>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B79E5F42-542A-481A-AC09-43F6241BD74A}"/>
              </a:ext>
            </a:extLst>
          </p:cNvPr>
          <p:cNvGrpSpPr/>
          <p:nvPr userDrawn="1"/>
        </p:nvGrpSpPr>
        <p:grpSpPr>
          <a:xfrm>
            <a:off x="6553200" y="-2852928"/>
            <a:ext cx="12192000" cy="12223054"/>
            <a:chOff x="2118610" y="-558521"/>
            <a:chExt cx="7954780" cy="7975042"/>
          </a:xfrm>
        </p:grpSpPr>
        <p:sp>
          <p:nvSpPr>
            <p:cNvPr id="23" name="Freeform 21">
              <a:extLst>
                <a:ext uri="{FF2B5EF4-FFF2-40B4-BE49-F238E27FC236}">
                  <a16:creationId xmlns:a16="http://schemas.microsoft.com/office/drawing/2014/main" id="{5A869BCF-7F87-4BF7-AB41-1FA0DFF2DA48}"/>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FAFBFC"/>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24" name="Freeform 22">
              <a:extLst>
                <a:ext uri="{FF2B5EF4-FFF2-40B4-BE49-F238E27FC236}">
                  <a16:creationId xmlns:a16="http://schemas.microsoft.com/office/drawing/2014/main" id="{05C30C20-6C83-4102-A838-D56643B62C95}"/>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FAFBFC"/>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25" name="Freeform 23">
              <a:extLst>
                <a:ext uri="{FF2B5EF4-FFF2-40B4-BE49-F238E27FC236}">
                  <a16:creationId xmlns:a16="http://schemas.microsoft.com/office/drawing/2014/main" id="{7311AEAC-0F28-4615-A4A3-954D691DA367}"/>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outerShdw blurRad="304800" dist="304800" dir="8100000" algn="tr" rotWithShape="0">
                <a:schemeClr val="tx1">
                  <a:alpha val="35000"/>
                </a:scheme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26" name="Freeform 23">
              <a:extLst>
                <a:ext uri="{FF2B5EF4-FFF2-40B4-BE49-F238E27FC236}">
                  <a16:creationId xmlns:a16="http://schemas.microsoft.com/office/drawing/2014/main" id="{1EE6416D-7043-4B54-A1C5-AF321C854B07}"/>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rgbClr val="FFFFFF"/>
            </a:solidFill>
            <a:ln>
              <a:noFill/>
            </a:ln>
            <a:effectLst>
              <a:innerShdw blurRad="304800" dist="304800">
                <a:schemeClr val="tx1">
                  <a:alpha val="40000"/>
                </a:scheme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22" name="Text Placeholder 48">
            <a:extLst>
              <a:ext uri="{FF2B5EF4-FFF2-40B4-BE49-F238E27FC236}">
                <a16:creationId xmlns:a16="http://schemas.microsoft.com/office/drawing/2014/main" id="{86E6721A-8AAF-4279-A3B0-7499E60759EC}"/>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snapdragon</a:t>
            </a:r>
          </a:p>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endParaRPr lang="en-US" dirty="0"/>
          </a:p>
        </p:txBody>
      </p:sp>
      <p:sp>
        <p:nvSpPr>
          <p:cNvPr id="15" name="Footer Placeholder 2">
            <a:extLst>
              <a:ext uri="{FF2B5EF4-FFF2-40B4-BE49-F238E27FC236}">
                <a16:creationId xmlns:a16="http://schemas.microsoft.com/office/drawing/2014/main" id="{39154FE7-5393-43D1-8407-23E99F94624A}"/>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marR="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lang="en-US" sz="800" kern="1200" baseline="0">
                <a:solidFill>
                  <a:schemeClr val="accent5">
                    <a:lumMod val="60000"/>
                    <a:lumOff val="40000"/>
                  </a:schemeClr>
                </a:solidFill>
                <a:latin typeface="+mn-lt"/>
                <a:ea typeface="+mn-ea"/>
                <a:cs typeface="+mn-cs"/>
              </a:defRPr>
            </a:lvl1pPr>
          </a:lstStyle>
          <a:p>
            <a:pPr>
              <a:defRPr/>
            </a:pPr>
            <a:r>
              <a:rPr lang="en-US"/>
              <a:t>Media Web Symposium 2023</a:t>
            </a:r>
            <a:endParaRPr lang="en-US" dirty="0"/>
          </a:p>
        </p:txBody>
      </p:sp>
      <p:sp>
        <p:nvSpPr>
          <p:cNvPr id="18" name="TextBox 17">
            <a:extLst>
              <a:ext uri="{FF2B5EF4-FFF2-40B4-BE49-F238E27FC236}">
                <a16:creationId xmlns:a16="http://schemas.microsoft.com/office/drawing/2014/main" id="{AA578684-7771-014A-A136-F6303FE2F8D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
        <p:nvSpPr>
          <p:cNvPr id="31" name="Text Placeholder 7">
            <a:extLst>
              <a:ext uri="{FF2B5EF4-FFF2-40B4-BE49-F238E27FC236}">
                <a16:creationId xmlns:a16="http://schemas.microsoft.com/office/drawing/2014/main" id="{8809CAF7-2C64-531C-21AA-5FD1048CC6F9}"/>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33" name="Title 2">
            <a:extLst>
              <a:ext uri="{FF2B5EF4-FFF2-40B4-BE49-F238E27FC236}">
                <a16:creationId xmlns:a16="http://schemas.microsoft.com/office/drawing/2014/main" id="{FF1BC470-5233-7C79-4F94-9A01CCCACA3E}"/>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endParaRPr lang="en-US" dirty="0"/>
          </a:p>
        </p:txBody>
      </p:sp>
      <p:sp>
        <p:nvSpPr>
          <p:cNvPr id="17" name="Text Placeholder 5">
            <a:extLst>
              <a:ext uri="{FF2B5EF4-FFF2-40B4-BE49-F238E27FC236}">
                <a16:creationId xmlns:a16="http://schemas.microsoft.com/office/drawing/2014/main" id="{85E29496-F18A-4DFC-5DC7-2C3355D470DD}"/>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9" name="Text Placeholder 7">
            <a:extLst>
              <a:ext uri="{FF2B5EF4-FFF2-40B4-BE49-F238E27FC236}">
                <a16:creationId xmlns:a16="http://schemas.microsoft.com/office/drawing/2014/main" id="{AD5B0B12-CD25-F45C-107C-20214F0A69CB}"/>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cxnSp>
        <p:nvCxnSpPr>
          <p:cNvPr id="4" name="Straight Connector 3">
            <a:extLst>
              <a:ext uri="{FF2B5EF4-FFF2-40B4-BE49-F238E27FC236}">
                <a16:creationId xmlns:a16="http://schemas.microsoft.com/office/drawing/2014/main" id="{EC4E2419-B480-369E-A69A-F2A56281C498}"/>
              </a:ext>
            </a:extLst>
          </p:cNvPr>
          <p:cNvCxnSpPr>
            <a:cxnSpLocks/>
          </p:cNvCxnSpPr>
          <p:nvPr userDrawn="1"/>
        </p:nvCxnSpPr>
        <p:spPr>
          <a:xfrm>
            <a:off x="12192000" y="-103695"/>
            <a:ext cx="0" cy="7117237"/>
          </a:xfrm>
          <a:prstGeom prst="line">
            <a:avLst/>
          </a:prstGeom>
          <a:ln w="12700" cap="rnd">
            <a:solidFill>
              <a:schemeClr val="accent6"/>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B1AF563-719C-F10B-D1AD-21E4DB854C5C}"/>
              </a:ext>
            </a:extLst>
          </p:cNvPr>
          <p:cNvPicPr>
            <a:picLocks noChangeAspect="1"/>
          </p:cNvPicPr>
          <p:nvPr userDrawn="1"/>
        </p:nvPicPr>
        <p:blipFill>
          <a:blip r:embed="rId2"/>
          <a:stretch>
            <a:fillRect/>
          </a:stretch>
        </p:blipFill>
        <p:spPr>
          <a:xfrm>
            <a:off x="484632" y="484632"/>
            <a:ext cx="1989385" cy="374904"/>
          </a:xfrm>
          <a:prstGeom prst="rect">
            <a:avLst/>
          </a:prstGeom>
        </p:spPr>
      </p:pic>
    </p:spTree>
    <p:extLst>
      <p:ext uri="{BB962C8B-B14F-4D97-AF65-F5344CB8AC3E}">
        <p14:creationId xmlns:p14="http://schemas.microsoft.com/office/powerpoint/2010/main" val="1864299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76.xml><?xml version="1.0" encoding="utf-8"?>
<p:sldLayout xmlns:a="http://schemas.openxmlformats.org/drawingml/2006/main" xmlns:r="http://schemas.openxmlformats.org/officeDocument/2006/relationships" xmlns:p="http://schemas.openxmlformats.org/presentationml/2006/main" showMasterSp="0" preserve="1" userDrawn="1">
  <p:cSld name="SD Title Nickel">
    <p:bg>
      <p:bgPr>
        <a:solidFill>
          <a:schemeClr val="accent6">
            <a:lumMod val="40000"/>
            <a:lumOff val="60000"/>
          </a:schemeClr>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AC7379E-9221-4504-A35C-8C78D775AE3E}"/>
              </a:ext>
            </a:extLst>
          </p:cNvPr>
          <p:cNvGrpSpPr/>
          <p:nvPr userDrawn="1"/>
        </p:nvGrpSpPr>
        <p:grpSpPr>
          <a:xfrm>
            <a:off x="6553200" y="-2852928"/>
            <a:ext cx="12192000" cy="12223054"/>
            <a:chOff x="2118610" y="-558521"/>
            <a:chExt cx="7954780" cy="7975042"/>
          </a:xfrm>
        </p:grpSpPr>
        <p:sp>
          <p:nvSpPr>
            <p:cNvPr id="9" name="Freeform 21">
              <a:extLst>
                <a:ext uri="{FF2B5EF4-FFF2-40B4-BE49-F238E27FC236}">
                  <a16:creationId xmlns:a16="http://schemas.microsoft.com/office/drawing/2014/main" id="{A998E568-6104-4015-A12B-0BF7CD279DA0}"/>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chemeClr val="accent6">
                <a:lumMod val="40000"/>
                <a:lumOff val="60000"/>
              </a:schemeClr>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0" name="Freeform 22">
              <a:extLst>
                <a:ext uri="{FF2B5EF4-FFF2-40B4-BE49-F238E27FC236}">
                  <a16:creationId xmlns:a16="http://schemas.microsoft.com/office/drawing/2014/main" id="{1CAD56E9-93CD-4334-A222-FACC74EBDD52}"/>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E7EBF1"/>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1" name="Freeform 23">
              <a:extLst>
                <a:ext uri="{FF2B5EF4-FFF2-40B4-BE49-F238E27FC236}">
                  <a16:creationId xmlns:a16="http://schemas.microsoft.com/office/drawing/2014/main" id="{B2A77395-6B9A-454C-BD4B-C8309BEBF717}"/>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5" name="Freeform 23">
              <a:extLst>
                <a:ext uri="{FF2B5EF4-FFF2-40B4-BE49-F238E27FC236}">
                  <a16:creationId xmlns:a16="http://schemas.microsoft.com/office/drawing/2014/main" id="{A46C356B-44EE-49B4-9FA3-C19D6CC8B737}"/>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6">
                <a:lumMod val="20000"/>
                <a:lumOff val="80000"/>
              </a:schemeClr>
            </a:solidFill>
            <a:ln>
              <a:noFill/>
            </a:ln>
            <a:effectLst>
              <a:innerShdw blurRad="304800" dist="304800">
                <a:srgbClr val="0A0C10">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22" name="Text Placeholder 48">
            <a:extLst>
              <a:ext uri="{FF2B5EF4-FFF2-40B4-BE49-F238E27FC236}">
                <a16:creationId xmlns:a16="http://schemas.microsoft.com/office/drawing/2014/main" id="{9F8ED3B4-DADB-442F-9CC2-302130656913}"/>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snapdragon</a:t>
            </a:r>
          </a:p>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endParaRPr lang="en-US" dirty="0"/>
          </a:p>
        </p:txBody>
      </p:sp>
      <p:sp>
        <p:nvSpPr>
          <p:cNvPr id="16" name="Footer Placeholder 2">
            <a:extLst>
              <a:ext uri="{FF2B5EF4-FFF2-40B4-BE49-F238E27FC236}">
                <a16:creationId xmlns:a16="http://schemas.microsoft.com/office/drawing/2014/main" id="{C63E2F76-C79D-4679-8E21-AE8185311956}"/>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pPr>
              <a:defRPr/>
            </a:pPr>
            <a:r>
              <a:rPr lang="en-US"/>
              <a:t>Media Web Symposium 2023</a:t>
            </a:r>
            <a:endParaRPr lang="en-US" dirty="0"/>
          </a:p>
        </p:txBody>
      </p:sp>
      <p:sp>
        <p:nvSpPr>
          <p:cNvPr id="20" name="TextBox 19">
            <a:extLst>
              <a:ext uri="{FF2B5EF4-FFF2-40B4-BE49-F238E27FC236}">
                <a16:creationId xmlns:a16="http://schemas.microsoft.com/office/drawing/2014/main" id="{5BA4EC28-CF88-3F4E-8728-73E0896B7D4F}"/>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
        <p:nvSpPr>
          <p:cNvPr id="17" name="Text Placeholder 7">
            <a:extLst>
              <a:ext uri="{FF2B5EF4-FFF2-40B4-BE49-F238E27FC236}">
                <a16:creationId xmlns:a16="http://schemas.microsoft.com/office/drawing/2014/main" id="{D55E74EB-6224-4F7F-D951-BDFBB141E1DC}"/>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tx2"/>
                </a:solidFill>
              </a:defRPr>
            </a:lvl1pPr>
            <a:lvl2pPr marL="0" indent="0">
              <a:lnSpc>
                <a:spcPct val="96000"/>
              </a:lnSpc>
              <a:spcBef>
                <a:spcPts val="0"/>
              </a:spcBef>
              <a:buFont typeface="Microsoft Sans Serif" panose="020B0604020202020204" pitchFamily="34" charset="0"/>
              <a:buNone/>
              <a:defRPr sz="16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26" name="Title 2">
            <a:extLst>
              <a:ext uri="{FF2B5EF4-FFF2-40B4-BE49-F238E27FC236}">
                <a16:creationId xmlns:a16="http://schemas.microsoft.com/office/drawing/2014/main" id="{F24B98AB-B36A-8633-1D45-18914CE2B987}"/>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tx2"/>
                </a:solidFill>
              </a:defRPr>
            </a:lvl1pPr>
          </a:lstStyle>
          <a:p>
            <a:r>
              <a:rPr lang="en-US"/>
              <a:t>Click to edit Master title style</a:t>
            </a:r>
            <a:endParaRPr lang="en-US" dirty="0"/>
          </a:p>
        </p:txBody>
      </p:sp>
      <p:sp>
        <p:nvSpPr>
          <p:cNvPr id="18" name="Text Placeholder 5">
            <a:extLst>
              <a:ext uri="{FF2B5EF4-FFF2-40B4-BE49-F238E27FC236}">
                <a16:creationId xmlns:a16="http://schemas.microsoft.com/office/drawing/2014/main" id="{7CDA7BE4-68B7-D9E1-BACF-378D2F8CCD23}"/>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9" name="Text Placeholder 7">
            <a:extLst>
              <a:ext uri="{FF2B5EF4-FFF2-40B4-BE49-F238E27FC236}">
                <a16:creationId xmlns:a16="http://schemas.microsoft.com/office/drawing/2014/main" id="{B1CF0B89-699E-ED28-F437-240A73E8D4B5}"/>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tx2"/>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pic>
        <p:nvPicPr>
          <p:cNvPr id="21" name="Picture 20">
            <a:extLst>
              <a:ext uri="{FF2B5EF4-FFF2-40B4-BE49-F238E27FC236}">
                <a16:creationId xmlns:a16="http://schemas.microsoft.com/office/drawing/2014/main" id="{E18F6676-0191-CED1-4FEE-CB9C82CDD077}"/>
              </a:ext>
            </a:extLst>
          </p:cNvPr>
          <p:cNvPicPr>
            <a:picLocks noChangeAspect="1"/>
          </p:cNvPicPr>
          <p:nvPr userDrawn="1"/>
        </p:nvPicPr>
        <p:blipFill>
          <a:blip r:embed="rId2"/>
          <a:stretch>
            <a:fillRect/>
          </a:stretch>
        </p:blipFill>
        <p:spPr>
          <a:xfrm>
            <a:off x="484632" y="484632"/>
            <a:ext cx="1989385" cy="374904"/>
          </a:xfrm>
          <a:prstGeom prst="rect">
            <a:avLst/>
          </a:prstGeom>
        </p:spPr>
      </p:pic>
    </p:spTree>
    <p:extLst>
      <p:ext uri="{BB962C8B-B14F-4D97-AF65-F5344CB8AC3E}">
        <p14:creationId xmlns:p14="http://schemas.microsoft.com/office/powerpoint/2010/main" val="4109361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77.xml><?xml version="1.0" encoding="utf-8"?>
<p:sldLayout xmlns:a="http://schemas.openxmlformats.org/drawingml/2006/main" xmlns:r="http://schemas.openxmlformats.org/officeDocument/2006/relationships" xmlns:p="http://schemas.openxmlformats.org/presentationml/2006/main" showMasterSp="0" preserve="1" userDrawn="1">
  <p:cSld name="SD Title Gunmetal">
    <p:bg>
      <p:bgPr>
        <a:solidFill>
          <a:schemeClr val="accent5"/>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AC7379E-9221-4504-A35C-8C78D775AE3E}"/>
              </a:ext>
            </a:extLst>
          </p:cNvPr>
          <p:cNvGrpSpPr/>
          <p:nvPr userDrawn="1"/>
        </p:nvGrpSpPr>
        <p:grpSpPr>
          <a:xfrm>
            <a:off x="6553200" y="-2852928"/>
            <a:ext cx="12192000" cy="12223054"/>
            <a:chOff x="2118610" y="-558521"/>
            <a:chExt cx="7954780" cy="7975042"/>
          </a:xfrm>
        </p:grpSpPr>
        <p:sp>
          <p:nvSpPr>
            <p:cNvPr id="9" name="Freeform 21">
              <a:extLst>
                <a:ext uri="{FF2B5EF4-FFF2-40B4-BE49-F238E27FC236}">
                  <a16:creationId xmlns:a16="http://schemas.microsoft.com/office/drawing/2014/main" id="{A998E568-6104-4015-A12B-0BF7CD279DA0}"/>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rgbClr val="4A5A75"/>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0" name="Freeform 22">
              <a:extLst>
                <a:ext uri="{FF2B5EF4-FFF2-40B4-BE49-F238E27FC236}">
                  <a16:creationId xmlns:a16="http://schemas.microsoft.com/office/drawing/2014/main" id="{1CAD56E9-93CD-4334-A222-FACC74EBDD52}"/>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44536C"/>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1" name="Freeform 23">
              <a:extLst>
                <a:ext uri="{FF2B5EF4-FFF2-40B4-BE49-F238E27FC236}">
                  <a16:creationId xmlns:a16="http://schemas.microsoft.com/office/drawing/2014/main" id="{B2A77395-6B9A-454C-BD4B-C8309BEBF717}"/>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outerShdw blurRad="304800" dist="304800" dir="8100000" algn="tr" rotWithShape="0">
                <a:srgbClr val="0A0C10">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5" name="Freeform 23">
              <a:extLst>
                <a:ext uri="{FF2B5EF4-FFF2-40B4-BE49-F238E27FC236}">
                  <a16:creationId xmlns:a16="http://schemas.microsoft.com/office/drawing/2014/main" id="{A46C356B-44EE-49B4-9FA3-C19D6CC8B737}"/>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accent5"/>
            </a:solidFill>
            <a:ln>
              <a:noFill/>
            </a:ln>
            <a:effectLst>
              <a:innerShdw blurRad="304800" dist="304800">
                <a:srgbClr val="0A0C10">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22" name="Text Placeholder 48">
            <a:extLst>
              <a:ext uri="{FF2B5EF4-FFF2-40B4-BE49-F238E27FC236}">
                <a16:creationId xmlns:a16="http://schemas.microsoft.com/office/drawing/2014/main" id="{9F8ED3B4-DADB-442F-9CC2-302130656913}"/>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snapdragon</a:t>
            </a:r>
          </a:p>
        </p:txBody>
      </p:sp>
      <p:sp>
        <p:nvSpPr>
          <p:cNvPr id="17" name="Footer Placeholder 2">
            <a:extLst>
              <a:ext uri="{FF2B5EF4-FFF2-40B4-BE49-F238E27FC236}">
                <a16:creationId xmlns:a16="http://schemas.microsoft.com/office/drawing/2014/main" id="{A63057AE-C887-4D0E-8019-7DAD9E9382DF}"/>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defRPr/>
            </a:pPr>
            <a:r>
              <a:rPr lang="en-US"/>
              <a:t>Media Web Symposium 2023</a:t>
            </a:r>
            <a:endParaRPr lang="en-US" dirty="0"/>
          </a:p>
        </p:txBody>
      </p:sp>
      <p:sp>
        <p:nvSpPr>
          <p:cNvPr id="20" name="TextBox 19">
            <a:extLst>
              <a:ext uri="{FF2B5EF4-FFF2-40B4-BE49-F238E27FC236}">
                <a16:creationId xmlns:a16="http://schemas.microsoft.com/office/drawing/2014/main" id="{9984F95E-5B15-0A43-BF2C-D4BD1E2149F6}"/>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6" name="Text Placeholder 7">
            <a:extLst>
              <a:ext uri="{FF2B5EF4-FFF2-40B4-BE49-F238E27FC236}">
                <a16:creationId xmlns:a16="http://schemas.microsoft.com/office/drawing/2014/main" id="{1686CFED-6B7A-ABE5-FFE2-2F98EB36C92D}"/>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26" name="Title 2">
            <a:extLst>
              <a:ext uri="{FF2B5EF4-FFF2-40B4-BE49-F238E27FC236}">
                <a16:creationId xmlns:a16="http://schemas.microsoft.com/office/drawing/2014/main" id="{6A4AD927-A104-7585-FBB2-355DDFC4E9FE}"/>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pic>
        <p:nvPicPr>
          <p:cNvPr id="18" name="Picture 17">
            <a:extLst>
              <a:ext uri="{FF2B5EF4-FFF2-40B4-BE49-F238E27FC236}">
                <a16:creationId xmlns:a16="http://schemas.microsoft.com/office/drawing/2014/main" id="{6B1AADF3-7E95-FC72-419F-A542DFE8C5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4632" y="484632"/>
            <a:ext cx="1938687" cy="369966"/>
          </a:xfrm>
          <a:prstGeom prst="rect">
            <a:avLst/>
          </a:prstGeom>
        </p:spPr>
      </p:pic>
      <p:sp>
        <p:nvSpPr>
          <p:cNvPr id="19" name="Text Placeholder 5">
            <a:extLst>
              <a:ext uri="{FF2B5EF4-FFF2-40B4-BE49-F238E27FC236}">
                <a16:creationId xmlns:a16="http://schemas.microsoft.com/office/drawing/2014/main" id="{3FBC4CE4-0F6E-59F8-9114-E021C27B9949}"/>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21" name="Text Placeholder 7">
            <a:extLst>
              <a:ext uri="{FF2B5EF4-FFF2-40B4-BE49-F238E27FC236}">
                <a16:creationId xmlns:a16="http://schemas.microsoft.com/office/drawing/2014/main" id="{3F49D4FA-FE36-D3AB-A4C5-0024F131BFE2}"/>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131210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78.xml><?xml version="1.0" encoding="utf-8"?>
<p:sldLayout xmlns:a="http://schemas.openxmlformats.org/drawingml/2006/main" xmlns:r="http://schemas.openxmlformats.org/officeDocument/2006/relationships" xmlns:p="http://schemas.openxmlformats.org/presentationml/2006/main" showMasterSp="0" preserve="1" userDrawn="1">
  <p:cSld name="SD Title Midnight">
    <p:bg>
      <p:bgPr>
        <a:solidFill>
          <a:schemeClr val="tx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0A697E7-8EE0-42AD-85FC-7243FF44AFBC}"/>
              </a:ext>
            </a:extLst>
          </p:cNvPr>
          <p:cNvGrpSpPr/>
          <p:nvPr userDrawn="1"/>
        </p:nvGrpSpPr>
        <p:grpSpPr>
          <a:xfrm>
            <a:off x="6553200" y="-2852928"/>
            <a:ext cx="12192000" cy="12223054"/>
            <a:chOff x="2118610" y="-558521"/>
            <a:chExt cx="7954780" cy="7975042"/>
          </a:xfrm>
          <a:effectLst>
            <a:outerShdw blurRad="741743" dist="38100" dir="8100000" algn="tr" rotWithShape="0">
              <a:prstClr val="black">
                <a:alpha val="50550"/>
              </a:prstClr>
            </a:outerShdw>
          </a:effectLst>
        </p:grpSpPr>
        <p:sp>
          <p:nvSpPr>
            <p:cNvPr id="10" name="Freeform 21">
              <a:extLst>
                <a:ext uri="{FF2B5EF4-FFF2-40B4-BE49-F238E27FC236}">
                  <a16:creationId xmlns:a16="http://schemas.microsoft.com/office/drawing/2014/main" id="{6CB1826F-DC2F-42C7-91D1-FEC2A509FFCF}"/>
                </a:ext>
              </a:extLst>
            </p:cNvPr>
            <p:cNvSpPr>
              <a:spLocks/>
            </p:cNvSpPr>
            <p:nvPr/>
          </p:nvSpPr>
          <p:spPr bwMode="auto">
            <a:xfrm>
              <a:off x="2118610" y="-558521"/>
              <a:ext cx="7954780" cy="7956622"/>
            </a:xfrm>
            <a:custGeom>
              <a:avLst/>
              <a:gdLst>
                <a:gd name="T0" fmla="*/ 14283 w 28567"/>
                <a:gd name="T1" fmla="*/ 28567 h 28567"/>
                <a:gd name="T2" fmla="*/ 12758 w 28567"/>
                <a:gd name="T3" fmla="*/ 28486 h 28567"/>
                <a:gd name="T4" fmla="*/ 0 w 28567"/>
                <a:gd name="T5" fmla="*/ 14313 h 28567"/>
                <a:gd name="T6" fmla="*/ 2618 w 28567"/>
                <a:gd name="T7" fmla="*/ 17085 h 28567"/>
                <a:gd name="T8" fmla="*/ 6294 w 28567"/>
                <a:gd name="T9" fmla="*/ 18403 h 28567"/>
                <a:gd name="T10" fmla="*/ 9620 w 28567"/>
                <a:gd name="T11" fmla="*/ 24104 h 28567"/>
                <a:gd name="T12" fmla="*/ 9882 w 28567"/>
                <a:gd name="T13" fmla="*/ 24164 h 28567"/>
                <a:gd name="T14" fmla="*/ 10037 w 28567"/>
                <a:gd name="T15" fmla="*/ 18945 h 28567"/>
                <a:gd name="T16" fmla="*/ 6847 w 28567"/>
                <a:gd name="T17" fmla="*/ 15388 h 28567"/>
                <a:gd name="T18" fmla="*/ 2595 w 28567"/>
                <a:gd name="T19" fmla="*/ 12780 h 28567"/>
                <a:gd name="T20" fmla="*/ 1771 w 28567"/>
                <a:gd name="T21" fmla="*/ 7738 h 28567"/>
                <a:gd name="T22" fmla="*/ 2545 w 28567"/>
                <a:gd name="T23" fmla="*/ 6138 h 28567"/>
                <a:gd name="T24" fmla="*/ 4711 w 28567"/>
                <a:gd name="T25" fmla="*/ 3679 h 28567"/>
                <a:gd name="T26" fmla="*/ 4585 w 28567"/>
                <a:gd name="T27" fmla="*/ 6540 h 28567"/>
                <a:gd name="T28" fmla="*/ 4849 w 28567"/>
                <a:gd name="T29" fmla="*/ 6538 h 28567"/>
                <a:gd name="T30" fmla="*/ 13853 w 28567"/>
                <a:gd name="T31" fmla="*/ 10 h 28567"/>
                <a:gd name="T32" fmla="*/ 14283 w 28567"/>
                <a:gd name="T33" fmla="*/ 0 h 28567"/>
                <a:gd name="T34" fmla="*/ 14497 w 28567"/>
                <a:gd name="T35" fmla="*/ 3 h 28567"/>
                <a:gd name="T36" fmla="*/ 28567 w 28567"/>
                <a:gd name="T37" fmla="*/ 14284 h 28567"/>
                <a:gd name="T38" fmla="*/ 14283 w 28567"/>
                <a:gd name="T39" fmla="*/ 28567 h 28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67" h="28567">
                  <a:moveTo>
                    <a:pt x="14283" y="28567"/>
                  </a:moveTo>
                  <a:cubicBezTo>
                    <a:pt x="13768" y="28567"/>
                    <a:pt x="13259" y="28539"/>
                    <a:pt x="12758" y="28486"/>
                  </a:cubicBezTo>
                  <a:cubicBezTo>
                    <a:pt x="5597" y="27726"/>
                    <a:pt x="15" y="21673"/>
                    <a:pt x="0" y="14313"/>
                  </a:cubicBezTo>
                  <a:cubicBezTo>
                    <a:pt x="166" y="15593"/>
                    <a:pt x="1545" y="16579"/>
                    <a:pt x="2618" y="17085"/>
                  </a:cubicBezTo>
                  <a:cubicBezTo>
                    <a:pt x="3801" y="17644"/>
                    <a:pt x="5110" y="17853"/>
                    <a:pt x="6294" y="18403"/>
                  </a:cubicBezTo>
                  <a:cubicBezTo>
                    <a:pt x="8549" y="19449"/>
                    <a:pt x="9764" y="21705"/>
                    <a:pt x="9620" y="24104"/>
                  </a:cubicBezTo>
                  <a:cubicBezTo>
                    <a:pt x="9611" y="24259"/>
                    <a:pt x="9825" y="24309"/>
                    <a:pt x="9882" y="24164"/>
                  </a:cubicBezTo>
                  <a:cubicBezTo>
                    <a:pt x="10529" y="22510"/>
                    <a:pt x="10643" y="20622"/>
                    <a:pt x="10037" y="18945"/>
                  </a:cubicBezTo>
                  <a:cubicBezTo>
                    <a:pt x="9470" y="17375"/>
                    <a:pt x="8243" y="16241"/>
                    <a:pt x="6847" y="15388"/>
                  </a:cubicBezTo>
                  <a:cubicBezTo>
                    <a:pt x="5447" y="14533"/>
                    <a:pt x="3689" y="14059"/>
                    <a:pt x="2595" y="12780"/>
                  </a:cubicBezTo>
                  <a:cubicBezTo>
                    <a:pt x="1431" y="11420"/>
                    <a:pt x="1220" y="9399"/>
                    <a:pt x="1771" y="7738"/>
                  </a:cubicBezTo>
                  <a:cubicBezTo>
                    <a:pt x="1959" y="7171"/>
                    <a:pt x="2226" y="6639"/>
                    <a:pt x="2545" y="6138"/>
                  </a:cubicBezTo>
                  <a:cubicBezTo>
                    <a:pt x="3172" y="5238"/>
                    <a:pt x="3899" y="4412"/>
                    <a:pt x="4711" y="3679"/>
                  </a:cubicBezTo>
                  <a:cubicBezTo>
                    <a:pt x="4429" y="4580"/>
                    <a:pt x="4389" y="5600"/>
                    <a:pt x="4585" y="6540"/>
                  </a:cubicBezTo>
                  <a:cubicBezTo>
                    <a:pt x="4614" y="6682"/>
                    <a:pt x="4818" y="6680"/>
                    <a:pt x="4849" y="6538"/>
                  </a:cubicBezTo>
                  <a:cubicBezTo>
                    <a:pt x="5704" y="2623"/>
                    <a:pt x="10027" y="177"/>
                    <a:pt x="13853" y="10"/>
                  </a:cubicBezTo>
                  <a:cubicBezTo>
                    <a:pt x="13996" y="5"/>
                    <a:pt x="14139" y="0"/>
                    <a:pt x="14283" y="0"/>
                  </a:cubicBezTo>
                  <a:cubicBezTo>
                    <a:pt x="14355" y="0"/>
                    <a:pt x="14426" y="2"/>
                    <a:pt x="14497" y="3"/>
                  </a:cubicBezTo>
                  <a:cubicBezTo>
                    <a:pt x="22287" y="117"/>
                    <a:pt x="28567" y="6466"/>
                    <a:pt x="28567" y="14284"/>
                  </a:cubicBezTo>
                  <a:cubicBezTo>
                    <a:pt x="28567" y="22172"/>
                    <a:pt x="22172" y="28567"/>
                    <a:pt x="14283" y="28567"/>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1" name="Freeform 22">
              <a:extLst>
                <a:ext uri="{FF2B5EF4-FFF2-40B4-BE49-F238E27FC236}">
                  <a16:creationId xmlns:a16="http://schemas.microsoft.com/office/drawing/2014/main" id="{DDB1A6C9-78D5-48FB-990B-E7734DBB56C7}"/>
                </a:ext>
              </a:extLst>
            </p:cNvPr>
            <p:cNvSpPr>
              <a:spLocks/>
            </p:cNvSpPr>
            <p:nvPr/>
          </p:nvSpPr>
          <p:spPr bwMode="auto">
            <a:xfrm>
              <a:off x="2118610" y="-558521"/>
              <a:ext cx="5976676" cy="7975041"/>
            </a:xfrm>
            <a:custGeom>
              <a:avLst/>
              <a:gdLst>
                <a:gd name="T0" fmla="*/ 21460 w 21460"/>
                <a:gd name="T1" fmla="*/ 19501 h 28636"/>
                <a:gd name="T2" fmla="*/ 17065 w 21460"/>
                <a:gd name="T3" fmla="*/ 12150 h 28636"/>
                <a:gd name="T4" fmla="*/ 9804 w 21460"/>
                <a:gd name="T5" fmla="*/ 5368 h 28636"/>
                <a:gd name="T6" fmla="*/ 14497 w 21460"/>
                <a:gd name="T7" fmla="*/ 3 h 28636"/>
                <a:gd name="T8" fmla="*/ 14283 w 21460"/>
                <a:gd name="T9" fmla="*/ 0 h 28636"/>
                <a:gd name="T10" fmla="*/ 13853 w 21460"/>
                <a:gd name="T11" fmla="*/ 10 h 28636"/>
                <a:gd name="T12" fmla="*/ 4849 w 21460"/>
                <a:gd name="T13" fmla="*/ 6538 h 28636"/>
                <a:gd name="T14" fmla="*/ 4585 w 21460"/>
                <a:gd name="T15" fmla="*/ 6540 h 28636"/>
                <a:gd name="T16" fmla="*/ 4711 w 21460"/>
                <a:gd name="T17" fmla="*/ 3679 h 28636"/>
                <a:gd name="T18" fmla="*/ 2545 w 21460"/>
                <a:gd name="T19" fmla="*/ 6138 h 28636"/>
                <a:gd name="T20" fmla="*/ 1771 w 21460"/>
                <a:gd name="T21" fmla="*/ 7738 h 28636"/>
                <a:gd name="T22" fmla="*/ 2595 w 21460"/>
                <a:gd name="T23" fmla="*/ 12780 h 28636"/>
                <a:gd name="T24" fmla="*/ 6847 w 21460"/>
                <a:gd name="T25" fmla="*/ 15388 h 28636"/>
                <a:gd name="T26" fmla="*/ 10037 w 21460"/>
                <a:gd name="T27" fmla="*/ 18945 h 28636"/>
                <a:gd name="T28" fmla="*/ 9882 w 21460"/>
                <a:gd name="T29" fmla="*/ 24164 h 28636"/>
                <a:gd name="T30" fmla="*/ 9620 w 21460"/>
                <a:gd name="T31" fmla="*/ 24104 h 28636"/>
                <a:gd name="T32" fmla="*/ 6294 w 21460"/>
                <a:gd name="T33" fmla="*/ 18403 h 28636"/>
                <a:gd name="T34" fmla="*/ 2618 w 21460"/>
                <a:gd name="T35" fmla="*/ 17085 h 28636"/>
                <a:gd name="T36" fmla="*/ 0 w 21460"/>
                <a:gd name="T37" fmla="*/ 14313 h 28636"/>
                <a:gd name="T38" fmla="*/ 12758 w 21460"/>
                <a:gd name="T39" fmla="*/ 28486 h 28636"/>
                <a:gd name="T40" fmla="*/ 21460 w 21460"/>
                <a:gd name="T41" fmla="*/ 19501 h 28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460" h="28636">
                  <a:moveTo>
                    <a:pt x="21460" y="19501"/>
                  </a:moveTo>
                  <a:cubicBezTo>
                    <a:pt x="21460" y="15701"/>
                    <a:pt x="19261" y="13273"/>
                    <a:pt x="17065" y="12150"/>
                  </a:cubicBezTo>
                  <a:cubicBezTo>
                    <a:pt x="13848" y="10505"/>
                    <a:pt x="9804" y="9530"/>
                    <a:pt x="9804" y="5368"/>
                  </a:cubicBezTo>
                  <a:cubicBezTo>
                    <a:pt x="9804" y="2263"/>
                    <a:pt x="12038" y="60"/>
                    <a:pt x="14497" y="3"/>
                  </a:cubicBezTo>
                  <a:cubicBezTo>
                    <a:pt x="14426" y="2"/>
                    <a:pt x="14355" y="0"/>
                    <a:pt x="14283" y="0"/>
                  </a:cubicBezTo>
                  <a:cubicBezTo>
                    <a:pt x="14139" y="0"/>
                    <a:pt x="13996" y="5"/>
                    <a:pt x="13853" y="10"/>
                  </a:cubicBezTo>
                  <a:cubicBezTo>
                    <a:pt x="10027" y="177"/>
                    <a:pt x="5704" y="2623"/>
                    <a:pt x="4849" y="6538"/>
                  </a:cubicBezTo>
                  <a:cubicBezTo>
                    <a:pt x="4818" y="6680"/>
                    <a:pt x="4614" y="6682"/>
                    <a:pt x="4585" y="6540"/>
                  </a:cubicBezTo>
                  <a:cubicBezTo>
                    <a:pt x="4389" y="5600"/>
                    <a:pt x="4429" y="4580"/>
                    <a:pt x="4711" y="3679"/>
                  </a:cubicBezTo>
                  <a:cubicBezTo>
                    <a:pt x="3899" y="4412"/>
                    <a:pt x="3172" y="5238"/>
                    <a:pt x="2545" y="6138"/>
                  </a:cubicBezTo>
                  <a:cubicBezTo>
                    <a:pt x="2226" y="6639"/>
                    <a:pt x="1959" y="7171"/>
                    <a:pt x="1771" y="7738"/>
                  </a:cubicBezTo>
                  <a:cubicBezTo>
                    <a:pt x="1220" y="9399"/>
                    <a:pt x="1431" y="11420"/>
                    <a:pt x="2595" y="12780"/>
                  </a:cubicBezTo>
                  <a:cubicBezTo>
                    <a:pt x="3689" y="14059"/>
                    <a:pt x="5447" y="14533"/>
                    <a:pt x="6847" y="15388"/>
                  </a:cubicBezTo>
                  <a:cubicBezTo>
                    <a:pt x="8243" y="16241"/>
                    <a:pt x="9470" y="17375"/>
                    <a:pt x="10037" y="18945"/>
                  </a:cubicBezTo>
                  <a:cubicBezTo>
                    <a:pt x="10643" y="20622"/>
                    <a:pt x="10529" y="22510"/>
                    <a:pt x="9882" y="24164"/>
                  </a:cubicBezTo>
                  <a:cubicBezTo>
                    <a:pt x="9825" y="24309"/>
                    <a:pt x="9611" y="24259"/>
                    <a:pt x="9620" y="24104"/>
                  </a:cubicBezTo>
                  <a:cubicBezTo>
                    <a:pt x="9764" y="21705"/>
                    <a:pt x="8549" y="19449"/>
                    <a:pt x="6294" y="18403"/>
                  </a:cubicBezTo>
                  <a:cubicBezTo>
                    <a:pt x="5110" y="17853"/>
                    <a:pt x="3801" y="17644"/>
                    <a:pt x="2618" y="17085"/>
                  </a:cubicBezTo>
                  <a:cubicBezTo>
                    <a:pt x="1545" y="16579"/>
                    <a:pt x="166" y="15593"/>
                    <a:pt x="0" y="14313"/>
                  </a:cubicBezTo>
                  <a:cubicBezTo>
                    <a:pt x="15" y="21673"/>
                    <a:pt x="5597" y="27726"/>
                    <a:pt x="12758" y="28486"/>
                  </a:cubicBezTo>
                  <a:cubicBezTo>
                    <a:pt x="17938" y="28636"/>
                    <a:pt x="21460" y="24637"/>
                    <a:pt x="21460" y="19501"/>
                  </a:cubicBezTo>
                  <a:close/>
                </a:path>
              </a:pathLst>
            </a:custGeom>
            <a:solidFill>
              <a:srgbClr val="092139"/>
            </a:solidFill>
            <a:ln>
              <a:noFill/>
            </a:ln>
            <a:effectLst>
              <a:outerShdw blurRad="304800" dist="304800" dir="8100000" algn="tr" rotWithShape="0">
                <a:srgbClr val="030A11">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5" name="Freeform 23">
              <a:extLst>
                <a:ext uri="{FF2B5EF4-FFF2-40B4-BE49-F238E27FC236}">
                  <a16:creationId xmlns:a16="http://schemas.microsoft.com/office/drawing/2014/main" id="{02FF7922-0161-4F8A-9A1D-7B958B3A5A2D}"/>
                </a:ext>
              </a:extLst>
            </p:cNvPr>
            <p:cNvSpPr>
              <a:spLocks/>
            </p:cNvSpPr>
            <p:nvPr/>
          </p:nvSpPr>
          <p:spPr bwMode="auto">
            <a:xfrm>
              <a:off x="4848174" y="-556679"/>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outerShdw blurRad="304800" dist="304800" dir="8100000" algn="tr" rotWithShape="0">
                <a:srgbClr val="030A11">
                  <a:alpha val="35000"/>
                </a:srgbClr>
              </a:outerShdw>
            </a:effectLst>
          </p:spPr>
          <p:txBody>
            <a:bodyPr vert="horz" wrap="square" lIns="91440" tIns="45720" rIns="91440" bIns="45720" numCol="1" anchor="t" anchorCtr="0" compatLnSpc="1">
              <a:prstTxWarp prst="textNoShape">
                <a:avLst/>
              </a:prstTxWarp>
            </a:bodyPr>
            <a:lstStyle/>
            <a:p>
              <a:pPr lvl="0"/>
              <a:endParaRPr lang="en-US"/>
            </a:p>
          </p:txBody>
        </p:sp>
        <p:sp>
          <p:nvSpPr>
            <p:cNvPr id="18" name="Freeform 23">
              <a:extLst>
                <a:ext uri="{FF2B5EF4-FFF2-40B4-BE49-F238E27FC236}">
                  <a16:creationId xmlns:a16="http://schemas.microsoft.com/office/drawing/2014/main" id="{7D521DCB-6825-41A5-B175-75919D297C02}"/>
                </a:ext>
              </a:extLst>
            </p:cNvPr>
            <p:cNvSpPr>
              <a:spLocks/>
            </p:cNvSpPr>
            <p:nvPr userDrawn="1"/>
          </p:nvSpPr>
          <p:spPr bwMode="auto">
            <a:xfrm>
              <a:off x="4848174" y="-556680"/>
              <a:ext cx="5225216" cy="7973200"/>
            </a:xfrm>
            <a:custGeom>
              <a:avLst/>
              <a:gdLst>
                <a:gd name="T0" fmla="*/ 4693 w 18763"/>
                <a:gd name="T1" fmla="*/ 0 h 28633"/>
                <a:gd name="T2" fmla="*/ 0 w 18763"/>
                <a:gd name="T3" fmla="*/ 5365 h 28633"/>
                <a:gd name="T4" fmla="*/ 7261 w 18763"/>
                <a:gd name="T5" fmla="*/ 12147 h 28633"/>
                <a:gd name="T6" fmla="*/ 11656 w 18763"/>
                <a:gd name="T7" fmla="*/ 19498 h 28633"/>
                <a:gd name="T8" fmla="*/ 2954 w 18763"/>
                <a:gd name="T9" fmla="*/ 28483 h 28633"/>
                <a:gd name="T10" fmla="*/ 4479 w 18763"/>
                <a:gd name="T11" fmla="*/ 28564 h 28633"/>
                <a:gd name="T12" fmla="*/ 18763 w 18763"/>
                <a:gd name="T13" fmla="*/ 14281 h 28633"/>
                <a:gd name="T14" fmla="*/ 4693 w 18763"/>
                <a:gd name="T15" fmla="*/ 0 h 28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63" h="28633">
                  <a:moveTo>
                    <a:pt x="4693" y="0"/>
                  </a:moveTo>
                  <a:cubicBezTo>
                    <a:pt x="2234" y="57"/>
                    <a:pt x="0" y="2260"/>
                    <a:pt x="0" y="5365"/>
                  </a:cubicBezTo>
                  <a:cubicBezTo>
                    <a:pt x="0" y="9527"/>
                    <a:pt x="4044" y="10502"/>
                    <a:pt x="7261" y="12147"/>
                  </a:cubicBezTo>
                  <a:cubicBezTo>
                    <a:pt x="9457" y="13270"/>
                    <a:pt x="11656" y="15698"/>
                    <a:pt x="11656" y="19498"/>
                  </a:cubicBezTo>
                  <a:cubicBezTo>
                    <a:pt x="11656" y="24634"/>
                    <a:pt x="8134" y="28633"/>
                    <a:pt x="2954" y="28483"/>
                  </a:cubicBezTo>
                  <a:cubicBezTo>
                    <a:pt x="3455" y="28536"/>
                    <a:pt x="3964" y="28564"/>
                    <a:pt x="4479" y="28564"/>
                  </a:cubicBezTo>
                  <a:cubicBezTo>
                    <a:pt x="12368" y="28564"/>
                    <a:pt x="18763" y="22169"/>
                    <a:pt x="18763" y="14281"/>
                  </a:cubicBezTo>
                  <a:cubicBezTo>
                    <a:pt x="18763" y="6463"/>
                    <a:pt x="12483" y="114"/>
                    <a:pt x="4693" y="0"/>
                  </a:cubicBezTo>
                  <a:close/>
                </a:path>
              </a:pathLst>
            </a:custGeom>
            <a:solidFill>
              <a:schemeClr val="tx2"/>
            </a:solidFill>
            <a:ln>
              <a:noFill/>
            </a:ln>
            <a:effectLst>
              <a:innerShdw blurRad="304800" dist="304800">
                <a:srgbClr val="030A11">
                  <a:alpha val="40000"/>
                </a:srgbClr>
              </a:innerShdw>
            </a:effectLst>
          </p:spPr>
          <p:txBody>
            <a:bodyPr vert="horz" wrap="square" lIns="91440" tIns="45720" rIns="91440" bIns="45720" numCol="1" anchor="t" anchorCtr="0" compatLnSpc="1">
              <a:prstTxWarp prst="textNoShape">
                <a:avLst/>
              </a:prstTxWarp>
            </a:bodyPr>
            <a:lstStyle/>
            <a:p>
              <a:pPr lvl="0"/>
              <a:endParaRPr lang="en-US"/>
            </a:p>
          </p:txBody>
        </p:sp>
      </p:grpSp>
      <p:sp>
        <p:nvSpPr>
          <p:cNvPr id="30" name="Text Placeholder 48">
            <a:extLst>
              <a:ext uri="{FF2B5EF4-FFF2-40B4-BE49-F238E27FC236}">
                <a16:creationId xmlns:a16="http://schemas.microsoft.com/office/drawing/2014/main" id="{4F8C16DE-5A81-4F2F-A856-146C2753C729}"/>
              </a:ext>
            </a:extLst>
          </p:cNvPr>
          <p:cNvSpPr>
            <a:spLocks noGrp="1"/>
          </p:cNvSpPr>
          <p:nvPr>
            <p:ph type="body" sz="quarter" idx="14" hasCustomPrompt="1"/>
          </p:nvPr>
        </p:nvSpPr>
        <p:spPr bwMode="gray">
          <a:xfrm>
            <a:off x="479626" y="5520818"/>
            <a:ext cx="6454175"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dirty="0"/>
              <a:t>@snapdragon</a:t>
            </a:r>
          </a:p>
        </p:txBody>
      </p:sp>
      <p:sp>
        <p:nvSpPr>
          <p:cNvPr id="17" name="Footer Placeholder 2">
            <a:extLst>
              <a:ext uri="{FF2B5EF4-FFF2-40B4-BE49-F238E27FC236}">
                <a16:creationId xmlns:a16="http://schemas.microsoft.com/office/drawing/2014/main" id="{944A1A71-C28C-4511-9F63-4A3C1F0CCD22}"/>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40000"/>
                    <a:lumOff val="60000"/>
                  </a:schemeClr>
                </a:solidFill>
                <a:latin typeface="+mn-lt"/>
                <a:ea typeface="+mn-ea"/>
                <a:cs typeface="+mn-cs"/>
              </a:defRPr>
            </a:lvl1pPr>
          </a:lstStyle>
          <a:p>
            <a:pPr>
              <a:defRPr/>
            </a:pPr>
            <a:r>
              <a:rPr lang="en-US"/>
              <a:t>Media Web Symposium 2023</a:t>
            </a:r>
            <a:endParaRPr lang="en-US" dirty="0"/>
          </a:p>
        </p:txBody>
      </p:sp>
      <p:sp>
        <p:nvSpPr>
          <p:cNvPr id="20" name="TextBox 19">
            <a:extLst>
              <a:ext uri="{FF2B5EF4-FFF2-40B4-BE49-F238E27FC236}">
                <a16:creationId xmlns:a16="http://schemas.microsoft.com/office/drawing/2014/main" id="{D84357B0-A3CD-6045-8BDB-9045570C678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
        <p:nvSpPr>
          <p:cNvPr id="16" name="Text Placeholder 7">
            <a:extLst>
              <a:ext uri="{FF2B5EF4-FFF2-40B4-BE49-F238E27FC236}">
                <a16:creationId xmlns:a16="http://schemas.microsoft.com/office/drawing/2014/main" id="{F149CF9A-FDF7-3A71-4048-CA3A015E3C6E}"/>
              </a:ext>
            </a:extLst>
          </p:cNvPr>
          <p:cNvSpPr>
            <a:spLocks noGrp="1"/>
          </p:cNvSpPr>
          <p:nvPr>
            <p:ph type="body" sz="quarter" idx="10" hasCustomPrompt="1"/>
          </p:nvPr>
        </p:nvSpPr>
        <p:spPr bwMode="gray">
          <a:xfrm>
            <a:off x="495300" y="4195085"/>
            <a:ext cx="833437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000" b="1" spc="30" baseline="0">
                <a:solidFill>
                  <a:schemeClr val="bg1"/>
                </a:solidFill>
              </a:defRPr>
            </a:lvl1pPr>
            <a:lvl2pPr marL="0" indent="0">
              <a:lnSpc>
                <a:spcPct val="96000"/>
              </a:lnSpc>
              <a:spcBef>
                <a:spcPts val="0"/>
              </a:spcBef>
              <a:buFont typeface="Microsoft Sans Serif" panose="020B0604020202020204" pitchFamily="34" charset="0"/>
              <a:buNone/>
              <a:defRPr sz="16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 Employing entity</a:t>
            </a:r>
          </a:p>
          <a:p>
            <a:pPr lvl="1"/>
            <a:endParaRPr lang="en-US" dirty="0"/>
          </a:p>
        </p:txBody>
      </p:sp>
      <p:sp>
        <p:nvSpPr>
          <p:cNvPr id="26" name="Title 2">
            <a:extLst>
              <a:ext uri="{FF2B5EF4-FFF2-40B4-BE49-F238E27FC236}">
                <a16:creationId xmlns:a16="http://schemas.microsoft.com/office/drawing/2014/main" id="{9A2509F8-6F19-2B6F-A314-F1D5494BB362}"/>
              </a:ext>
            </a:extLst>
          </p:cNvPr>
          <p:cNvSpPr>
            <a:spLocks noGrp="1"/>
          </p:cNvSpPr>
          <p:nvPr>
            <p:ph type="title"/>
          </p:nvPr>
        </p:nvSpPr>
        <p:spPr bwMode="gray">
          <a:xfrm>
            <a:off x="431638" y="2631736"/>
            <a:ext cx="8416582" cy="1445909"/>
          </a:xfrm>
        </p:spPr>
        <p:txBody>
          <a:bodyPr wrap="square">
            <a:spAutoFit/>
          </a:bodyPr>
          <a:lstStyle>
            <a:lvl1pPr>
              <a:lnSpc>
                <a:spcPct val="87000"/>
              </a:lnSpc>
              <a:defRPr sz="5400">
                <a:solidFill>
                  <a:schemeClr val="bg1"/>
                </a:solidFill>
              </a:defRPr>
            </a:lvl1pPr>
          </a:lstStyle>
          <a:p>
            <a:r>
              <a:rPr lang="en-US"/>
              <a:t>Click to edit Master title style</a:t>
            </a:r>
            <a:endParaRPr lang="en-US" dirty="0"/>
          </a:p>
        </p:txBody>
      </p:sp>
      <p:pic>
        <p:nvPicPr>
          <p:cNvPr id="19" name="Picture 18">
            <a:extLst>
              <a:ext uri="{FF2B5EF4-FFF2-40B4-BE49-F238E27FC236}">
                <a16:creationId xmlns:a16="http://schemas.microsoft.com/office/drawing/2014/main" id="{609EEA51-FF18-8B06-DED7-C8EC5E87D3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4632" y="484632"/>
            <a:ext cx="1938687" cy="369966"/>
          </a:xfrm>
          <a:prstGeom prst="rect">
            <a:avLst/>
          </a:prstGeom>
        </p:spPr>
      </p:pic>
      <p:sp>
        <p:nvSpPr>
          <p:cNvPr id="21" name="Text Placeholder 5">
            <a:extLst>
              <a:ext uri="{FF2B5EF4-FFF2-40B4-BE49-F238E27FC236}">
                <a16:creationId xmlns:a16="http://schemas.microsoft.com/office/drawing/2014/main" id="{B03A068B-130F-5EFE-0075-595323A9AF6A}"/>
              </a:ext>
            </a:extLst>
          </p:cNvPr>
          <p:cNvSpPr>
            <a:spLocks noGrp="1"/>
          </p:cNvSpPr>
          <p:nvPr>
            <p:ph type="body" sz="quarter" idx="13" hasCustomPrompt="1"/>
          </p:nvPr>
        </p:nvSpPr>
        <p:spPr bwMode="gray">
          <a:xfrm>
            <a:off x="8829675" y="594360"/>
            <a:ext cx="2867025" cy="262176"/>
          </a:xfrm>
          <a:prstGeom prst="rect">
            <a:avLst/>
          </a:prstGeom>
        </p:spPr>
        <p:txBody>
          <a:bodyPr wrap="none"/>
          <a:lstStyle>
            <a:lvl1pPr marL="0" indent="0" algn="r">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22" name="Text Placeholder 7">
            <a:extLst>
              <a:ext uri="{FF2B5EF4-FFF2-40B4-BE49-F238E27FC236}">
                <a16:creationId xmlns:a16="http://schemas.microsoft.com/office/drawing/2014/main" id="{268613E5-36A8-75D1-46BC-66773839FC47}"/>
              </a:ext>
            </a:extLst>
          </p:cNvPr>
          <p:cNvSpPr>
            <a:spLocks noGrp="1"/>
          </p:cNvSpPr>
          <p:nvPr>
            <p:ph type="body" sz="quarter" idx="12" hasCustomPrompt="1"/>
          </p:nvPr>
        </p:nvSpPr>
        <p:spPr bwMode="gray">
          <a:xfrm>
            <a:off x="3343276" y="594360"/>
            <a:ext cx="4528194" cy="226772"/>
          </a:xfrm>
          <a:prstGeom prst="rect">
            <a:avLst/>
          </a:prstGeom>
        </p:spPr>
        <p:txBody>
          <a:bodyPr wrap="none"/>
          <a:lstStyle>
            <a:lvl1pPr marL="0" indent="0" algn="r">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Location</a:t>
            </a:r>
          </a:p>
        </p:txBody>
      </p:sp>
    </p:spTree>
    <p:extLst>
      <p:ext uri="{BB962C8B-B14F-4D97-AF65-F5344CB8AC3E}">
        <p14:creationId xmlns:p14="http://schemas.microsoft.com/office/powerpoint/2010/main" val="386326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79.xml><?xml version="1.0" encoding="utf-8"?>
<p:sldLayout xmlns:a="http://schemas.openxmlformats.org/drawingml/2006/main" xmlns:r="http://schemas.openxmlformats.org/officeDocument/2006/relationships" xmlns:p="http://schemas.openxmlformats.org/presentationml/2006/main" showMasterSp="0" preserve="1" userDrawn="1">
  <p:cSld name="SD Agenda Big Red">
    <p:bg>
      <p:bgPr>
        <a:solidFill>
          <a:schemeClr val="bg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D5696-B4ED-4B82-A4B1-160E4E14F34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D1111F"/>
                </a:solidFill>
                <a:effectLst>
                  <a:innerShdw blurRad="38100" dist="25400" dir="8100000">
                    <a:srgbClr val="180204">
                      <a:alpha val="49804"/>
                    </a:srgbClr>
                  </a:innerShdw>
                </a:effectLst>
              </a:rPr>
              <a:t>Agenda</a:t>
            </a:r>
          </a:p>
        </p:txBody>
      </p:sp>
      <p:sp>
        <p:nvSpPr>
          <p:cNvPr id="7" name="Text Placeholder 2">
            <a:extLst>
              <a:ext uri="{FF2B5EF4-FFF2-40B4-BE49-F238E27FC236}">
                <a16:creationId xmlns:a16="http://schemas.microsoft.com/office/drawing/2014/main" id="{C3F56594-1474-F14B-A41D-F43DD6BD51D0}"/>
              </a:ext>
            </a:extLst>
          </p:cNvPr>
          <p:cNvSpPr>
            <a:spLocks noGrp="1"/>
          </p:cNvSpPr>
          <p:nvPr>
            <p:ph type="body" sz="quarter" idx="17"/>
          </p:nvPr>
        </p:nvSpPr>
        <p:spPr>
          <a:xfrm>
            <a:off x="777874" y="957453"/>
            <a:ext cx="9253538" cy="5339922"/>
          </a:xfrm>
        </p:spPr>
        <p:txBody>
          <a:bodyPr/>
          <a:lstStyle>
            <a:lvl1pPr marL="914400" indent="-914400">
              <a:lnSpc>
                <a:spcPct val="90000"/>
              </a:lnSpc>
              <a:spcBef>
                <a:spcPts val="0"/>
              </a:spcBef>
              <a:spcAft>
                <a:spcPts val="900"/>
              </a:spcAft>
              <a:buFont typeface="+mj-lt"/>
              <a:buAutoNum type="arabicPeriod"/>
              <a:defRPr sz="5400">
                <a:solidFill>
                  <a:schemeClr val="bg1"/>
                </a:solidFill>
              </a:defRPr>
            </a:lvl1pPr>
            <a:lvl2pPr marL="1139825" indent="-742950">
              <a:buFont typeface="+mj-lt"/>
              <a:buAutoNum type="arabicPeriod"/>
              <a:defRPr sz="4400">
                <a:solidFill>
                  <a:schemeClr val="bg1"/>
                </a:solidFill>
              </a:defRPr>
            </a:lvl2pPr>
            <a:lvl3pPr marL="1484313" indent="-742950">
              <a:buFont typeface="+mj-lt"/>
              <a:buAutoNum type="arabicPeriod"/>
              <a:defRPr sz="3600">
                <a:solidFill>
                  <a:schemeClr val="bg1"/>
                </a:solidFill>
              </a:defRPr>
            </a:lvl3pPr>
            <a:lvl4pPr marL="1430337" indent="-342900">
              <a:buFont typeface="+mj-lt"/>
              <a:buAutoNum type="arabicPeriod"/>
              <a:defRPr sz="1800">
                <a:solidFill>
                  <a:schemeClr val="bg1"/>
                </a:solidFill>
              </a:defRPr>
            </a:lvl4pPr>
            <a:lvl5pPr marL="914400" indent="-914400">
              <a:buFont typeface="+mj-lt"/>
              <a:buAutoNum type="arabicPeriod"/>
              <a:defRPr sz="5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737F365F-7EEE-AA45-8532-53CE290F3047}"/>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380305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mage Right Nicke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95300" y="4743450"/>
            <a:ext cx="3555999" cy="1657344"/>
          </a:xfrm>
          <a:prstGeom prst="rect">
            <a:avLst/>
          </a:prstGeom>
        </p:spPr>
        <p:txBody>
          <a:bodyPr anchor="t"/>
          <a:lstStyle>
            <a:lvl1pPr marL="0" indent="0">
              <a:lnSpc>
                <a:spcPct val="96000"/>
              </a:lnSpc>
              <a:buClr>
                <a:schemeClr val="bg1"/>
              </a:buClr>
              <a:buNone/>
              <a:defRPr sz="1800">
                <a:solidFill>
                  <a:schemeClr val="tx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2B7861F5-3EBA-4F8B-961A-D9B20FF749FC}"/>
              </a:ext>
            </a:extLst>
          </p:cNvPr>
          <p:cNvSpPr>
            <a:spLocks noGrp="1"/>
          </p:cNvSpPr>
          <p:nvPr>
            <p:ph type="ftr" sz="quarter" idx="16"/>
          </p:nvPr>
        </p:nvSpPr>
        <p:spPr>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Media Web Symposium 2023</a:t>
            </a:r>
          </a:p>
        </p:txBody>
      </p:sp>
      <p:sp>
        <p:nvSpPr>
          <p:cNvPr id="9" name="Title 1">
            <a:extLst>
              <a:ext uri="{FF2B5EF4-FFF2-40B4-BE49-F238E27FC236}">
                <a16:creationId xmlns:a16="http://schemas.microsoft.com/office/drawing/2014/main" id="{38252DF1-084E-4672-B68F-141714EEA8C7}"/>
              </a:ext>
            </a:extLst>
          </p:cNvPr>
          <p:cNvSpPr>
            <a:spLocks noGrp="1"/>
          </p:cNvSpPr>
          <p:nvPr>
            <p:ph type="title"/>
          </p:nvPr>
        </p:nvSpPr>
        <p:spPr>
          <a:xfrm>
            <a:off x="495300" y="2797094"/>
            <a:ext cx="3574220" cy="1787605"/>
          </a:xfrm>
        </p:spPr>
        <p:txBody>
          <a:bodyPr wrap="square">
            <a:spAutoFit/>
          </a:bodyPr>
          <a:lstStyle>
            <a:lvl1pPr>
              <a:lnSpc>
                <a:spcPct val="87000"/>
              </a:lnSpc>
              <a:defRPr sz="4400"/>
            </a:lvl1pPr>
          </a:lstStyle>
          <a:p>
            <a:r>
              <a:rPr lang="en-US"/>
              <a:t>Click to edit Master title style</a:t>
            </a:r>
          </a:p>
        </p:txBody>
      </p:sp>
    </p:spTree>
    <p:extLst>
      <p:ext uri="{BB962C8B-B14F-4D97-AF65-F5344CB8AC3E}">
        <p14:creationId xmlns:p14="http://schemas.microsoft.com/office/powerpoint/2010/main" val="415812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0.xml><?xml version="1.0" encoding="utf-8"?>
<p:sldLayout xmlns:a="http://schemas.openxmlformats.org/drawingml/2006/main" xmlns:r="http://schemas.openxmlformats.org/officeDocument/2006/relationships" xmlns:p="http://schemas.openxmlformats.org/presentationml/2006/main" showMasterSp="0" preserve="1" userDrawn="1">
  <p:cSld name="SD Agenda Big White">
    <p:bg>
      <p:bgPr>
        <a:solidFill>
          <a:srgbClr val="FFFFFF"/>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F16D486-1F9F-4D6A-9183-FBCBC2827DD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20000"/>
                    <a:lumOff val="80000"/>
                  </a:schemeClr>
                </a:solidFill>
                <a:effectLst>
                  <a:innerShdw blurRad="38100" dist="25400" dir="8100000">
                    <a:prstClr val="black">
                      <a:alpha val="50000"/>
                    </a:prstClr>
                  </a:innerShdw>
                </a:effectLst>
              </a:rPr>
              <a:t>Agenda</a:t>
            </a:r>
          </a:p>
        </p:txBody>
      </p:sp>
      <p:sp>
        <p:nvSpPr>
          <p:cNvPr id="10" name="Text Placeholder 2">
            <a:extLst>
              <a:ext uri="{FF2B5EF4-FFF2-40B4-BE49-F238E27FC236}">
                <a16:creationId xmlns:a16="http://schemas.microsoft.com/office/drawing/2014/main" id="{6B3B9127-D8AF-E548-8A0E-E6141B702B75}"/>
              </a:ext>
            </a:extLst>
          </p:cNvPr>
          <p:cNvSpPr>
            <a:spLocks noGrp="1"/>
          </p:cNvSpPr>
          <p:nvPr>
            <p:ph type="body" sz="quarter" idx="17"/>
          </p:nvPr>
        </p:nvSpPr>
        <p:spPr>
          <a:xfrm>
            <a:off x="777874" y="957453"/>
            <a:ext cx="9253538" cy="5339922"/>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a:extLst>
              <a:ext uri="{FF2B5EF4-FFF2-40B4-BE49-F238E27FC236}">
                <a16:creationId xmlns:a16="http://schemas.microsoft.com/office/drawing/2014/main" id="{B421317D-AD5C-6F5F-F6A6-3BDC6388892A}"/>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3682738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1.xml><?xml version="1.0" encoding="utf-8"?>
<p:sldLayout xmlns:a="http://schemas.openxmlformats.org/drawingml/2006/main" xmlns:r="http://schemas.openxmlformats.org/officeDocument/2006/relationships" xmlns:p="http://schemas.openxmlformats.org/presentationml/2006/main" showMasterSp="0" preserve="1" userDrawn="1">
  <p:cSld name="SD Agenda Big Nickel">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F16D486-1F9F-4D6A-9183-FBCBC2827DD3}"/>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chemeClr val="accent6">
                    <a:lumMod val="60000"/>
                    <a:lumOff val="40000"/>
                  </a:schemeClr>
                </a:solidFill>
                <a:effectLst>
                  <a:innerShdw blurRad="38100" dist="25400" dir="8100000">
                    <a:prstClr val="black">
                      <a:alpha val="50000"/>
                    </a:prstClr>
                  </a:innerShdw>
                </a:effectLst>
              </a:rPr>
              <a:t>Agenda</a:t>
            </a:r>
          </a:p>
        </p:txBody>
      </p:sp>
      <p:sp>
        <p:nvSpPr>
          <p:cNvPr id="10" name="Text Placeholder 2">
            <a:extLst>
              <a:ext uri="{FF2B5EF4-FFF2-40B4-BE49-F238E27FC236}">
                <a16:creationId xmlns:a16="http://schemas.microsoft.com/office/drawing/2014/main" id="{72CF8E38-04A3-A34E-B57D-0814CF3DE5C6}"/>
              </a:ext>
            </a:extLst>
          </p:cNvPr>
          <p:cNvSpPr>
            <a:spLocks noGrp="1"/>
          </p:cNvSpPr>
          <p:nvPr>
            <p:ph type="body" sz="quarter" idx="17"/>
          </p:nvPr>
        </p:nvSpPr>
        <p:spPr>
          <a:xfrm>
            <a:off x="777874" y="957453"/>
            <a:ext cx="9253538" cy="5339922"/>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a:extLst>
              <a:ext uri="{FF2B5EF4-FFF2-40B4-BE49-F238E27FC236}">
                <a16:creationId xmlns:a16="http://schemas.microsoft.com/office/drawing/2014/main" id="{CCDE8135-DEA4-D944-85A4-19C6AF52940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6">
                    <a:lumMod val="75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938490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2.xml><?xml version="1.0" encoding="utf-8"?>
<p:sldLayout xmlns:a="http://schemas.openxmlformats.org/drawingml/2006/main" xmlns:r="http://schemas.openxmlformats.org/officeDocument/2006/relationships" xmlns:p="http://schemas.openxmlformats.org/presentationml/2006/main" showMasterSp="0" preserve="1" userDrawn="1">
  <p:cSld name="SD Agenda Big Gunmetal">
    <p:bg>
      <p:bgPr>
        <a:solidFill>
          <a:schemeClr val="accent5"/>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9C6A978-F95A-43B4-91EE-66A1EFC2CDD7}"/>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a:solidFill>
                  <a:srgbClr val="36445C"/>
                </a:solidFill>
                <a:effectLst>
                  <a:innerShdw blurRad="38100" dist="25400" dir="8100000">
                    <a:prstClr val="black">
                      <a:alpha val="50000"/>
                    </a:prstClr>
                  </a:innerShdw>
                </a:effectLst>
              </a:rPr>
              <a:t>Agenda</a:t>
            </a:r>
          </a:p>
        </p:txBody>
      </p:sp>
      <p:sp>
        <p:nvSpPr>
          <p:cNvPr id="10" name="Text Placeholder 2">
            <a:extLst>
              <a:ext uri="{FF2B5EF4-FFF2-40B4-BE49-F238E27FC236}">
                <a16:creationId xmlns:a16="http://schemas.microsoft.com/office/drawing/2014/main" id="{C805FA2C-F21B-EE4F-A31C-ECD531B1E244}"/>
              </a:ext>
            </a:extLst>
          </p:cNvPr>
          <p:cNvSpPr>
            <a:spLocks noGrp="1"/>
          </p:cNvSpPr>
          <p:nvPr>
            <p:ph type="body" sz="quarter" idx="17"/>
          </p:nvPr>
        </p:nvSpPr>
        <p:spPr>
          <a:xfrm>
            <a:off x="777874" y="957453"/>
            <a:ext cx="9253538" cy="5339922"/>
          </a:xfrm>
        </p:spPr>
        <p:txBody>
          <a:bodyPr/>
          <a:lstStyle>
            <a:lvl1pPr marL="914400" indent="-914400">
              <a:lnSpc>
                <a:spcPct val="90000"/>
              </a:lnSpc>
              <a:spcBef>
                <a:spcPts val="0"/>
              </a:spcBef>
              <a:spcAft>
                <a:spcPts val="900"/>
              </a:spcAft>
              <a:buFont typeface="+mj-lt"/>
              <a:buAutoNum type="arabicPeriod"/>
              <a:defRPr sz="5400">
                <a:solidFill>
                  <a:schemeClr val="bg1"/>
                </a:solidFill>
              </a:defRPr>
            </a:lvl1pPr>
            <a:lvl2pPr marL="1139825" indent="-742950">
              <a:buFont typeface="+mj-lt"/>
              <a:buAutoNum type="arabicPeriod"/>
              <a:defRPr sz="4400">
                <a:solidFill>
                  <a:schemeClr val="bg1"/>
                </a:solidFill>
              </a:defRPr>
            </a:lvl2pPr>
            <a:lvl3pPr marL="1484313" indent="-742950">
              <a:buFont typeface="+mj-lt"/>
              <a:buAutoNum type="arabicPeriod"/>
              <a:defRPr sz="3600">
                <a:solidFill>
                  <a:schemeClr val="bg1"/>
                </a:solidFill>
              </a:defRPr>
            </a:lvl3pPr>
            <a:lvl4pPr marL="1430337" indent="-342900">
              <a:buFont typeface="+mj-lt"/>
              <a:buAutoNum type="arabicPeriod"/>
              <a:defRPr sz="1800">
                <a:solidFill>
                  <a:schemeClr val="bg1"/>
                </a:solidFill>
              </a:defRPr>
            </a:lvl4pPr>
            <a:lvl5pPr marL="914400" indent="-914400">
              <a:buFont typeface="+mj-lt"/>
              <a:buAutoNum type="arabicPeriod"/>
              <a:defRPr sz="5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a:extLst>
              <a:ext uri="{FF2B5EF4-FFF2-40B4-BE49-F238E27FC236}">
                <a16:creationId xmlns:a16="http://schemas.microsoft.com/office/drawing/2014/main" id="{ECFEECC4-DC29-1941-A6E0-5ACEFD341DFB}"/>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40000"/>
                    <a:lumOff val="6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57522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3.xml><?xml version="1.0" encoding="utf-8"?>
<p:sldLayout xmlns:a="http://schemas.openxmlformats.org/drawingml/2006/main" xmlns:r="http://schemas.openxmlformats.org/officeDocument/2006/relationships" xmlns:p="http://schemas.openxmlformats.org/presentationml/2006/main" showMasterSp="0" preserve="1" userDrawn="1">
  <p:cSld name="SD Agenda Big Midnight">
    <p:bg>
      <p:bgPr>
        <a:solidFill>
          <a:schemeClr val="tx2"/>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B815781-8802-814C-ABFE-690425339A6D}"/>
              </a:ext>
            </a:extLst>
          </p:cNvPr>
          <p:cNvSpPr txBox="1"/>
          <p:nvPr userDrawn="1"/>
        </p:nvSpPr>
        <p:spPr>
          <a:xfrm rot="5400000">
            <a:off x="8435813" y="2737543"/>
            <a:ext cx="5288307" cy="1559722"/>
          </a:xfrm>
          <a:prstGeom prst="rect">
            <a:avLst/>
          </a:prstGeom>
          <a:noFill/>
          <a:effectLst/>
        </p:spPr>
        <p:txBody>
          <a:bodyPr wrap="none" lIns="0" tIns="0" rIns="0" bIns="0" rtlCol="0">
            <a:spAutoFit/>
          </a:bodyPr>
          <a:lstStyle/>
          <a:p>
            <a:pPr algn="ctr">
              <a:lnSpc>
                <a:spcPct val="87000"/>
              </a:lnSpc>
              <a:spcBef>
                <a:spcPct val="0"/>
              </a:spcBef>
              <a:defRPr/>
            </a:pPr>
            <a:r>
              <a:rPr lang="en-US" sz="11650" dirty="0">
                <a:solidFill>
                  <a:schemeClr val="accent6">
                    <a:lumMod val="50000"/>
                  </a:schemeClr>
                </a:solidFill>
                <a:effectLst>
                  <a:innerShdw blurRad="38100" dist="25400" dir="8100000">
                    <a:prstClr val="black">
                      <a:alpha val="50000"/>
                    </a:prstClr>
                  </a:innerShdw>
                </a:effectLst>
              </a:rPr>
              <a:t>Agenda</a:t>
            </a:r>
          </a:p>
        </p:txBody>
      </p:sp>
      <p:sp>
        <p:nvSpPr>
          <p:cNvPr id="10" name="Text Placeholder 2">
            <a:extLst>
              <a:ext uri="{FF2B5EF4-FFF2-40B4-BE49-F238E27FC236}">
                <a16:creationId xmlns:a16="http://schemas.microsoft.com/office/drawing/2014/main" id="{495E9130-3F7C-1B46-B3AF-1C700B3C6EED}"/>
              </a:ext>
            </a:extLst>
          </p:cNvPr>
          <p:cNvSpPr>
            <a:spLocks noGrp="1"/>
          </p:cNvSpPr>
          <p:nvPr>
            <p:ph type="body" sz="quarter" idx="17"/>
          </p:nvPr>
        </p:nvSpPr>
        <p:spPr>
          <a:xfrm>
            <a:off x="777874" y="957453"/>
            <a:ext cx="9253538" cy="5339922"/>
          </a:xfrm>
        </p:spPr>
        <p:txBody>
          <a:bodyPr/>
          <a:lstStyle>
            <a:lvl1pPr marL="914400" indent="-914400">
              <a:lnSpc>
                <a:spcPct val="90000"/>
              </a:lnSpc>
              <a:spcBef>
                <a:spcPts val="0"/>
              </a:spcBef>
              <a:spcAft>
                <a:spcPts val="900"/>
              </a:spcAft>
              <a:buFont typeface="+mj-lt"/>
              <a:buAutoNum type="arabicPeriod"/>
              <a:defRPr sz="5400">
                <a:solidFill>
                  <a:schemeClr val="bg1"/>
                </a:solidFill>
              </a:defRPr>
            </a:lvl1pPr>
            <a:lvl2pPr marL="1139825" indent="-742950">
              <a:buFont typeface="+mj-lt"/>
              <a:buAutoNum type="arabicPeriod"/>
              <a:defRPr sz="4400">
                <a:solidFill>
                  <a:schemeClr val="bg1"/>
                </a:solidFill>
              </a:defRPr>
            </a:lvl2pPr>
            <a:lvl3pPr marL="1484313" indent="-742950">
              <a:buFont typeface="+mj-lt"/>
              <a:buAutoNum type="arabicPeriod"/>
              <a:defRPr sz="3600">
                <a:solidFill>
                  <a:schemeClr val="bg1"/>
                </a:solidFill>
              </a:defRPr>
            </a:lvl3pPr>
            <a:lvl4pPr marL="1430337" indent="-342900">
              <a:buFont typeface="+mj-lt"/>
              <a:buAutoNum type="arabicPeriod"/>
              <a:defRPr sz="1800">
                <a:solidFill>
                  <a:schemeClr val="bg1"/>
                </a:solidFill>
              </a:defRPr>
            </a:lvl4pPr>
            <a:lvl5pPr marL="914400" indent="-914400">
              <a:buFont typeface="+mj-lt"/>
              <a:buAutoNum type="arabicPeriod"/>
              <a:defRPr sz="5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779F154B-536A-D226-DF30-F2C6EA881FA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2668895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SD Agenda Red">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bg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BF75E4EE-9BED-424E-9E5C-1EAED3586C3C}"/>
              </a:ext>
            </a:extLst>
          </p:cNvPr>
          <p:cNvSpPr>
            <a:spLocks noGrp="1"/>
          </p:cNvSpPr>
          <p:nvPr>
            <p:ph type="title"/>
          </p:nvPr>
        </p:nvSpPr>
        <p:spPr>
          <a:xfrm rot="5400000">
            <a:off x="-2543238" y="3077977"/>
            <a:ext cx="5823317" cy="361959"/>
          </a:xfrm>
        </p:spPr>
        <p:txBody>
          <a:bodyPr wrap="square" anchor="t">
            <a:spAutoFit/>
          </a:bodyPr>
          <a:lstStyle>
            <a:lvl1pPr>
              <a:defRPr sz="2800">
                <a:solidFill>
                  <a:schemeClr val="bg1"/>
                </a:solidFill>
              </a:defRPr>
            </a:lvl1pPr>
          </a:lstStyle>
          <a:p>
            <a:r>
              <a:rPr lang="en-US"/>
              <a:t>Click to edit Master title style</a:t>
            </a:r>
          </a:p>
        </p:txBody>
      </p:sp>
      <p:sp>
        <p:nvSpPr>
          <p:cNvPr id="6" name="Text Placeholder 2">
            <a:extLst>
              <a:ext uri="{FF2B5EF4-FFF2-40B4-BE49-F238E27FC236}">
                <a16:creationId xmlns:a16="http://schemas.microsoft.com/office/drawing/2014/main" id="{A080BE5C-026A-824A-9F24-7CDA1BA227FB}"/>
              </a:ext>
            </a:extLst>
          </p:cNvPr>
          <p:cNvSpPr>
            <a:spLocks noGrp="1"/>
          </p:cNvSpPr>
          <p:nvPr>
            <p:ph type="body" sz="quarter" idx="17"/>
          </p:nvPr>
        </p:nvSpPr>
        <p:spPr>
          <a:xfrm>
            <a:off x="1833336" y="1015157"/>
            <a:ext cx="9148989" cy="5339923"/>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3273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SD Agenda White">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bg1"/>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BF75E4EE-9BED-424E-9E5C-1EAED3586C3C}"/>
              </a:ext>
            </a:extLst>
          </p:cNvPr>
          <p:cNvSpPr>
            <a:spLocks noGrp="1"/>
          </p:cNvSpPr>
          <p:nvPr>
            <p:ph type="title"/>
          </p:nvPr>
        </p:nvSpPr>
        <p:spPr>
          <a:xfrm rot="5400000">
            <a:off x="-2543238" y="3077977"/>
            <a:ext cx="5823317" cy="361959"/>
          </a:xfrm>
        </p:spPr>
        <p:txBody>
          <a:bodyPr wrap="square" anchor="t">
            <a:spAutoFit/>
          </a:bodyPr>
          <a:lstStyle>
            <a:lvl1pPr>
              <a:defRPr sz="2800">
                <a:solidFill>
                  <a:schemeClr val="tx2"/>
                </a:solidFill>
              </a:defRPr>
            </a:lvl1pPr>
          </a:lstStyle>
          <a:p>
            <a:r>
              <a:rPr lang="en-US"/>
              <a:t>Click to edit Master title style</a:t>
            </a:r>
          </a:p>
        </p:txBody>
      </p:sp>
      <p:sp>
        <p:nvSpPr>
          <p:cNvPr id="8" name="Text Placeholder 2">
            <a:extLst>
              <a:ext uri="{FF2B5EF4-FFF2-40B4-BE49-F238E27FC236}">
                <a16:creationId xmlns:a16="http://schemas.microsoft.com/office/drawing/2014/main" id="{82B492E3-40DB-A744-A544-A637244B80F7}"/>
              </a:ext>
            </a:extLst>
          </p:cNvPr>
          <p:cNvSpPr>
            <a:spLocks noGrp="1"/>
          </p:cNvSpPr>
          <p:nvPr>
            <p:ph type="body" sz="quarter" idx="17"/>
          </p:nvPr>
        </p:nvSpPr>
        <p:spPr>
          <a:xfrm>
            <a:off x="1833336" y="1015157"/>
            <a:ext cx="9148989" cy="5339923"/>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88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6.xml><?xml version="1.0" encoding="utf-8"?>
<p:sldLayout xmlns:a="http://schemas.openxmlformats.org/drawingml/2006/main" xmlns:r="http://schemas.openxmlformats.org/officeDocument/2006/relationships" xmlns:p="http://schemas.openxmlformats.org/presentationml/2006/main" preserve="1" userDrawn="1">
  <p:cSld name="SD Agenda Nickel">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A6727AA1-A1B1-4941-9657-C92FF7F7A61A}"/>
              </a:ext>
            </a:extLst>
          </p:cNvPr>
          <p:cNvSpPr/>
          <p:nvPr userDrawn="1"/>
        </p:nvSpPr>
        <p:spPr bwMode="gray">
          <a:xfrm>
            <a:off x="-114299" y="-127002"/>
            <a:ext cx="973370" cy="6482082"/>
          </a:xfrm>
          <a:prstGeom prst="roundRect">
            <a:avLst>
              <a:gd name="adj" fmla="val 8455"/>
            </a:avLst>
          </a:prstGeom>
          <a:solidFill>
            <a:schemeClr val="accent6">
              <a:lumMod val="40000"/>
              <a:lumOff val="60000"/>
            </a:schemeClr>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BF75E4EE-9BED-424E-9E5C-1EAED3586C3C}"/>
              </a:ext>
            </a:extLst>
          </p:cNvPr>
          <p:cNvSpPr>
            <a:spLocks noGrp="1"/>
          </p:cNvSpPr>
          <p:nvPr>
            <p:ph type="title"/>
          </p:nvPr>
        </p:nvSpPr>
        <p:spPr>
          <a:xfrm rot="5400000">
            <a:off x="-2543238" y="3077977"/>
            <a:ext cx="5823317" cy="361959"/>
          </a:xfrm>
        </p:spPr>
        <p:txBody>
          <a:bodyPr wrap="square" anchor="t">
            <a:spAutoFit/>
          </a:bodyPr>
          <a:lstStyle>
            <a:lvl1pPr>
              <a:defRPr sz="2800">
                <a:solidFill>
                  <a:schemeClr val="tx2"/>
                </a:solidFill>
              </a:defRPr>
            </a:lvl1pPr>
          </a:lstStyle>
          <a:p>
            <a:r>
              <a:rPr lang="en-US"/>
              <a:t>Click to edit Master title style</a:t>
            </a:r>
          </a:p>
        </p:txBody>
      </p:sp>
      <p:sp>
        <p:nvSpPr>
          <p:cNvPr id="8" name="Text Placeholder 2">
            <a:extLst>
              <a:ext uri="{FF2B5EF4-FFF2-40B4-BE49-F238E27FC236}">
                <a16:creationId xmlns:a16="http://schemas.microsoft.com/office/drawing/2014/main" id="{BD146A33-9805-4C48-A6F6-875CFC7CEED8}"/>
              </a:ext>
            </a:extLst>
          </p:cNvPr>
          <p:cNvSpPr>
            <a:spLocks noGrp="1"/>
          </p:cNvSpPr>
          <p:nvPr>
            <p:ph type="body" sz="quarter" idx="17"/>
          </p:nvPr>
        </p:nvSpPr>
        <p:spPr>
          <a:xfrm>
            <a:off x="1833336" y="1015157"/>
            <a:ext cx="9148989" cy="5339923"/>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4672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userDrawn="1">
  <p:cSld name="SD Agenda Gunmetal">
    <p:bg>
      <p:bgPr>
        <a:solidFill>
          <a:srgbClr val="FFFFFF"/>
        </a:solidFill>
        <a:effectLst/>
      </p:bgPr>
    </p:bg>
    <p:spTree>
      <p:nvGrpSpPr>
        <p:cNvPr id="1" name=""/>
        <p:cNvGrpSpPr/>
        <p:nvPr/>
      </p:nvGrpSpPr>
      <p:grpSpPr>
        <a:xfrm>
          <a:off x="0" y="0"/>
          <a:ext cx="0" cy="0"/>
          <a:chOff x="0" y="0"/>
          <a:chExt cx="0" cy="0"/>
        </a:xfrm>
      </p:grpSpPr>
      <p:sp>
        <p:nvSpPr>
          <p:cNvPr id="10" name="Rectangle: Single Corner Rounded 55">
            <a:extLst>
              <a:ext uri="{FF2B5EF4-FFF2-40B4-BE49-F238E27FC236}">
                <a16:creationId xmlns:a16="http://schemas.microsoft.com/office/drawing/2014/main" id="{F8479696-5776-4351-9904-F9783F17DE92}"/>
              </a:ext>
            </a:extLst>
          </p:cNvPr>
          <p:cNvSpPr/>
          <p:nvPr userDrawn="1"/>
        </p:nvSpPr>
        <p:spPr bwMode="gray">
          <a:xfrm>
            <a:off x="-114299" y="-127002"/>
            <a:ext cx="973370" cy="6482082"/>
          </a:xfrm>
          <a:prstGeom prst="roundRect">
            <a:avLst>
              <a:gd name="adj" fmla="val 8455"/>
            </a:avLst>
          </a:prstGeom>
          <a:solidFill>
            <a:schemeClr val="accent5"/>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15" name="Title 2">
            <a:extLst>
              <a:ext uri="{FF2B5EF4-FFF2-40B4-BE49-F238E27FC236}">
                <a16:creationId xmlns:a16="http://schemas.microsoft.com/office/drawing/2014/main" id="{B25BB882-FF84-4997-A4A9-C537179AE82A}"/>
              </a:ext>
            </a:extLst>
          </p:cNvPr>
          <p:cNvSpPr>
            <a:spLocks noGrp="1"/>
          </p:cNvSpPr>
          <p:nvPr>
            <p:ph type="title"/>
          </p:nvPr>
        </p:nvSpPr>
        <p:spPr>
          <a:xfrm rot="5400000">
            <a:off x="-2543238" y="3077977"/>
            <a:ext cx="5823317" cy="361959"/>
          </a:xfrm>
        </p:spPr>
        <p:txBody>
          <a:bodyPr wrap="square" anchor="t">
            <a:spAutoFit/>
          </a:bodyPr>
          <a:lstStyle>
            <a:lvl1pPr>
              <a:defRPr sz="2800">
                <a:solidFill>
                  <a:schemeClr val="bg1"/>
                </a:solidFill>
              </a:defRPr>
            </a:lvl1pPr>
          </a:lstStyle>
          <a:p>
            <a:r>
              <a:rPr lang="en-US"/>
              <a:t>Click to edit Master title style</a:t>
            </a:r>
          </a:p>
        </p:txBody>
      </p:sp>
      <p:sp>
        <p:nvSpPr>
          <p:cNvPr id="7" name="Text Placeholder 2">
            <a:extLst>
              <a:ext uri="{FF2B5EF4-FFF2-40B4-BE49-F238E27FC236}">
                <a16:creationId xmlns:a16="http://schemas.microsoft.com/office/drawing/2014/main" id="{BD2FAD59-06FA-664F-B2AC-846E9295BADA}"/>
              </a:ext>
            </a:extLst>
          </p:cNvPr>
          <p:cNvSpPr>
            <a:spLocks noGrp="1"/>
          </p:cNvSpPr>
          <p:nvPr>
            <p:ph type="body" sz="quarter" idx="17"/>
          </p:nvPr>
        </p:nvSpPr>
        <p:spPr>
          <a:xfrm>
            <a:off x="1833336" y="1015157"/>
            <a:ext cx="9148989" cy="5339923"/>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319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8.xml><?xml version="1.0" encoding="utf-8"?>
<p:sldLayout xmlns:a="http://schemas.openxmlformats.org/drawingml/2006/main" xmlns:r="http://schemas.openxmlformats.org/officeDocument/2006/relationships" xmlns:p="http://schemas.openxmlformats.org/presentationml/2006/main" preserve="1" userDrawn="1">
  <p:cSld name="SD Agenda Midnight">
    <p:bg>
      <p:bgPr>
        <a:solidFill>
          <a:srgbClr val="FFFFFF"/>
        </a:solidFill>
        <a:effectLst/>
      </p:bgPr>
    </p:bg>
    <p:spTree>
      <p:nvGrpSpPr>
        <p:cNvPr id="1" name=""/>
        <p:cNvGrpSpPr/>
        <p:nvPr/>
      </p:nvGrpSpPr>
      <p:grpSpPr>
        <a:xfrm>
          <a:off x="0" y="0"/>
          <a:ext cx="0" cy="0"/>
          <a:chOff x="0" y="0"/>
          <a:chExt cx="0" cy="0"/>
        </a:xfrm>
      </p:grpSpPr>
      <p:sp>
        <p:nvSpPr>
          <p:cNvPr id="7" name="Rectangle: Single Corner Rounded 55">
            <a:extLst>
              <a:ext uri="{FF2B5EF4-FFF2-40B4-BE49-F238E27FC236}">
                <a16:creationId xmlns:a16="http://schemas.microsoft.com/office/drawing/2014/main" id="{7429ABC3-9EBB-47B5-BFD6-442F69DFAB3A}"/>
              </a:ext>
            </a:extLst>
          </p:cNvPr>
          <p:cNvSpPr/>
          <p:nvPr userDrawn="1"/>
        </p:nvSpPr>
        <p:spPr bwMode="gray">
          <a:xfrm>
            <a:off x="-114299" y="-127002"/>
            <a:ext cx="973370" cy="6482082"/>
          </a:xfrm>
          <a:prstGeom prst="roundRect">
            <a:avLst>
              <a:gd name="adj" fmla="val 8455"/>
            </a:avLst>
          </a:prstGeom>
          <a:solidFill>
            <a:schemeClr val="tx2"/>
          </a:solidFill>
          <a:ln w="10795" cap="flat" cmpd="sng" algn="ctr">
            <a:noFill/>
            <a:prstDash val="solid"/>
          </a:ln>
          <a:effectLst>
            <a:innerShdw blurRad="63500" dist="50800" dir="189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9" name="Title 2">
            <a:extLst>
              <a:ext uri="{FF2B5EF4-FFF2-40B4-BE49-F238E27FC236}">
                <a16:creationId xmlns:a16="http://schemas.microsoft.com/office/drawing/2014/main" id="{828AA9EC-32E1-43B6-A637-836E83AC4266}"/>
              </a:ext>
            </a:extLst>
          </p:cNvPr>
          <p:cNvSpPr>
            <a:spLocks noGrp="1"/>
          </p:cNvSpPr>
          <p:nvPr>
            <p:ph type="title"/>
          </p:nvPr>
        </p:nvSpPr>
        <p:spPr>
          <a:xfrm rot="5400000">
            <a:off x="-2543238" y="3077977"/>
            <a:ext cx="5823317" cy="361959"/>
          </a:xfrm>
        </p:spPr>
        <p:txBody>
          <a:bodyPr wrap="square" anchor="t">
            <a:spAutoFit/>
          </a:bodyPr>
          <a:lstStyle>
            <a:lvl1pPr>
              <a:defRPr sz="2800">
                <a:solidFill>
                  <a:schemeClr val="bg1"/>
                </a:solidFill>
              </a:defRPr>
            </a:lvl1pPr>
          </a:lstStyle>
          <a:p>
            <a:r>
              <a:rPr lang="en-US"/>
              <a:t>Click to edit Master title style</a:t>
            </a:r>
          </a:p>
        </p:txBody>
      </p:sp>
      <p:sp>
        <p:nvSpPr>
          <p:cNvPr id="8" name="Text Placeholder 2">
            <a:extLst>
              <a:ext uri="{FF2B5EF4-FFF2-40B4-BE49-F238E27FC236}">
                <a16:creationId xmlns:a16="http://schemas.microsoft.com/office/drawing/2014/main" id="{43B8DC1D-A596-0743-91CF-4035BACF78CF}"/>
              </a:ext>
            </a:extLst>
          </p:cNvPr>
          <p:cNvSpPr>
            <a:spLocks noGrp="1"/>
          </p:cNvSpPr>
          <p:nvPr>
            <p:ph type="body" sz="quarter" idx="17"/>
          </p:nvPr>
        </p:nvSpPr>
        <p:spPr>
          <a:xfrm>
            <a:off x="1833336" y="1015157"/>
            <a:ext cx="9148989" cy="5339923"/>
          </a:xfrm>
        </p:spPr>
        <p:txBody>
          <a:bodyPr/>
          <a:lstStyle>
            <a:lvl1pPr marL="914400" indent="-914400">
              <a:lnSpc>
                <a:spcPct val="90000"/>
              </a:lnSpc>
              <a:spcBef>
                <a:spcPts val="0"/>
              </a:spcBef>
              <a:spcAft>
                <a:spcPts val="900"/>
              </a:spcAft>
              <a:buFont typeface="+mj-lt"/>
              <a:buAutoNum type="arabicPeriod"/>
              <a:defRPr sz="5400">
                <a:solidFill>
                  <a:schemeClr val="tx2"/>
                </a:solidFill>
              </a:defRPr>
            </a:lvl1pPr>
            <a:lvl2pPr marL="1139825" indent="-742950">
              <a:buFont typeface="+mj-lt"/>
              <a:buAutoNum type="arabicPeriod"/>
              <a:defRPr sz="4400">
                <a:solidFill>
                  <a:schemeClr val="tx2"/>
                </a:solidFill>
              </a:defRPr>
            </a:lvl2pPr>
            <a:lvl3pPr marL="1484313" indent="-742950">
              <a:buFont typeface="+mj-lt"/>
              <a:buAutoNum type="arabicPeriod"/>
              <a:defRPr sz="3600">
                <a:solidFill>
                  <a:schemeClr val="tx2"/>
                </a:solidFill>
              </a:defRPr>
            </a:lvl3pPr>
            <a:lvl4pPr marL="1430337" indent="-342900">
              <a:buFont typeface="+mj-lt"/>
              <a:buAutoNum type="arabicPeriod"/>
              <a:defRPr sz="1800">
                <a:solidFill>
                  <a:schemeClr val="tx2"/>
                </a:solidFill>
              </a:defRPr>
            </a:lvl4pPr>
            <a:lvl5pPr marL="914400" indent="-914400">
              <a:buFont typeface="+mj-lt"/>
              <a:buAutoNum type="arabicPeriod"/>
              <a:defRPr sz="5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0559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9.xml><?xml version="1.0" encoding="utf-8"?>
<p:sldLayout xmlns:a="http://schemas.openxmlformats.org/drawingml/2006/main" xmlns:r="http://schemas.openxmlformats.org/officeDocument/2006/relationships" xmlns:p="http://schemas.openxmlformats.org/presentationml/2006/main" preserve="1" userDrawn="1">
  <p:cSld name="S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a:defRPr/>
            </a:pPr>
            <a:r>
              <a:rPr lang="en-US"/>
              <a:t>Media Web Symposium 2023</a:t>
            </a:r>
            <a:endParaRPr lang="en-US" dirty="0"/>
          </a:p>
        </p:txBody>
      </p:sp>
    </p:spTree>
    <p:extLst>
      <p:ext uri="{BB962C8B-B14F-4D97-AF65-F5344CB8AC3E}">
        <p14:creationId xmlns:p14="http://schemas.microsoft.com/office/powerpoint/2010/main" val="1818108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mage Right Gun Met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prstGeom prst="rect">
            <a:avLst/>
          </a:prstGeom>
          <a:noFill/>
        </p:spPr>
        <p:txBody>
          <a:bodyPr anchor="ctr"/>
          <a:lstStyle>
            <a:lvl1pPr marL="0" indent="0" algn="ctr">
              <a:buNone/>
              <a:defRPr>
                <a:solidFill>
                  <a:schemeClr val="tx1"/>
                </a:solidFill>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657343"/>
          </a:xfrm>
          <a:prstGeom prst="rect">
            <a:avLst/>
          </a:prstGeom>
        </p:spPr>
        <p:txBody>
          <a:bodyPr anchor="t"/>
          <a:lstStyle>
            <a:lvl1pPr marL="0" indent="0">
              <a:lnSpc>
                <a:spcPct val="96000"/>
              </a:lnSpc>
              <a:buClr>
                <a:schemeClr val="bg1"/>
              </a:buClr>
              <a:buNone/>
              <a:defRPr sz="18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p:txBody>
      </p:sp>
      <p:sp>
        <p:nvSpPr>
          <p:cNvPr id="8" name="Footer Placeholder 2">
            <a:extLst>
              <a:ext uri="{FF2B5EF4-FFF2-40B4-BE49-F238E27FC236}">
                <a16:creationId xmlns:a16="http://schemas.microsoft.com/office/drawing/2014/main" id="{6F4D48ED-5D8A-47EE-956E-72B7EE984BDE}"/>
              </a:ext>
            </a:extLst>
          </p:cNvPr>
          <p:cNvSpPr>
            <a:spLocks noGrp="1"/>
          </p:cNvSpPr>
          <p:nvPr>
            <p:ph type="ftr" sz="quarter" idx="16"/>
          </p:nvPr>
        </p:nvSpPr>
        <p:spPr bwMode="gray">
          <a:xfrm>
            <a:off x="495300" y="6532895"/>
            <a:ext cx="3557016"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40000"/>
                    <a:lumOff val="60000"/>
                  </a:schemeClr>
                </a:solidFill>
              </a:defRPr>
            </a:lvl1pPr>
          </a:lstStyle>
          <a:p>
            <a:r>
              <a:rPr lang="en-US"/>
              <a:t>Media Web Symposium 2023</a:t>
            </a:r>
          </a:p>
        </p:txBody>
      </p:sp>
      <p:sp>
        <p:nvSpPr>
          <p:cNvPr id="9" name="Title 1">
            <a:extLst>
              <a:ext uri="{FF2B5EF4-FFF2-40B4-BE49-F238E27FC236}">
                <a16:creationId xmlns:a16="http://schemas.microsoft.com/office/drawing/2014/main" id="{55F13055-7657-4496-81D2-B665F79B6A2B}"/>
              </a:ext>
            </a:extLst>
          </p:cNvPr>
          <p:cNvSpPr>
            <a:spLocks noGrp="1"/>
          </p:cNvSpPr>
          <p:nvPr>
            <p:ph type="title"/>
          </p:nvPr>
        </p:nvSpPr>
        <p:spPr bwMode="gray">
          <a:xfrm>
            <a:off x="495300" y="2797094"/>
            <a:ext cx="3574220" cy="1787605"/>
          </a:xfrm>
        </p:spPr>
        <p:txBody>
          <a:bodyPr wrap="square">
            <a:spAutoFit/>
          </a:bodyPr>
          <a:lstStyle>
            <a:lvl1pPr>
              <a:lnSpc>
                <a:spcPct val="87000"/>
              </a:lnSpc>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363643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0.xml><?xml version="1.0" encoding="utf-8"?>
<p:sldLayout xmlns:a="http://schemas.openxmlformats.org/drawingml/2006/main" xmlns:r="http://schemas.openxmlformats.org/officeDocument/2006/relationships" xmlns:p="http://schemas.openxmlformats.org/presentationml/2006/main" preserve="1" userDrawn="1">
  <p:cSld name="SD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a:defRPr/>
            </a:pPr>
            <a:r>
              <a:rPr lang="en-US"/>
              <a:t>Media Web Symposium 2023</a:t>
            </a:r>
            <a:endParaRPr lang="en-US" dirty="0"/>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448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userDrawn="1">
  <p:cSld name="SD 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a:defRPr/>
            </a:pPr>
            <a:r>
              <a:rPr lang="en-US"/>
              <a:t>Media Web Symposium 2023</a:t>
            </a:r>
            <a:endParaRPr lang="en-US" dirty="0"/>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60316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SD Title and (Subtitle with Bullets)">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C4B80B4-5715-4F96-83DC-B3F7CF22C554}"/>
              </a:ext>
            </a:extLst>
          </p:cNvPr>
          <p:cNvSpPr>
            <a:spLocks noGrp="1"/>
          </p:cNvSpPr>
          <p:nvPr>
            <p:ph type="body" sz="quarter" idx="17"/>
          </p:nvPr>
        </p:nvSpPr>
        <p:spPr>
          <a:xfrm>
            <a:off x="494189" y="1088135"/>
            <a:ext cx="11187112" cy="236347"/>
          </a:xfrm>
        </p:spPr>
        <p:txBody>
          <a:bodyPr/>
          <a:lstStyle>
            <a:lvl1pPr>
              <a:defRPr sz="16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7" name="Footer Placeholder 2">
            <a:extLst>
              <a:ext uri="{FF2B5EF4-FFF2-40B4-BE49-F238E27FC236}">
                <a16:creationId xmlns:a16="http://schemas.microsoft.com/office/drawing/2014/main" id="{F6C18923-35DB-3B4A-861B-A5445F6BE6DD}"/>
              </a:ext>
            </a:extLst>
          </p:cNvPr>
          <p:cNvSpPr>
            <a:spLocks noGrp="1"/>
          </p:cNvSpPr>
          <p:nvPr>
            <p:ph type="ftr" sz="quarter" idx="3"/>
          </p:nvPr>
        </p:nvSpPr>
        <p:spPr>
          <a:xfrm>
            <a:off x="495299"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endParaRPr lang="en-US" dirty="0"/>
          </a:p>
        </p:txBody>
      </p:sp>
    </p:spTree>
    <p:extLst>
      <p:ext uri="{BB962C8B-B14F-4D97-AF65-F5344CB8AC3E}">
        <p14:creationId xmlns:p14="http://schemas.microsoft.com/office/powerpoint/2010/main" val="2290150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SD Title and Takeaway Righ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a:defRPr/>
            </a:pPr>
            <a:r>
              <a:rPr lang="en-US"/>
              <a:t>Media Web Symposium 2023</a:t>
            </a:r>
            <a:endParaRPr lang="en-US" dirty="0"/>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300" y="642645"/>
            <a:ext cx="7391400" cy="361959"/>
          </a:xfrm>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90" y="1088135"/>
            <a:ext cx="7392134" cy="236347"/>
          </a:xfrm>
          <a:prstGeom prst="rect">
            <a:avLst/>
          </a:prstGeom>
        </p:spPr>
        <p:txBody>
          <a:bodyPr wrap="square">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2">
            <a:extLst>
              <a:ext uri="{FF2B5EF4-FFF2-40B4-BE49-F238E27FC236}">
                <a16:creationId xmlns:a16="http://schemas.microsoft.com/office/drawing/2014/main" id="{BAF42B5A-06ED-4E95-BBB8-F57FEE1F84E5}"/>
              </a:ext>
            </a:extLst>
          </p:cNvPr>
          <p:cNvSpPr>
            <a:spLocks noGrp="1"/>
          </p:cNvSpPr>
          <p:nvPr>
            <p:ph type="body" sz="quarter" idx="17"/>
          </p:nvPr>
        </p:nvSpPr>
        <p:spPr>
          <a:xfrm>
            <a:off x="8829674" y="2058988"/>
            <a:ext cx="2867026" cy="411162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628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SD Title Left S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pPr>
              <a:defRPr/>
            </a:pPr>
            <a:r>
              <a:rPr lang="en-US"/>
              <a:t>Media Web Symposium 2023</a:t>
            </a:r>
            <a:endParaRPr lang="en-US" dirty="0"/>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a:xfrm>
            <a:off x="495299" y="2893677"/>
            <a:ext cx="2608263" cy="952155"/>
          </a:xfrm>
        </p:spPr>
        <p:txBody>
          <a:bodyPr/>
          <a:lstStyle/>
          <a:p>
            <a:r>
              <a:rPr lang="en-US"/>
              <a:t>Click to edit Master title style</a:t>
            </a:r>
          </a:p>
        </p:txBody>
      </p:sp>
      <p:sp>
        <p:nvSpPr>
          <p:cNvPr id="5" name="Subtitle">
            <a:extLst>
              <a:ext uri="{FF2B5EF4-FFF2-40B4-BE49-F238E27FC236}">
                <a16:creationId xmlns:a16="http://schemas.microsoft.com/office/drawing/2014/main" id="{8694D2CA-57FD-5A41-B5C7-1F8CECC66195}"/>
              </a:ext>
            </a:extLst>
          </p:cNvPr>
          <p:cNvSpPr>
            <a:spLocks noGrp="1"/>
          </p:cNvSpPr>
          <p:nvPr>
            <p:ph type="subTitle" idx="1" hasCustomPrompt="1"/>
          </p:nvPr>
        </p:nvSpPr>
        <p:spPr>
          <a:xfrm>
            <a:off x="494189" y="3904316"/>
            <a:ext cx="2608522" cy="1589409"/>
          </a:xfrm>
          <a:prstGeom prst="rect">
            <a:avLst/>
          </a:prstGeom>
        </p:spPr>
        <p:txBody>
          <a:bodyPr wrap="square">
            <a:spAutoFit/>
          </a:bodyPr>
          <a:lstStyle>
            <a:lvl1pPr marL="285750" indent="-285750" algn="l" defTabSz="914400" rtl="0" eaLnBrk="1" latinLnBrk="0" hangingPunct="1">
              <a:lnSpc>
                <a:spcPct val="96000"/>
              </a:lnSpc>
              <a:spcBef>
                <a:spcPts val="900"/>
              </a:spcBef>
              <a:buClr>
                <a:schemeClr val="tx2"/>
              </a:buClr>
              <a:buFont typeface="Arial" panose="020B0604020202020204" pitchFamily="34" charset="0"/>
              <a:buChar char="•"/>
              <a:defRPr lang="en-US" sz="1600" kern="1200" baseline="0" dirty="0">
                <a:solidFill>
                  <a:schemeClr val="tx2"/>
                </a:solidFill>
                <a:latin typeface="+mn-lt"/>
                <a:ea typeface="+mn-ea"/>
                <a:cs typeface="+mn-cs"/>
              </a:defRPr>
            </a:lvl1pPr>
            <a:lvl2pPr marL="301625" indent="-301625" algn="l">
              <a:buClr>
                <a:schemeClr val="tx2"/>
              </a:buClr>
              <a:buFont typeface="Arial" panose="020B0604020202020204" pitchFamily="34" charset="0"/>
              <a:buChar char="•"/>
              <a:tabLst>
                <a:tab pos="2003425" algn="l"/>
              </a:tabLst>
              <a:defRPr sz="1400"/>
            </a:lvl2pPr>
            <a:lvl3pPr marL="571500" indent="-269875" algn="l">
              <a:buClr>
                <a:schemeClr val="tx2"/>
              </a:buClr>
              <a:buFont typeface="Arial" panose="020B0604020202020204" pitchFamily="34" charset="0"/>
              <a:buChar char="•"/>
              <a:tabLst/>
              <a:defRPr sz="1800"/>
            </a:lvl3pPr>
            <a:lvl4pPr marL="571500" indent="-269875" algn="l">
              <a:buClr>
                <a:schemeClr val="tx2"/>
              </a:buClr>
              <a:buFont typeface="Arial" panose="020B0604020202020204" pitchFamily="34" charset="0"/>
              <a:buChar char="•"/>
              <a:tabLst/>
              <a:defRPr sz="1400"/>
            </a:lvl4pPr>
            <a:lvl5pPr marL="850900" indent="-279400" algn="l">
              <a:spcBef>
                <a:spcPts val="75"/>
              </a:spcBef>
              <a:spcAft>
                <a:spcPts val="75"/>
              </a:spcAft>
              <a:buFont typeface="Arial" panose="020B0604020202020204" pitchFamily="34" charset="0"/>
              <a:buChar char="•"/>
              <a:tabLst/>
              <a:defRPr sz="1400" b="0"/>
            </a:lvl5pPr>
            <a:lvl6pPr marL="800100" indent="-800100" algn="l">
              <a:buFont typeface="Arial" panose="020B0604020202020204" pitchFamily="34" charset="0"/>
              <a:buChar char="•"/>
              <a:tabLst/>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822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SD Title and Content">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96390C4F-C50D-4EA4-B36C-FD3A6D8926A2}"/>
              </a:ext>
            </a:extLst>
          </p:cNvPr>
          <p:cNvSpPr>
            <a:spLocks noGrp="1"/>
          </p:cNvSpPr>
          <p:nvPr>
            <p:ph sz="quarter" idx="16"/>
          </p:nvPr>
        </p:nvSpPr>
        <p:spPr>
          <a:xfrm>
            <a:off x="494188" y="1719072"/>
            <a:ext cx="11202511" cy="4681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2895"/>
            <a:ext cx="5943600" cy="118174"/>
          </a:xfrm>
        </p:spPr>
        <p:txBody>
          <a:bodyPr/>
          <a:lstStyle>
            <a:lvl1pPr>
              <a:defRPr>
                <a:solidFill>
                  <a:schemeClr val="accent5">
                    <a:lumMod val="60000"/>
                    <a:lumOff val="40000"/>
                  </a:schemeClr>
                </a:solidFill>
              </a:defRPr>
            </a:lvl1pPr>
          </a:lstStyle>
          <a:p>
            <a:pPr>
              <a:defRPr/>
            </a:pPr>
            <a:r>
              <a:rPr lang="en-US"/>
              <a:t>Media Web Symposium 2023</a:t>
            </a:r>
            <a:endParaRPr lang="en-US" dirty="0"/>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6053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userDrawn="1">
  <p:cSld name="SD 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54047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SD 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594360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pPr>
              <a:defRPr/>
            </a:pPr>
            <a:r>
              <a:rPr lang="en-US"/>
              <a:t>Media Web Symposium 2023</a:t>
            </a:r>
            <a:endParaRPr lang="en-US" dirty="0"/>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36347"/>
          </a:xfrm>
          <a:prstGeom prst="rect">
            <a:avLst/>
          </a:prstGeom>
        </p:spPr>
        <p:txBody>
          <a:bodyPr>
            <a:spAutoFit/>
          </a:bodyPr>
          <a:lstStyle>
            <a:lvl1pPr marL="0" indent="0" algn="l">
              <a:lnSpc>
                <a:spcPct val="96000"/>
              </a:lnSpc>
              <a:spcBef>
                <a:spcPts val="90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17598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8.xml><?xml version="1.0" encoding="utf-8"?>
<p:sldLayout xmlns:a="http://schemas.openxmlformats.org/drawingml/2006/main" xmlns:r="http://schemas.openxmlformats.org/officeDocument/2006/relationships" xmlns:p="http://schemas.openxmlformats.org/presentationml/2006/main" showMasterSp="0" preserve="1" userDrawn="1">
  <p:cSld name="SD Title and Subtitle Red">
    <p:bg>
      <p:bgPr>
        <a:solidFill>
          <a:schemeClr val="bg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2F3A8CC-E70D-4655-9738-607E9AB570DB}"/>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bg1"/>
                </a:solidFill>
                <a:latin typeface="+mn-lt"/>
                <a:ea typeface="+mn-ea"/>
                <a:cs typeface="+mn-cs"/>
              </a:defRPr>
            </a:lvl1pPr>
          </a:lstStyle>
          <a:p>
            <a:r>
              <a:rPr lang="en-US"/>
              <a:t>Media Web Symposium 2023</a:t>
            </a:r>
            <a:endParaRPr lang="en-US" dirty="0"/>
          </a:p>
        </p:txBody>
      </p:sp>
      <p:sp>
        <p:nvSpPr>
          <p:cNvPr id="5" name="Title 3">
            <a:extLst>
              <a:ext uri="{FF2B5EF4-FFF2-40B4-BE49-F238E27FC236}">
                <a16:creationId xmlns:a16="http://schemas.microsoft.com/office/drawing/2014/main" id="{8BAE2EEE-D744-4DCE-AA4D-329EBB37E8D0}"/>
              </a:ext>
            </a:extLst>
          </p:cNvPr>
          <p:cNvSpPr>
            <a:spLocks noGrp="1"/>
          </p:cNvSpPr>
          <p:nvPr>
            <p:ph type="title"/>
          </p:nvPr>
        </p:nvSpPr>
        <p:spPr>
          <a:xfrm>
            <a:off x="495300" y="642645"/>
            <a:ext cx="11187112" cy="361959"/>
          </a:xfrm>
        </p:spPr>
        <p:txBody>
          <a:bodyPr/>
          <a:lstStyle>
            <a:lvl1pPr>
              <a:defRPr>
                <a:solidFill>
                  <a:schemeClr val="bg1"/>
                </a:solidFill>
              </a:defRPr>
            </a:lvl1pPr>
          </a:lstStyle>
          <a:p>
            <a:r>
              <a:rPr lang="en-US"/>
              <a:t>Click to edit Master title style</a:t>
            </a:r>
          </a:p>
        </p:txBody>
      </p:sp>
      <p:sp>
        <p:nvSpPr>
          <p:cNvPr id="6" name="Subtitle">
            <a:extLst>
              <a:ext uri="{FF2B5EF4-FFF2-40B4-BE49-F238E27FC236}">
                <a16:creationId xmlns:a16="http://schemas.microsoft.com/office/drawing/2014/main" id="{851BFC7F-08CD-484C-AEAC-FDDD29DB9146}"/>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53270F94-B0D0-418A-A0DA-8F392DF00CE2}"/>
              </a:ext>
            </a:extLst>
          </p:cNvPr>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7" name="TextBox 6">
            <a:extLst>
              <a:ext uri="{FF2B5EF4-FFF2-40B4-BE49-F238E27FC236}">
                <a16:creationId xmlns:a16="http://schemas.microsoft.com/office/drawing/2014/main" id="{8C7A4937-F361-A84D-BBA4-930690AF5853}"/>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bg1"/>
                </a:solidFill>
              </a:rPr>
              <a:t>Confidential – Qualcomm Technologies, Inc. and/or its affiliated companies – May Contain Trade Secrets</a:t>
            </a:r>
          </a:p>
        </p:txBody>
      </p:sp>
    </p:spTree>
    <p:extLst>
      <p:ext uri="{BB962C8B-B14F-4D97-AF65-F5344CB8AC3E}">
        <p14:creationId xmlns:p14="http://schemas.microsoft.com/office/powerpoint/2010/main" val="354583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SD Title and Subtitle White">
    <p:bg>
      <p:bgPr>
        <a:solidFill>
          <a:srgbClr val="FAFBFC"/>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453A31F0-4DB5-457C-A903-35FF518AB4EA}"/>
              </a:ext>
            </a:extLst>
          </p:cNvPr>
          <p:cNvSpPr>
            <a:spLocks noGrp="1"/>
          </p:cNvSpPr>
          <p:nvPr>
            <p:ph type="ftr" sz="quarter" idx="10"/>
          </p:nvPr>
        </p:nvSpPr>
        <p:spPr>
          <a:xfrm>
            <a:off x="495299" y="6532895"/>
            <a:ext cx="594360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endParaRPr lang="en-US" dirty="0"/>
          </a:p>
        </p:txBody>
      </p:sp>
      <p:sp>
        <p:nvSpPr>
          <p:cNvPr id="3" name="Title 3">
            <a:extLst>
              <a:ext uri="{FF2B5EF4-FFF2-40B4-BE49-F238E27FC236}">
                <a16:creationId xmlns:a16="http://schemas.microsoft.com/office/drawing/2014/main" id="{309C22E6-2FE0-490B-BAC5-88E5C6751D9E}"/>
              </a:ext>
            </a:extLst>
          </p:cNvPr>
          <p:cNvSpPr>
            <a:spLocks noGrp="1"/>
          </p:cNvSpPr>
          <p:nvPr>
            <p:ph type="title"/>
          </p:nvPr>
        </p:nvSpPr>
        <p:spPr>
          <a:xfrm>
            <a:off x="495300" y="642645"/>
            <a:ext cx="11187112" cy="361959"/>
          </a:xfrm>
        </p:spPr>
        <p:txBody>
          <a:bodyPr/>
          <a:lstStyle>
            <a:lvl1pPr>
              <a:defRPr>
                <a:solidFill>
                  <a:schemeClr val="tx2"/>
                </a:solidFill>
              </a:defRPr>
            </a:lvl1pPr>
          </a:lstStyle>
          <a:p>
            <a:r>
              <a:rPr lang="en-US"/>
              <a:t>Click to edit Master title style</a:t>
            </a:r>
          </a:p>
        </p:txBody>
      </p:sp>
      <p:sp>
        <p:nvSpPr>
          <p:cNvPr id="4" name="Subtitle">
            <a:extLst>
              <a:ext uri="{FF2B5EF4-FFF2-40B4-BE49-F238E27FC236}">
                <a16:creationId xmlns:a16="http://schemas.microsoft.com/office/drawing/2014/main" id="{8FF0793D-08C6-4F61-A423-730FEF5A6DBB}"/>
              </a:ext>
            </a:extLst>
          </p:cNvPr>
          <p:cNvSpPr>
            <a:spLocks noGrp="1"/>
          </p:cNvSpPr>
          <p:nvPr>
            <p:ph type="subTitle" idx="1"/>
          </p:nvPr>
        </p:nvSpPr>
        <p:spPr>
          <a:xfrm>
            <a:off x="494189" y="1088135"/>
            <a:ext cx="11188223" cy="236347"/>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600" kern="1200" baseline="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78510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634.xml"/><Relationship Id="rId18" Type="http://schemas.openxmlformats.org/officeDocument/2006/relationships/slideLayout" Target="../slideLayouts/slideLayout639.xml"/><Relationship Id="rId26" Type="http://schemas.openxmlformats.org/officeDocument/2006/relationships/slideLayout" Target="../slideLayouts/slideLayout647.xml"/><Relationship Id="rId39" Type="http://schemas.openxmlformats.org/officeDocument/2006/relationships/slideLayout" Target="../slideLayouts/slideLayout660.xml"/><Relationship Id="rId21" Type="http://schemas.openxmlformats.org/officeDocument/2006/relationships/slideLayout" Target="../slideLayouts/slideLayout642.xml"/><Relationship Id="rId34" Type="http://schemas.openxmlformats.org/officeDocument/2006/relationships/slideLayout" Target="../slideLayouts/slideLayout655.xml"/><Relationship Id="rId42" Type="http://schemas.openxmlformats.org/officeDocument/2006/relationships/slideLayout" Target="../slideLayouts/slideLayout663.xml"/><Relationship Id="rId47" Type="http://schemas.openxmlformats.org/officeDocument/2006/relationships/slideLayout" Target="../slideLayouts/slideLayout668.xml"/><Relationship Id="rId50" Type="http://schemas.openxmlformats.org/officeDocument/2006/relationships/slideLayout" Target="../slideLayouts/slideLayout671.xml"/><Relationship Id="rId55" Type="http://schemas.openxmlformats.org/officeDocument/2006/relationships/slideLayout" Target="../slideLayouts/slideLayout676.xml"/><Relationship Id="rId63" Type="http://schemas.openxmlformats.org/officeDocument/2006/relationships/slideLayout" Target="../slideLayouts/slideLayout684.xml"/><Relationship Id="rId68" Type="http://schemas.openxmlformats.org/officeDocument/2006/relationships/slideLayout" Target="../slideLayouts/slideLayout689.xml"/><Relationship Id="rId76" Type="http://schemas.openxmlformats.org/officeDocument/2006/relationships/slideLayout" Target="../slideLayouts/slideLayout697.xml"/><Relationship Id="rId84" Type="http://schemas.openxmlformats.org/officeDocument/2006/relationships/slideLayout" Target="../slideLayouts/slideLayout705.xml"/><Relationship Id="rId89" Type="http://schemas.openxmlformats.org/officeDocument/2006/relationships/theme" Target="../theme/theme10.xml"/><Relationship Id="rId7" Type="http://schemas.openxmlformats.org/officeDocument/2006/relationships/slideLayout" Target="../slideLayouts/slideLayout628.xml"/><Relationship Id="rId71" Type="http://schemas.openxmlformats.org/officeDocument/2006/relationships/slideLayout" Target="../slideLayouts/slideLayout692.xml"/><Relationship Id="rId2" Type="http://schemas.openxmlformats.org/officeDocument/2006/relationships/slideLayout" Target="../slideLayouts/slideLayout623.xml"/><Relationship Id="rId16" Type="http://schemas.openxmlformats.org/officeDocument/2006/relationships/slideLayout" Target="../slideLayouts/slideLayout637.xml"/><Relationship Id="rId29" Type="http://schemas.openxmlformats.org/officeDocument/2006/relationships/slideLayout" Target="../slideLayouts/slideLayout650.xml"/><Relationship Id="rId11" Type="http://schemas.openxmlformats.org/officeDocument/2006/relationships/slideLayout" Target="../slideLayouts/slideLayout632.xml"/><Relationship Id="rId24" Type="http://schemas.openxmlformats.org/officeDocument/2006/relationships/slideLayout" Target="../slideLayouts/slideLayout645.xml"/><Relationship Id="rId32" Type="http://schemas.openxmlformats.org/officeDocument/2006/relationships/slideLayout" Target="../slideLayouts/slideLayout653.xml"/><Relationship Id="rId37" Type="http://schemas.openxmlformats.org/officeDocument/2006/relationships/slideLayout" Target="../slideLayouts/slideLayout658.xml"/><Relationship Id="rId40" Type="http://schemas.openxmlformats.org/officeDocument/2006/relationships/slideLayout" Target="../slideLayouts/slideLayout661.xml"/><Relationship Id="rId45" Type="http://schemas.openxmlformats.org/officeDocument/2006/relationships/slideLayout" Target="../slideLayouts/slideLayout666.xml"/><Relationship Id="rId53" Type="http://schemas.openxmlformats.org/officeDocument/2006/relationships/slideLayout" Target="../slideLayouts/slideLayout674.xml"/><Relationship Id="rId58" Type="http://schemas.openxmlformats.org/officeDocument/2006/relationships/slideLayout" Target="../slideLayouts/slideLayout679.xml"/><Relationship Id="rId66" Type="http://schemas.openxmlformats.org/officeDocument/2006/relationships/slideLayout" Target="../slideLayouts/slideLayout687.xml"/><Relationship Id="rId74" Type="http://schemas.openxmlformats.org/officeDocument/2006/relationships/slideLayout" Target="../slideLayouts/slideLayout695.xml"/><Relationship Id="rId79" Type="http://schemas.openxmlformats.org/officeDocument/2006/relationships/slideLayout" Target="../slideLayouts/slideLayout700.xml"/><Relationship Id="rId87" Type="http://schemas.openxmlformats.org/officeDocument/2006/relationships/slideLayout" Target="../slideLayouts/slideLayout708.xml"/><Relationship Id="rId5" Type="http://schemas.openxmlformats.org/officeDocument/2006/relationships/slideLayout" Target="../slideLayouts/slideLayout626.xml"/><Relationship Id="rId61" Type="http://schemas.openxmlformats.org/officeDocument/2006/relationships/slideLayout" Target="../slideLayouts/slideLayout682.xml"/><Relationship Id="rId82" Type="http://schemas.openxmlformats.org/officeDocument/2006/relationships/slideLayout" Target="../slideLayouts/slideLayout703.xml"/><Relationship Id="rId19" Type="http://schemas.openxmlformats.org/officeDocument/2006/relationships/slideLayout" Target="../slideLayouts/slideLayout640.xml"/><Relationship Id="rId4" Type="http://schemas.openxmlformats.org/officeDocument/2006/relationships/slideLayout" Target="../slideLayouts/slideLayout625.xml"/><Relationship Id="rId9" Type="http://schemas.openxmlformats.org/officeDocument/2006/relationships/slideLayout" Target="../slideLayouts/slideLayout630.xml"/><Relationship Id="rId14" Type="http://schemas.openxmlformats.org/officeDocument/2006/relationships/slideLayout" Target="../slideLayouts/slideLayout635.xml"/><Relationship Id="rId22" Type="http://schemas.openxmlformats.org/officeDocument/2006/relationships/slideLayout" Target="../slideLayouts/slideLayout643.xml"/><Relationship Id="rId27" Type="http://schemas.openxmlformats.org/officeDocument/2006/relationships/slideLayout" Target="../slideLayouts/slideLayout648.xml"/><Relationship Id="rId30" Type="http://schemas.openxmlformats.org/officeDocument/2006/relationships/slideLayout" Target="../slideLayouts/slideLayout651.xml"/><Relationship Id="rId35" Type="http://schemas.openxmlformats.org/officeDocument/2006/relationships/slideLayout" Target="../slideLayouts/slideLayout656.xml"/><Relationship Id="rId43" Type="http://schemas.openxmlformats.org/officeDocument/2006/relationships/slideLayout" Target="../slideLayouts/slideLayout664.xml"/><Relationship Id="rId48" Type="http://schemas.openxmlformats.org/officeDocument/2006/relationships/slideLayout" Target="../slideLayouts/slideLayout669.xml"/><Relationship Id="rId56" Type="http://schemas.openxmlformats.org/officeDocument/2006/relationships/slideLayout" Target="../slideLayouts/slideLayout677.xml"/><Relationship Id="rId64" Type="http://schemas.openxmlformats.org/officeDocument/2006/relationships/slideLayout" Target="../slideLayouts/slideLayout685.xml"/><Relationship Id="rId69" Type="http://schemas.openxmlformats.org/officeDocument/2006/relationships/slideLayout" Target="../slideLayouts/slideLayout690.xml"/><Relationship Id="rId77" Type="http://schemas.openxmlformats.org/officeDocument/2006/relationships/slideLayout" Target="../slideLayouts/slideLayout698.xml"/><Relationship Id="rId8" Type="http://schemas.openxmlformats.org/officeDocument/2006/relationships/slideLayout" Target="../slideLayouts/slideLayout629.xml"/><Relationship Id="rId51" Type="http://schemas.openxmlformats.org/officeDocument/2006/relationships/slideLayout" Target="../slideLayouts/slideLayout672.xml"/><Relationship Id="rId72" Type="http://schemas.openxmlformats.org/officeDocument/2006/relationships/slideLayout" Target="../slideLayouts/slideLayout693.xml"/><Relationship Id="rId80" Type="http://schemas.openxmlformats.org/officeDocument/2006/relationships/slideLayout" Target="../slideLayouts/slideLayout701.xml"/><Relationship Id="rId85" Type="http://schemas.openxmlformats.org/officeDocument/2006/relationships/slideLayout" Target="../slideLayouts/slideLayout706.xml"/><Relationship Id="rId3" Type="http://schemas.openxmlformats.org/officeDocument/2006/relationships/slideLayout" Target="../slideLayouts/slideLayout624.xml"/><Relationship Id="rId12" Type="http://schemas.openxmlformats.org/officeDocument/2006/relationships/slideLayout" Target="../slideLayouts/slideLayout633.xml"/><Relationship Id="rId17" Type="http://schemas.openxmlformats.org/officeDocument/2006/relationships/slideLayout" Target="../slideLayouts/slideLayout638.xml"/><Relationship Id="rId25" Type="http://schemas.openxmlformats.org/officeDocument/2006/relationships/slideLayout" Target="../slideLayouts/slideLayout646.xml"/><Relationship Id="rId33" Type="http://schemas.openxmlformats.org/officeDocument/2006/relationships/slideLayout" Target="../slideLayouts/slideLayout654.xml"/><Relationship Id="rId38" Type="http://schemas.openxmlformats.org/officeDocument/2006/relationships/slideLayout" Target="../slideLayouts/slideLayout659.xml"/><Relationship Id="rId46" Type="http://schemas.openxmlformats.org/officeDocument/2006/relationships/slideLayout" Target="../slideLayouts/slideLayout667.xml"/><Relationship Id="rId59" Type="http://schemas.openxmlformats.org/officeDocument/2006/relationships/slideLayout" Target="../slideLayouts/slideLayout680.xml"/><Relationship Id="rId67" Type="http://schemas.openxmlformats.org/officeDocument/2006/relationships/slideLayout" Target="../slideLayouts/slideLayout688.xml"/><Relationship Id="rId20" Type="http://schemas.openxmlformats.org/officeDocument/2006/relationships/slideLayout" Target="../slideLayouts/slideLayout641.xml"/><Relationship Id="rId41" Type="http://schemas.openxmlformats.org/officeDocument/2006/relationships/slideLayout" Target="../slideLayouts/slideLayout662.xml"/><Relationship Id="rId54" Type="http://schemas.openxmlformats.org/officeDocument/2006/relationships/slideLayout" Target="../slideLayouts/slideLayout675.xml"/><Relationship Id="rId62" Type="http://schemas.openxmlformats.org/officeDocument/2006/relationships/slideLayout" Target="../slideLayouts/slideLayout683.xml"/><Relationship Id="rId70" Type="http://schemas.openxmlformats.org/officeDocument/2006/relationships/slideLayout" Target="../slideLayouts/slideLayout691.xml"/><Relationship Id="rId75" Type="http://schemas.openxmlformats.org/officeDocument/2006/relationships/slideLayout" Target="../slideLayouts/slideLayout696.xml"/><Relationship Id="rId83" Type="http://schemas.openxmlformats.org/officeDocument/2006/relationships/slideLayout" Target="../slideLayouts/slideLayout704.xml"/><Relationship Id="rId88" Type="http://schemas.openxmlformats.org/officeDocument/2006/relationships/slideLayout" Target="../slideLayouts/slideLayout709.xml"/><Relationship Id="rId1" Type="http://schemas.openxmlformats.org/officeDocument/2006/relationships/slideLayout" Target="../slideLayouts/slideLayout622.xml"/><Relationship Id="rId6" Type="http://schemas.openxmlformats.org/officeDocument/2006/relationships/slideLayout" Target="../slideLayouts/slideLayout627.xml"/><Relationship Id="rId15" Type="http://schemas.openxmlformats.org/officeDocument/2006/relationships/slideLayout" Target="../slideLayouts/slideLayout636.xml"/><Relationship Id="rId23" Type="http://schemas.openxmlformats.org/officeDocument/2006/relationships/slideLayout" Target="../slideLayouts/slideLayout644.xml"/><Relationship Id="rId28" Type="http://schemas.openxmlformats.org/officeDocument/2006/relationships/slideLayout" Target="../slideLayouts/slideLayout649.xml"/><Relationship Id="rId36" Type="http://schemas.openxmlformats.org/officeDocument/2006/relationships/slideLayout" Target="../slideLayouts/slideLayout657.xml"/><Relationship Id="rId49" Type="http://schemas.openxmlformats.org/officeDocument/2006/relationships/slideLayout" Target="../slideLayouts/slideLayout670.xml"/><Relationship Id="rId57" Type="http://schemas.openxmlformats.org/officeDocument/2006/relationships/slideLayout" Target="../slideLayouts/slideLayout678.xml"/><Relationship Id="rId10" Type="http://schemas.openxmlformats.org/officeDocument/2006/relationships/slideLayout" Target="../slideLayouts/slideLayout631.xml"/><Relationship Id="rId31" Type="http://schemas.openxmlformats.org/officeDocument/2006/relationships/slideLayout" Target="../slideLayouts/slideLayout652.xml"/><Relationship Id="rId44" Type="http://schemas.openxmlformats.org/officeDocument/2006/relationships/slideLayout" Target="../slideLayouts/slideLayout665.xml"/><Relationship Id="rId52" Type="http://schemas.openxmlformats.org/officeDocument/2006/relationships/slideLayout" Target="../slideLayouts/slideLayout673.xml"/><Relationship Id="rId60" Type="http://schemas.openxmlformats.org/officeDocument/2006/relationships/slideLayout" Target="../slideLayouts/slideLayout681.xml"/><Relationship Id="rId65" Type="http://schemas.openxmlformats.org/officeDocument/2006/relationships/slideLayout" Target="../slideLayouts/slideLayout686.xml"/><Relationship Id="rId73" Type="http://schemas.openxmlformats.org/officeDocument/2006/relationships/slideLayout" Target="../slideLayouts/slideLayout694.xml"/><Relationship Id="rId78" Type="http://schemas.openxmlformats.org/officeDocument/2006/relationships/slideLayout" Target="../slideLayouts/slideLayout699.xml"/><Relationship Id="rId81" Type="http://schemas.openxmlformats.org/officeDocument/2006/relationships/slideLayout" Target="../slideLayouts/slideLayout702.xml"/><Relationship Id="rId86" Type="http://schemas.openxmlformats.org/officeDocument/2006/relationships/slideLayout" Target="../slideLayouts/slideLayout707.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722.xml"/><Relationship Id="rId18" Type="http://schemas.openxmlformats.org/officeDocument/2006/relationships/slideLayout" Target="../slideLayouts/slideLayout727.xml"/><Relationship Id="rId26" Type="http://schemas.openxmlformats.org/officeDocument/2006/relationships/slideLayout" Target="../slideLayouts/slideLayout735.xml"/><Relationship Id="rId39" Type="http://schemas.openxmlformats.org/officeDocument/2006/relationships/slideLayout" Target="../slideLayouts/slideLayout748.xml"/><Relationship Id="rId21" Type="http://schemas.openxmlformats.org/officeDocument/2006/relationships/slideLayout" Target="../slideLayouts/slideLayout730.xml"/><Relationship Id="rId34" Type="http://schemas.openxmlformats.org/officeDocument/2006/relationships/slideLayout" Target="../slideLayouts/slideLayout743.xml"/><Relationship Id="rId42" Type="http://schemas.openxmlformats.org/officeDocument/2006/relationships/slideLayout" Target="../slideLayouts/slideLayout751.xml"/><Relationship Id="rId47" Type="http://schemas.openxmlformats.org/officeDocument/2006/relationships/slideLayout" Target="../slideLayouts/slideLayout756.xml"/><Relationship Id="rId50" Type="http://schemas.openxmlformats.org/officeDocument/2006/relationships/slideLayout" Target="../slideLayouts/slideLayout759.xml"/><Relationship Id="rId55" Type="http://schemas.openxmlformats.org/officeDocument/2006/relationships/slideLayout" Target="../slideLayouts/slideLayout764.xml"/><Relationship Id="rId63" Type="http://schemas.openxmlformats.org/officeDocument/2006/relationships/slideLayout" Target="../slideLayouts/slideLayout772.xml"/><Relationship Id="rId68" Type="http://schemas.openxmlformats.org/officeDocument/2006/relationships/slideLayout" Target="../slideLayouts/slideLayout777.xml"/><Relationship Id="rId76" Type="http://schemas.openxmlformats.org/officeDocument/2006/relationships/slideLayout" Target="../slideLayouts/slideLayout785.xml"/><Relationship Id="rId84" Type="http://schemas.openxmlformats.org/officeDocument/2006/relationships/theme" Target="../theme/theme11.xml"/><Relationship Id="rId7" Type="http://schemas.openxmlformats.org/officeDocument/2006/relationships/slideLayout" Target="../slideLayouts/slideLayout716.xml"/><Relationship Id="rId71" Type="http://schemas.openxmlformats.org/officeDocument/2006/relationships/slideLayout" Target="../slideLayouts/slideLayout780.xml"/><Relationship Id="rId2" Type="http://schemas.openxmlformats.org/officeDocument/2006/relationships/slideLayout" Target="../slideLayouts/slideLayout711.xml"/><Relationship Id="rId16" Type="http://schemas.openxmlformats.org/officeDocument/2006/relationships/slideLayout" Target="../slideLayouts/slideLayout725.xml"/><Relationship Id="rId29" Type="http://schemas.openxmlformats.org/officeDocument/2006/relationships/slideLayout" Target="../slideLayouts/slideLayout738.xml"/><Relationship Id="rId11" Type="http://schemas.openxmlformats.org/officeDocument/2006/relationships/slideLayout" Target="../slideLayouts/slideLayout720.xml"/><Relationship Id="rId24" Type="http://schemas.openxmlformats.org/officeDocument/2006/relationships/slideLayout" Target="../slideLayouts/slideLayout733.xml"/><Relationship Id="rId32" Type="http://schemas.openxmlformats.org/officeDocument/2006/relationships/slideLayout" Target="../slideLayouts/slideLayout741.xml"/><Relationship Id="rId37" Type="http://schemas.openxmlformats.org/officeDocument/2006/relationships/slideLayout" Target="../slideLayouts/slideLayout746.xml"/><Relationship Id="rId40" Type="http://schemas.openxmlformats.org/officeDocument/2006/relationships/slideLayout" Target="../slideLayouts/slideLayout749.xml"/><Relationship Id="rId45" Type="http://schemas.openxmlformats.org/officeDocument/2006/relationships/slideLayout" Target="../slideLayouts/slideLayout754.xml"/><Relationship Id="rId53" Type="http://schemas.openxmlformats.org/officeDocument/2006/relationships/slideLayout" Target="../slideLayouts/slideLayout762.xml"/><Relationship Id="rId58" Type="http://schemas.openxmlformats.org/officeDocument/2006/relationships/slideLayout" Target="../slideLayouts/slideLayout767.xml"/><Relationship Id="rId66" Type="http://schemas.openxmlformats.org/officeDocument/2006/relationships/slideLayout" Target="../slideLayouts/slideLayout775.xml"/><Relationship Id="rId74" Type="http://schemas.openxmlformats.org/officeDocument/2006/relationships/slideLayout" Target="../slideLayouts/slideLayout783.xml"/><Relationship Id="rId79" Type="http://schemas.openxmlformats.org/officeDocument/2006/relationships/slideLayout" Target="../slideLayouts/slideLayout788.xml"/><Relationship Id="rId5" Type="http://schemas.openxmlformats.org/officeDocument/2006/relationships/slideLayout" Target="../slideLayouts/slideLayout714.xml"/><Relationship Id="rId61" Type="http://schemas.openxmlformats.org/officeDocument/2006/relationships/slideLayout" Target="../slideLayouts/slideLayout770.xml"/><Relationship Id="rId82" Type="http://schemas.openxmlformats.org/officeDocument/2006/relationships/slideLayout" Target="../slideLayouts/slideLayout791.xml"/><Relationship Id="rId10" Type="http://schemas.openxmlformats.org/officeDocument/2006/relationships/slideLayout" Target="../slideLayouts/slideLayout719.xml"/><Relationship Id="rId19" Type="http://schemas.openxmlformats.org/officeDocument/2006/relationships/slideLayout" Target="../slideLayouts/slideLayout728.xml"/><Relationship Id="rId31" Type="http://schemas.openxmlformats.org/officeDocument/2006/relationships/slideLayout" Target="../slideLayouts/slideLayout740.xml"/><Relationship Id="rId44" Type="http://schemas.openxmlformats.org/officeDocument/2006/relationships/slideLayout" Target="../slideLayouts/slideLayout753.xml"/><Relationship Id="rId52" Type="http://schemas.openxmlformats.org/officeDocument/2006/relationships/slideLayout" Target="../slideLayouts/slideLayout761.xml"/><Relationship Id="rId60" Type="http://schemas.openxmlformats.org/officeDocument/2006/relationships/slideLayout" Target="../slideLayouts/slideLayout769.xml"/><Relationship Id="rId65" Type="http://schemas.openxmlformats.org/officeDocument/2006/relationships/slideLayout" Target="../slideLayouts/slideLayout774.xml"/><Relationship Id="rId73" Type="http://schemas.openxmlformats.org/officeDocument/2006/relationships/slideLayout" Target="../slideLayouts/slideLayout782.xml"/><Relationship Id="rId78" Type="http://schemas.openxmlformats.org/officeDocument/2006/relationships/slideLayout" Target="../slideLayouts/slideLayout787.xml"/><Relationship Id="rId81" Type="http://schemas.openxmlformats.org/officeDocument/2006/relationships/slideLayout" Target="../slideLayouts/slideLayout790.xml"/><Relationship Id="rId4" Type="http://schemas.openxmlformats.org/officeDocument/2006/relationships/slideLayout" Target="../slideLayouts/slideLayout713.xml"/><Relationship Id="rId9" Type="http://schemas.openxmlformats.org/officeDocument/2006/relationships/slideLayout" Target="../slideLayouts/slideLayout718.xml"/><Relationship Id="rId14" Type="http://schemas.openxmlformats.org/officeDocument/2006/relationships/slideLayout" Target="../slideLayouts/slideLayout723.xml"/><Relationship Id="rId22" Type="http://schemas.openxmlformats.org/officeDocument/2006/relationships/slideLayout" Target="../slideLayouts/slideLayout731.xml"/><Relationship Id="rId27" Type="http://schemas.openxmlformats.org/officeDocument/2006/relationships/slideLayout" Target="../slideLayouts/slideLayout736.xml"/><Relationship Id="rId30" Type="http://schemas.openxmlformats.org/officeDocument/2006/relationships/slideLayout" Target="../slideLayouts/slideLayout739.xml"/><Relationship Id="rId35" Type="http://schemas.openxmlformats.org/officeDocument/2006/relationships/slideLayout" Target="../slideLayouts/slideLayout744.xml"/><Relationship Id="rId43" Type="http://schemas.openxmlformats.org/officeDocument/2006/relationships/slideLayout" Target="../slideLayouts/slideLayout752.xml"/><Relationship Id="rId48" Type="http://schemas.openxmlformats.org/officeDocument/2006/relationships/slideLayout" Target="../slideLayouts/slideLayout757.xml"/><Relationship Id="rId56" Type="http://schemas.openxmlformats.org/officeDocument/2006/relationships/slideLayout" Target="../slideLayouts/slideLayout765.xml"/><Relationship Id="rId64" Type="http://schemas.openxmlformats.org/officeDocument/2006/relationships/slideLayout" Target="../slideLayouts/slideLayout773.xml"/><Relationship Id="rId69" Type="http://schemas.openxmlformats.org/officeDocument/2006/relationships/slideLayout" Target="../slideLayouts/slideLayout778.xml"/><Relationship Id="rId77" Type="http://schemas.openxmlformats.org/officeDocument/2006/relationships/slideLayout" Target="../slideLayouts/slideLayout786.xml"/><Relationship Id="rId8" Type="http://schemas.openxmlformats.org/officeDocument/2006/relationships/slideLayout" Target="../slideLayouts/slideLayout717.xml"/><Relationship Id="rId51" Type="http://schemas.openxmlformats.org/officeDocument/2006/relationships/slideLayout" Target="../slideLayouts/slideLayout760.xml"/><Relationship Id="rId72" Type="http://schemas.openxmlformats.org/officeDocument/2006/relationships/slideLayout" Target="../slideLayouts/slideLayout781.xml"/><Relationship Id="rId80" Type="http://schemas.openxmlformats.org/officeDocument/2006/relationships/slideLayout" Target="../slideLayouts/slideLayout789.xml"/><Relationship Id="rId3" Type="http://schemas.openxmlformats.org/officeDocument/2006/relationships/slideLayout" Target="../slideLayouts/slideLayout712.xml"/><Relationship Id="rId12" Type="http://schemas.openxmlformats.org/officeDocument/2006/relationships/slideLayout" Target="../slideLayouts/slideLayout721.xml"/><Relationship Id="rId17" Type="http://schemas.openxmlformats.org/officeDocument/2006/relationships/slideLayout" Target="../slideLayouts/slideLayout726.xml"/><Relationship Id="rId25" Type="http://schemas.openxmlformats.org/officeDocument/2006/relationships/slideLayout" Target="../slideLayouts/slideLayout734.xml"/><Relationship Id="rId33" Type="http://schemas.openxmlformats.org/officeDocument/2006/relationships/slideLayout" Target="../slideLayouts/slideLayout742.xml"/><Relationship Id="rId38" Type="http://schemas.openxmlformats.org/officeDocument/2006/relationships/slideLayout" Target="../slideLayouts/slideLayout747.xml"/><Relationship Id="rId46" Type="http://schemas.openxmlformats.org/officeDocument/2006/relationships/slideLayout" Target="../slideLayouts/slideLayout755.xml"/><Relationship Id="rId59" Type="http://schemas.openxmlformats.org/officeDocument/2006/relationships/slideLayout" Target="../slideLayouts/slideLayout768.xml"/><Relationship Id="rId67" Type="http://schemas.openxmlformats.org/officeDocument/2006/relationships/slideLayout" Target="../slideLayouts/slideLayout776.xml"/><Relationship Id="rId20" Type="http://schemas.openxmlformats.org/officeDocument/2006/relationships/slideLayout" Target="../slideLayouts/slideLayout729.xml"/><Relationship Id="rId41" Type="http://schemas.openxmlformats.org/officeDocument/2006/relationships/slideLayout" Target="../slideLayouts/slideLayout750.xml"/><Relationship Id="rId54" Type="http://schemas.openxmlformats.org/officeDocument/2006/relationships/slideLayout" Target="../slideLayouts/slideLayout763.xml"/><Relationship Id="rId62" Type="http://schemas.openxmlformats.org/officeDocument/2006/relationships/slideLayout" Target="../slideLayouts/slideLayout771.xml"/><Relationship Id="rId70" Type="http://schemas.openxmlformats.org/officeDocument/2006/relationships/slideLayout" Target="../slideLayouts/slideLayout779.xml"/><Relationship Id="rId75" Type="http://schemas.openxmlformats.org/officeDocument/2006/relationships/slideLayout" Target="../slideLayouts/slideLayout784.xml"/><Relationship Id="rId83" Type="http://schemas.openxmlformats.org/officeDocument/2006/relationships/slideLayout" Target="../slideLayouts/slideLayout792.xml"/><Relationship Id="rId1" Type="http://schemas.openxmlformats.org/officeDocument/2006/relationships/slideLayout" Target="../slideLayouts/slideLayout710.xml"/><Relationship Id="rId6" Type="http://schemas.openxmlformats.org/officeDocument/2006/relationships/slideLayout" Target="../slideLayouts/slideLayout715.xml"/><Relationship Id="rId15" Type="http://schemas.openxmlformats.org/officeDocument/2006/relationships/slideLayout" Target="../slideLayouts/slideLayout724.xml"/><Relationship Id="rId23" Type="http://schemas.openxmlformats.org/officeDocument/2006/relationships/slideLayout" Target="../slideLayouts/slideLayout732.xml"/><Relationship Id="rId28" Type="http://schemas.openxmlformats.org/officeDocument/2006/relationships/slideLayout" Target="../slideLayouts/slideLayout737.xml"/><Relationship Id="rId36" Type="http://schemas.openxmlformats.org/officeDocument/2006/relationships/slideLayout" Target="../slideLayouts/slideLayout745.xml"/><Relationship Id="rId49" Type="http://schemas.openxmlformats.org/officeDocument/2006/relationships/slideLayout" Target="../slideLayouts/slideLayout758.xml"/><Relationship Id="rId57" Type="http://schemas.openxmlformats.org/officeDocument/2006/relationships/slideLayout" Target="../slideLayouts/slideLayout766.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805.xml"/><Relationship Id="rId18" Type="http://schemas.openxmlformats.org/officeDocument/2006/relationships/slideLayout" Target="../slideLayouts/slideLayout810.xml"/><Relationship Id="rId26" Type="http://schemas.openxmlformats.org/officeDocument/2006/relationships/slideLayout" Target="../slideLayouts/slideLayout818.xml"/><Relationship Id="rId39" Type="http://schemas.openxmlformats.org/officeDocument/2006/relationships/slideLayout" Target="../slideLayouts/slideLayout831.xml"/><Relationship Id="rId21" Type="http://schemas.openxmlformats.org/officeDocument/2006/relationships/slideLayout" Target="../slideLayouts/slideLayout813.xml"/><Relationship Id="rId34" Type="http://schemas.openxmlformats.org/officeDocument/2006/relationships/slideLayout" Target="../slideLayouts/slideLayout826.xml"/><Relationship Id="rId42" Type="http://schemas.openxmlformats.org/officeDocument/2006/relationships/slideLayout" Target="../slideLayouts/slideLayout834.xml"/><Relationship Id="rId47" Type="http://schemas.openxmlformats.org/officeDocument/2006/relationships/slideLayout" Target="../slideLayouts/slideLayout839.xml"/><Relationship Id="rId50" Type="http://schemas.openxmlformats.org/officeDocument/2006/relationships/slideLayout" Target="../slideLayouts/slideLayout842.xml"/><Relationship Id="rId55" Type="http://schemas.openxmlformats.org/officeDocument/2006/relationships/slideLayout" Target="../slideLayouts/slideLayout847.xml"/><Relationship Id="rId63" Type="http://schemas.openxmlformats.org/officeDocument/2006/relationships/slideLayout" Target="../slideLayouts/slideLayout855.xml"/><Relationship Id="rId68" Type="http://schemas.openxmlformats.org/officeDocument/2006/relationships/slideLayout" Target="../slideLayouts/slideLayout860.xml"/><Relationship Id="rId76" Type="http://schemas.openxmlformats.org/officeDocument/2006/relationships/slideLayout" Target="../slideLayouts/slideLayout868.xml"/><Relationship Id="rId84" Type="http://schemas.openxmlformats.org/officeDocument/2006/relationships/theme" Target="../theme/theme12.xml"/><Relationship Id="rId7" Type="http://schemas.openxmlformats.org/officeDocument/2006/relationships/slideLayout" Target="../slideLayouts/slideLayout799.xml"/><Relationship Id="rId71" Type="http://schemas.openxmlformats.org/officeDocument/2006/relationships/slideLayout" Target="../slideLayouts/slideLayout863.xml"/><Relationship Id="rId2" Type="http://schemas.openxmlformats.org/officeDocument/2006/relationships/slideLayout" Target="../slideLayouts/slideLayout794.xml"/><Relationship Id="rId16" Type="http://schemas.openxmlformats.org/officeDocument/2006/relationships/slideLayout" Target="../slideLayouts/slideLayout808.xml"/><Relationship Id="rId29" Type="http://schemas.openxmlformats.org/officeDocument/2006/relationships/slideLayout" Target="../slideLayouts/slideLayout821.xml"/><Relationship Id="rId11" Type="http://schemas.openxmlformats.org/officeDocument/2006/relationships/slideLayout" Target="../slideLayouts/slideLayout803.xml"/><Relationship Id="rId24" Type="http://schemas.openxmlformats.org/officeDocument/2006/relationships/slideLayout" Target="../slideLayouts/slideLayout816.xml"/><Relationship Id="rId32" Type="http://schemas.openxmlformats.org/officeDocument/2006/relationships/slideLayout" Target="../slideLayouts/slideLayout824.xml"/><Relationship Id="rId37" Type="http://schemas.openxmlformats.org/officeDocument/2006/relationships/slideLayout" Target="../slideLayouts/slideLayout829.xml"/><Relationship Id="rId40" Type="http://schemas.openxmlformats.org/officeDocument/2006/relationships/slideLayout" Target="../slideLayouts/slideLayout832.xml"/><Relationship Id="rId45" Type="http://schemas.openxmlformats.org/officeDocument/2006/relationships/slideLayout" Target="../slideLayouts/slideLayout837.xml"/><Relationship Id="rId53" Type="http://schemas.openxmlformats.org/officeDocument/2006/relationships/slideLayout" Target="../slideLayouts/slideLayout845.xml"/><Relationship Id="rId58" Type="http://schemas.openxmlformats.org/officeDocument/2006/relationships/slideLayout" Target="../slideLayouts/slideLayout850.xml"/><Relationship Id="rId66" Type="http://schemas.openxmlformats.org/officeDocument/2006/relationships/slideLayout" Target="../slideLayouts/slideLayout858.xml"/><Relationship Id="rId74" Type="http://schemas.openxmlformats.org/officeDocument/2006/relationships/slideLayout" Target="../slideLayouts/slideLayout866.xml"/><Relationship Id="rId79" Type="http://schemas.openxmlformats.org/officeDocument/2006/relationships/slideLayout" Target="../slideLayouts/slideLayout871.xml"/><Relationship Id="rId5" Type="http://schemas.openxmlformats.org/officeDocument/2006/relationships/slideLayout" Target="../slideLayouts/slideLayout797.xml"/><Relationship Id="rId61" Type="http://schemas.openxmlformats.org/officeDocument/2006/relationships/slideLayout" Target="../slideLayouts/slideLayout853.xml"/><Relationship Id="rId82" Type="http://schemas.openxmlformats.org/officeDocument/2006/relationships/slideLayout" Target="../slideLayouts/slideLayout874.xml"/><Relationship Id="rId10" Type="http://schemas.openxmlformats.org/officeDocument/2006/relationships/slideLayout" Target="../slideLayouts/slideLayout802.xml"/><Relationship Id="rId19" Type="http://schemas.openxmlformats.org/officeDocument/2006/relationships/slideLayout" Target="../slideLayouts/slideLayout811.xml"/><Relationship Id="rId31" Type="http://schemas.openxmlformats.org/officeDocument/2006/relationships/slideLayout" Target="../slideLayouts/slideLayout823.xml"/><Relationship Id="rId44" Type="http://schemas.openxmlformats.org/officeDocument/2006/relationships/slideLayout" Target="../slideLayouts/slideLayout836.xml"/><Relationship Id="rId52" Type="http://schemas.openxmlformats.org/officeDocument/2006/relationships/slideLayout" Target="../slideLayouts/slideLayout844.xml"/><Relationship Id="rId60" Type="http://schemas.openxmlformats.org/officeDocument/2006/relationships/slideLayout" Target="../slideLayouts/slideLayout852.xml"/><Relationship Id="rId65" Type="http://schemas.openxmlformats.org/officeDocument/2006/relationships/slideLayout" Target="../slideLayouts/slideLayout857.xml"/><Relationship Id="rId73" Type="http://schemas.openxmlformats.org/officeDocument/2006/relationships/slideLayout" Target="../slideLayouts/slideLayout865.xml"/><Relationship Id="rId78" Type="http://schemas.openxmlformats.org/officeDocument/2006/relationships/slideLayout" Target="../slideLayouts/slideLayout870.xml"/><Relationship Id="rId81" Type="http://schemas.openxmlformats.org/officeDocument/2006/relationships/slideLayout" Target="../slideLayouts/slideLayout873.xml"/><Relationship Id="rId4" Type="http://schemas.openxmlformats.org/officeDocument/2006/relationships/slideLayout" Target="../slideLayouts/slideLayout796.xml"/><Relationship Id="rId9" Type="http://schemas.openxmlformats.org/officeDocument/2006/relationships/slideLayout" Target="../slideLayouts/slideLayout801.xml"/><Relationship Id="rId14" Type="http://schemas.openxmlformats.org/officeDocument/2006/relationships/slideLayout" Target="../slideLayouts/slideLayout806.xml"/><Relationship Id="rId22" Type="http://schemas.openxmlformats.org/officeDocument/2006/relationships/slideLayout" Target="../slideLayouts/slideLayout814.xml"/><Relationship Id="rId27" Type="http://schemas.openxmlformats.org/officeDocument/2006/relationships/slideLayout" Target="../slideLayouts/slideLayout819.xml"/><Relationship Id="rId30" Type="http://schemas.openxmlformats.org/officeDocument/2006/relationships/slideLayout" Target="../slideLayouts/slideLayout822.xml"/><Relationship Id="rId35" Type="http://schemas.openxmlformats.org/officeDocument/2006/relationships/slideLayout" Target="../slideLayouts/slideLayout827.xml"/><Relationship Id="rId43" Type="http://schemas.openxmlformats.org/officeDocument/2006/relationships/slideLayout" Target="../slideLayouts/slideLayout835.xml"/><Relationship Id="rId48" Type="http://schemas.openxmlformats.org/officeDocument/2006/relationships/slideLayout" Target="../slideLayouts/slideLayout840.xml"/><Relationship Id="rId56" Type="http://schemas.openxmlformats.org/officeDocument/2006/relationships/slideLayout" Target="../slideLayouts/slideLayout848.xml"/><Relationship Id="rId64" Type="http://schemas.openxmlformats.org/officeDocument/2006/relationships/slideLayout" Target="../slideLayouts/slideLayout856.xml"/><Relationship Id="rId69" Type="http://schemas.openxmlformats.org/officeDocument/2006/relationships/slideLayout" Target="../slideLayouts/slideLayout861.xml"/><Relationship Id="rId77" Type="http://schemas.openxmlformats.org/officeDocument/2006/relationships/slideLayout" Target="../slideLayouts/slideLayout869.xml"/><Relationship Id="rId8" Type="http://schemas.openxmlformats.org/officeDocument/2006/relationships/slideLayout" Target="../slideLayouts/slideLayout800.xml"/><Relationship Id="rId51" Type="http://schemas.openxmlformats.org/officeDocument/2006/relationships/slideLayout" Target="../slideLayouts/slideLayout843.xml"/><Relationship Id="rId72" Type="http://schemas.openxmlformats.org/officeDocument/2006/relationships/slideLayout" Target="../slideLayouts/slideLayout864.xml"/><Relationship Id="rId80" Type="http://schemas.openxmlformats.org/officeDocument/2006/relationships/slideLayout" Target="../slideLayouts/slideLayout872.xml"/><Relationship Id="rId3" Type="http://schemas.openxmlformats.org/officeDocument/2006/relationships/slideLayout" Target="../slideLayouts/slideLayout795.xml"/><Relationship Id="rId12" Type="http://schemas.openxmlformats.org/officeDocument/2006/relationships/slideLayout" Target="../slideLayouts/slideLayout804.xml"/><Relationship Id="rId17" Type="http://schemas.openxmlformats.org/officeDocument/2006/relationships/slideLayout" Target="../slideLayouts/slideLayout809.xml"/><Relationship Id="rId25" Type="http://schemas.openxmlformats.org/officeDocument/2006/relationships/slideLayout" Target="../slideLayouts/slideLayout817.xml"/><Relationship Id="rId33" Type="http://schemas.openxmlformats.org/officeDocument/2006/relationships/slideLayout" Target="../slideLayouts/slideLayout825.xml"/><Relationship Id="rId38" Type="http://schemas.openxmlformats.org/officeDocument/2006/relationships/slideLayout" Target="../slideLayouts/slideLayout830.xml"/><Relationship Id="rId46" Type="http://schemas.openxmlformats.org/officeDocument/2006/relationships/slideLayout" Target="../slideLayouts/slideLayout838.xml"/><Relationship Id="rId59" Type="http://schemas.openxmlformats.org/officeDocument/2006/relationships/slideLayout" Target="../slideLayouts/slideLayout851.xml"/><Relationship Id="rId67" Type="http://schemas.openxmlformats.org/officeDocument/2006/relationships/slideLayout" Target="../slideLayouts/slideLayout859.xml"/><Relationship Id="rId20" Type="http://schemas.openxmlformats.org/officeDocument/2006/relationships/slideLayout" Target="../slideLayouts/slideLayout812.xml"/><Relationship Id="rId41" Type="http://schemas.openxmlformats.org/officeDocument/2006/relationships/slideLayout" Target="../slideLayouts/slideLayout833.xml"/><Relationship Id="rId54" Type="http://schemas.openxmlformats.org/officeDocument/2006/relationships/slideLayout" Target="../slideLayouts/slideLayout846.xml"/><Relationship Id="rId62" Type="http://schemas.openxmlformats.org/officeDocument/2006/relationships/slideLayout" Target="../slideLayouts/slideLayout854.xml"/><Relationship Id="rId70" Type="http://schemas.openxmlformats.org/officeDocument/2006/relationships/slideLayout" Target="../slideLayouts/slideLayout862.xml"/><Relationship Id="rId75" Type="http://schemas.openxmlformats.org/officeDocument/2006/relationships/slideLayout" Target="../slideLayouts/slideLayout867.xml"/><Relationship Id="rId83" Type="http://schemas.openxmlformats.org/officeDocument/2006/relationships/slideLayout" Target="../slideLayouts/slideLayout875.xml"/><Relationship Id="rId1" Type="http://schemas.openxmlformats.org/officeDocument/2006/relationships/slideLayout" Target="../slideLayouts/slideLayout793.xml"/><Relationship Id="rId6" Type="http://schemas.openxmlformats.org/officeDocument/2006/relationships/slideLayout" Target="../slideLayouts/slideLayout798.xml"/><Relationship Id="rId15" Type="http://schemas.openxmlformats.org/officeDocument/2006/relationships/slideLayout" Target="../slideLayouts/slideLayout807.xml"/><Relationship Id="rId23" Type="http://schemas.openxmlformats.org/officeDocument/2006/relationships/slideLayout" Target="../slideLayouts/slideLayout815.xml"/><Relationship Id="rId28" Type="http://schemas.openxmlformats.org/officeDocument/2006/relationships/slideLayout" Target="../slideLayouts/slideLayout820.xml"/><Relationship Id="rId36" Type="http://schemas.openxmlformats.org/officeDocument/2006/relationships/slideLayout" Target="../slideLayouts/slideLayout828.xml"/><Relationship Id="rId49" Type="http://schemas.openxmlformats.org/officeDocument/2006/relationships/slideLayout" Target="../slideLayouts/slideLayout841.xml"/><Relationship Id="rId57" Type="http://schemas.openxmlformats.org/officeDocument/2006/relationships/slideLayout" Target="../slideLayouts/slideLayout849.xml"/></Relationships>
</file>

<file path=ppt/slideMasters/_rels/slideMaster13.xml.rels><?xml version="1.0" encoding="UTF-8" standalone="yes"?>
<Relationships xmlns="http://schemas.openxmlformats.org/package/2006/relationships"><Relationship Id="rId117" Type="http://schemas.openxmlformats.org/officeDocument/2006/relationships/slideLayout" Target="../slideLayouts/slideLayout992.xml"/><Relationship Id="rId21" Type="http://schemas.openxmlformats.org/officeDocument/2006/relationships/slideLayout" Target="../slideLayouts/slideLayout896.xml"/><Relationship Id="rId42" Type="http://schemas.openxmlformats.org/officeDocument/2006/relationships/slideLayout" Target="../slideLayouts/slideLayout917.xml"/><Relationship Id="rId63" Type="http://schemas.openxmlformats.org/officeDocument/2006/relationships/slideLayout" Target="../slideLayouts/slideLayout938.xml"/><Relationship Id="rId84" Type="http://schemas.openxmlformats.org/officeDocument/2006/relationships/slideLayout" Target="../slideLayouts/slideLayout959.xml"/><Relationship Id="rId138" Type="http://schemas.openxmlformats.org/officeDocument/2006/relationships/slideLayout" Target="../slideLayouts/slideLayout1013.xml"/><Relationship Id="rId159" Type="http://schemas.openxmlformats.org/officeDocument/2006/relationships/slideLayout" Target="../slideLayouts/slideLayout1034.xml"/><Relationship Id="rId170" Type="http://schemas.openxmlformats.org/officeDocument/2006/relationships/slideLayout" Target="../slideLayouts/slideLayout1045.xml"/><Relationship Id="rId191" Type="http://schemas.openxmlformats.org/officeDocument/2006/relationships/slideLayout" Target="../slideLayouts/slideLayout1066.xml"/><Relationship Id="rId205" Type="http://schemas.openxmlformats.org/officeDocument/2006/relationships/slideLayout" Target="../slideLayouts/slideLayout1080.xml"/><Relationship Id="rId107" Type="http://schemas.openxmlformats.org/officeDocument/2006/relationships/slideLayout" Target="../slideLayouts/slideLayout982.xml"/><Relationship Id="rId11" Type="http://schemas.openxmlformats.org/officeDocument/2006/relationships/slideLayout" Target="../slideLayouts/slideLayout886.xml"/><Relationship Id="rId32" Type="http://schemas.openxmlformats.org/officeDocument/2006/relationships/slideLayout" Target="../slideLayouts/slideLayout907.xml"/><Relationship Id="rId37" Type="http://schemas.openxmlformats.org/officeDocument/2006/relationships/slideLayout" Target="../slideLayouts/slideLayout912.xml"/><Relationship Id="rId53" Type="http://schemas.openxmlformats.org/officeDocument/2006/relationships/slideLayout" Target="../slideLayouts/slideLayout928.xml"/><Relationship Id="rId58" Type="http://schemas.openxmlformats.org/officeDocument/2006/relationships/slideLayout" Target="../slideLayouts/slideLayout933.xml"/><Relationship Id="rId74" Type="http://schemas.openxmlformats.org/officeDocument/2006/relationships/slideLayout" Target="../slideLayouts/slideLayout949.xml"/><Relationship Id="rId79" Type="http://schemas.openxmlformats.org/officeDocument/2006/relationships/slideLayout" Target="../slideLayouts/slideLayout954.xml"/><Relationship Id="rId102" Type="http://schemas.openxmlformats.org/officeDocument/2006/relationships/slideLayout" Target="../slideLayouts/slideLayout977.xml"/><Relationship Id="rId123" Type="http://schemas.openxmlformats.org/officeDocument/2006/relationships/slideLayout" Target="../slideLayouts/slideLayout998.xml"/><Relationship Id="rId128" Type="http://schemas.openxmlformats.org/officeDocument/2006/relationships/slideLayout" Target="../slideLayouts/slideLayout1003.xml"/><Relationship Id="rId144" Type="http://schemas.openxmlformats.org/officeDocument/2006/relationships/slideLayout" Target="../slideLayouts/slideLayout1019.xml"/><Relationship Id="rId149" Type="http://schemas.openxmlformats.org/officeDocument/2006/relationships/slideLayout" Target="../slideLayouts/slideLayout1024.xml"/><Relationship Id="rId5" Type="http://schemas.openxmlformats.org/officeDocument/2006/relationships/slideLayout" Target="../slideLayouts/slideLayout880.xml"/><Relationship Id="rId90" Type="http://schemas.openxmlformats.org/officeDocument/2006/relationships/slideLayout" Target="../slideLayouts/slideLayout965.xml"/><Relationship Id="rId95" Type="http://schemas.openxmlformats.org/officeDocument/2006/relationships/slideLayout" Target="../slideLayouts/slideLayout970.xml"/><Relationship Id="rId160" Type="http://schemas.openxmlformats.org/officeDocument/2006/relationships/slideLayout" Target="../slideLayouts/slideLayout1035.xml"/><Relationship Id="rId165" Type="http://schemas.openxmlformats.org/officeDocument/2006/relationships/slideLayout" Target="../slideLayouts/slideLayout1040.xml"/><Relationship Id="rId181" Type="http://schemas.openxmlformats.org/officeDocument/2006/relationships/slideLayout" Target="../slideLayouts/slideLayout1056.xml"/><Relationship Id="rId186" Type="http://schemas.openxmlformats.org/officeDocument/2006/relationships/slideLayout" Target="../slideLayouts/slideLayout1061.xml"/><Relationship Id="rId211" Type="http://schemas.openxmlformats.org/officeDocument/2006/relationships/slideLayout" Target="../slideLayouts/slideLayout1086.xml"/><Relationship Id="rId22" Type="http://schemas.openxmlformats.org/officeDocument/2006/relationships/slideLayout" Target="../slideLayouts/slideLayout897.xml"/><Relationship Id="rId27" Type="http://schemas.openxmlformats.org/officeDocument/2006/relationships/slideLayout" Target="../slideLayouts/slideLayout902.xml"/><Relationship Id="rId43" Type="http://schemas.openxmlformats.org/officeDocument/2006/relationships/slideLayout" Target="../slideLayouts/slideLayout918.xml"/><Relationship Id="rId48" Type="http://schemas.openxmlformats.org/officeDocument/2006/relationships/slideLayout" Target="../slideLayouts/slideLayout923.xml"/><Relationship Id="rId64" Type="http://schemas.openxmlformats.org/officeDocument/2006/relationships/slideLayout" Target="../slideLayouts/slideLayout939.xml"/><Relationship Id="rId69" Type="http://schemas.openxmlformats.org/officeDocument/2006/relationships/slideLayout" Target="../slideLayouts/slideLayout944.xml"/><Relationship Id="rId113" Type="http://schemas.openxmlformats.org/officeDocument/2006/relationships/slideLayout" Target="../slideLayouts/slideLayout988.xml"/><Relationship Id="rId118" Type="http://schemas.openxmlformats.org/officeDocument/2006/relationships/slideLayout" Target="../slideLayouts/slideLayout993.xml"/><Relationship Id="rId134" Type="http://schemas.openxmlformats.org/officeDocument/2006/relationships/slideLayout" Target="../slideLayouts/slideLayout1009.xml"/><Relationship Id="rId139" Type="http://schemas.openxmlformats.org/officeDocument/2006/relationships/slideLayout" Target="../slideLayouts/slideLayout1014.xml"/><Relationship Id="rId80" Type="http://schemas.openxmlformats.org/officeDocument/2006/relationships/slideLayout" Target="../slideLayouts/slideLayout955.xml"/><Relationship Id="rId85" Type="http://schemas.openxmlformats.org/officeDocument/2006/relationships/slideLayout" Target="../slideLayouts/slideLayout960.xml"/><Relationship Id="rId150" Type="http://schemas.openxmlformats.org/officeDocument/2006/relationships/slideLayout" Target="../slideLayouts/slideLayout1025.xml"/><Relationship Id="rId155" Type="http://schemas.openxmlformats.org/officeDocument/2006/relationships/slideLayout" Target="../slideLayouts/slideLayout1030.xml"/><Relationship Id="rId171" Type="http://schemas.openxmlformats.org/officeDocument/2006/relationships/slideLayout" Target="../slideLayouts/slideLayout1046.xml"/><Relationship Id="rId176" Type="http://schemas.openxmlformats.org/officeDocument/2006/relationships/slideLayout" Target="../slideLayouts/slideLayout1051.xml"/><Relationship Id="rId192" Type="http://schemas.openxmlformats.org/officeDocument/2006/relationships/slideLayout" Target="../slideLayouts/slideLayout1067.xml"/><Relationship Id="rId197" Type="http://schemas.openxmlformats.org/officeDocument/2006/relationships/slideLayout" Target="../slideLayouts/slideLayout1072.xml"/><Relationship Id="rId206" Type="http://schemas.openxmlformats.org/officeDocument/2006/relationships/slideLayout" Target="../slideLayouts/slideLayout1081.xml"/><Relationship Id="rId201" Type="http://schemas.openxmlformats.org/officeDocument/2006/relationships/slideLayout" Target="../slideLayouts/slideLayout1076.xml"/><Relationship Id="rId12" Type="http://schemas.openxmlformats.org/officeDocument/2006/relationships/slideLayout" Target="../slideLayouts/slideLayout887.xml"/><Relationship Id="rId17" Type="http://schemas.openxmlformats.org/officeDocument/2006/relationships/slideLayout" Target="../slideLayouts/slideLayout892.xml"/><Relationship Id="rId33" Type="http://schemas.openxmlformats.org/officeDocument/2006/relationships/slideLayout" Target="../slideLayouts/slideLayout908.xml"/><Relationship Id="rId38" Type="http://schemas.openxmlformats.org/officeDocument/2006/relationships/slideLayout" Target="../slideLayouts/slideLayout913.xml"/><Relationship Id="rId59" Type="http://schemas.openxmlformats.org/officeDocument/2006/relationships/slideLayout" Target="../slideLayouts/slideLayout934.xml"/><Relationship Id="rId103" Type="http://schemas.openxmlformats.org/officeDocument/2006/relationships/slideLayout" Target="../slideLayouts/slideLayout978.xml"/><Relationship Id="rId108" Type="http://schemas.openxmlformats.org/officeDocument/2006/relationships/slideLayout" Target="../slideLayouts/slideLayout983.xml"/><Relationship Id="rId124" Type="http://schemas.openxmlformats.org/officeDocument/2006/relationships/slideLayout" Target="../slideLayouts/slideLayout999.xml"/><Relationship Id="rId129" Type="http://schemas.openxmlformats.org/officeDocument/2006/relationships/slideLayout" Target="../slideLayouts/slideLayout1004.xml"/><Relationship Id="rId54" Type="http://schemas.openxmlformats.org/officeDocument/2006/relationships/slideLayout" Target="../slideLayouts/slideLayout929.xml"/><Relationship Id="rId70" Type="http://schemas.openxmlformats.org/officeDocument/2006/relationships/slideLayout" Target="../slideLayouts/slideLayout945.xml"/><Relationship Id="rId75" Type="http://schemas.openxmlformats.org/officeDocument/2006/relationships/slideLayout" Target="../slideLayouts/slideLayout950.xml"/><Relationship Id="rId91" Type="http://schemas.openxmlformats.org/officeDocument/2006/relationships/slideLayout" Target="../slideLayouts/slideLayout966.xml"/><Relationship Id="rId96" Type="http://schemas.openxmlformats.org/officeDocument/2006/relationships/slideLayout" Target="../slideLayouts/slideLayout971.xml"/><Relationship Id="rId140" Type="http://schemas.openxmlformats.org/officeDocument/2006/relationships/slideLayout" Target="../slideLayouts/slideLayout1015.xml"/><Relationship Id="rId145" Type="http://schemas.openxmlformats.org/officeDocument/2006/relationships/slideLayout" Target="../slideLayouts/slideLayout1020.xml"/><Relationship Id="rId161" Type="http://schemas.openxmlformats.org/officeDocument/2006/relationships/slideLayout" Target="../slideLayouts/slideLayout1036.xml"/><Relationship Id="rId166" Type="http://schemas.openxmlformats.org/officeDocument/2006/relationships/slideLayout" Target="../slideLayouts/slideLayout1041.xml"/><Relationship Id="rId182" Type="http://schemas.openxmlformats.org/officeDocument/2006/relationships/slideLayout" Target="../slideLayouts/slideLayout1057.xml"/><Relationship Id="rId187" Type="http://schemas.openxmlformats.org/officeDocument/2006/relationships/slideLayout" Target="../slideLayouts/slideLayout1062.xml"/><Relationship Id="rId1" Type="http://schemas.openxmlformats.org/officeDocument/2006/relationships/slideLayout" Target="../slideLayouts/slideLayout876.xml"/><Relationship Id="rId6" Type="http://schemas.openxmlformats.org/officeDocument/2006/relationships/slideLayout" Target="../slideLayouts/slideLayout881.xml"/><Relationship Id="rId212" Type="http://schemas.openxmlformats.org/officeDocument/2006/relationships/slideLayout" Target="../slideLayouts/slideLayout1087.xml"/><Relationship Id="rId23" Type="http://schemas.openxmlformats.org/officeDocument/2006/relationships/slideLayout" Target="../slideLayouts/slideLayout898.xml"/><Relationship Id="rId28" Type="http://schemas.openxmlformats.org/officeDocument/2006/relationships/slideLayout" Target="../slideLayouts/slideLayout903.xml"/><Relationship Id="rId49" Type="http://schemas.openxmlformats.org/officeDocument/2006/relationships/slideLayout" Target="../slideLayouts/slideLayout924.xml"/><Relationship Id="rId114" Type="http://schemas.openxmlformats.org/officeDocument/2006/relationships/slideLayout" Target="../slideLayouts/slideLayout989.xml"/><Relationship Id="rId119" Type="http://schemas.openxmlformats.org/officeDocument/2006/relationships/slideLayout" Target="../slideLayouts/slideLayout994.xml"/><Relationship Id="rId44" Type="http://schemas.openxmlformats.org/officeDocument/2006/relationships/slideLayout" Target="../slideLayouts/slideLayout919.xml"/><Relationship Id="rId60" Type="http://schemas.openxmlformats.org/officeDocument/2006/relationships/slideLayout" Target="../slideLayouts/slideLayout935.xml"/><Relationship Id="rId65" Type="http://schemas.openxmlformats.org/officeDocument/2006/relationships/slideLayout" Target="../slideLayouts/slideLayout940.xml"/><Relationship Id="rId81" Type="http://schemas.openxmlformats.org/officeDocument/2006/relationships/slideLayout" Target="../slideLayouts/slideLayout956.xml"/><Relationship Id="rId86" Type="http://schemas.openxmlformats.org/officeDocument/2006/relationships/slideLayout" Target="../slideLayouts/slideLayout961.xml"/><Relationship Id="rId130" Type="http://schemas.openxmlformats.org/officeDocument/2006/relationships/slideLayout" Target="../slideLayouts/slideLayout1005.xml"/><Relationship Id="rId135" Type="http://schemas.openxmlformats.org/officeDocument/2006/relationships/slideLayout" Target="../slideLayouts/slideLayout1010.xml"/><Relationship Id="rId151" Type="http://schemas.openxmlformats.org/officeDocument/2006/relationships/slideLayout" Target="../slideLayouts/slideLayout1026.xml"/><Relationship Id="rId156" Type="http://schemas.openxmlformats.org/officeDocument/2006/relationships/slideLayout" Target="../slideLayouts/slideLayout1031.xml"/><Relationship Id="rId177" Type="http://schemas.openxmlformats.org/officeDocument/2006/relationships/slideLayout" Target="../slideLayouts/slideLayout1052.xml"/><Relationship Id="rId198" Type="http://schemas.openxmlformats.org/officeDocument/2006/relationships/slideLayout" Target="../slideLayouts/slideLayout1073.xml"/><Relationship Id="rId172" Type="http://schemas.openxmlformats.org/officeDocument/2006/relationships/slideLayout" Target="../slideLayouts/slideLayout1047.xml"/><Relationship Id="rId193" Type="http://schemas.openxmlformats.org/officeDocument/2006/relationships/slideLayout" Target="../slideLayouts/slideLayout1068.xml"/><Relationship Id="rId202" Type="http://schemas.openxmlformats.org/officeDocument/2006/relationships/slideLayout" Target="../slideLayouts/slideLayout1077.xml"/><Relationship Id="rId207" Type="http://schemas.openxmlformats.org/officeDocument/2006/relationships/slideLayout" Target="../slideLayouts/slideLayout1082.xml"/><Relationship Id="rId13" Type="http://schemas.openxmlformats.org/officeDocument/2006/relationships/slideLayout" Target="../slideLayouts/slideLayout888.xml"/><Relationship Id="rId18" Type="http://schemas.openxmlformats.org/officeDocument/2006/relationships/slideLayout" Target="../slideLayouts/slideLayout893.xml"/><Relationship Id="rId39" Type="http://schemas.openxmlformats.org/officeDocument/2006/relationships/slideLayout" Target="../slideLayouts/slideLayout914.xml"/><Relationship Id="rId109" Type="http://schemas.openxmlformats.org/officeDocument/2006/relationships/slideLayout" Target="../slideLayouts/slideLayout984.xml"/><Relationship Id="rId34" Type="http://schemas.openxmlformats.org/officeDocument/2006/relationships/slideLayout" Target="../slideLayouts/slideLayout909.xml"/><Relationship Id="rId50" Type="http://schemas.openxmlformats.org/officeDocument/2006/relationships/slideLayout" Target="../slideLayouts/slideLayout925.xml"/><Relationship Id="rId55" Type="http://schemas.openxmlformats.org/officeDocument/2006/relationships/slideLayout" Target="../slideLayouts/slideLayout930.xml"/><Relationship Id="rId76" Type="http://schemas.openxmlformats.org/officeDocument/2006/relationships/slideLayout" Target="../slideLayouts/slideLayout951.xml"/><Relationship Id="rId97" Type="http://schemas.openxmlformats.org/officeDocument/2006/relationships/slideLayout" Target="../slideLayouts/slideLayout972.xml"/><Relationship Id="rId104" Type="http://schemas.openxmlformats.org/officeDocument/2006/relationships/slideLayout" Target="../slideLayouts/slideLayout979.xml"/><Relationship Id="rId120" Type="http://schemas.openxmlformats.org/officeDocument/2006/relationships/slideLayout" Target="../slideLayouts/slideLayout995.xml"/><Relationship Id="rId125" Type="http://schemas.openxmlformats.org/officeDocument/2006/relationships/slideLayout" Target="../slideLayouts/slideLayout1000.xml"/><Relationship Id="rId141" Type="http://schemas.openxmlformats.org/officeDocument/2006/relationships/slideLayout" Target="../slideLayouts/slideLayout1016.xml"/><Relationship Id="rId146" Type="http://schemas.openxmlformats.org/officeDocument/2006/relationships/slideLayout" Target="../slideLayouts/slideLayout1021.xml"/><Relationship Id="rId167" Type="http://schemas.openxmlformats.org/officeDocument/2006/relationships/slideLayout" Target="../slideLayouts/slideLayout1042.xml"/><Relationship Id="rId188" Type="http://schemas.openxmlformats.org/officeDocument/2006/relationships/slideLayout" Target="../slideLayouts/slideLayout1063.xml"/><Relationship Id="rId7" Type="http://schemas.openxmlformats.org/officeDocument/2006/relationships/slideLayout" Target="../slideLayouts/slideLayout882.xml"/><Relationship Id="rId71" Type="http://schemas.openxmlformats.org/officeDocument/2006/relationships/slideLayout" Target="../slideLayouts/slideLayout946.xml"/><Relationship Id="rId92" Type="http://schemas.openxmlformats.org/officeDocument/2006/relationships/slideLayout" Target="../slideLayouts/slideLayout967.xml"/><Relationship Id="rId162" Type="http://schemas.openxmlformats.org/officeDocument/2006/relationships/slideLayout" Target="../slideLayouts/slideLayout1037.xml"/><Relationship Id="rId183" Type="http://schemas.openxmlformats.org/officeDocument/2006/relationships/slideLayout" Target="../slideLayouts/slideLayout1058.xml"/><Relationship Id="rId213" Type="http://schemas.openxmlformats.org/officeDocument/2006/relationships/slideLayout" Target="../slideLayouts/slideLayout1088.xml"/><Relationship Id="rId2" Type="http://schemas.openxmlformats.org/officeDocument/2006/relationships/slideLayout" Target="../slideLayouts/slideLayout877.xml"/><Relationship Id="rId29" Type="http://schemas.openxmlformats.org/officeDocument/2006/relationships/slideLayout" Target="../slideLayouts/slideLayout904.xml"/><Relationship Id="rId24" Type="http://schemas.openxmlformats.org/officeDocument/2006/relationships/slideLayout" Target="../slideLayouts/slideLayout899.xml"/><Relationship Id="rId40" Type="http://schemas.openxmlformats.org/officeDocument/2006/relationships/slideLayout" Target="../slideLayouts/slideLayout915.xml"/><Relationship Id="rId45" Type="http://schemas.openxmlformats.org/officeDocument/2006/relationships/slideLayout" Target="../slideLayouts/slideLayout920.xml"/><Relationship Id="rId66" Type="http://schemas.openxmlformats.org/officeDocument/2006/relationships/slideLayout" Target="../slideLayouts/slideLayout941.xml"/><Relationship Id="rId87" Type="http://schemas.openxmlformats.org/officeDocument/2006/relationships/slideLayout" Target="../slideLayouts/slideLayout962.xml"/><Relationship Id="rId110" Type="http://schemas.openxmlformats.org/officeDocument/2006/relationships/slideLayout" Target="../slideLayouts/slideLayout985.xml"/><Relationship Id="rId115" Type="http://schemas.openxmlformats.org/officeDocument/2006/relationships/slideLayout" Target="../slideLayouts/slideLayout990.xml"/><Relationship Id="rId131" Type="http://schemas.openxmlformats.org/officeDocument/2006/relationships/slideLayout" Target="../slideLayouts/slideLayout1006.xml"/><Relationship Id="rId136" Type="http://schemas.openxmlformats.org/officeDocument/2006/relationships/slideLayout" Target="../slideLayouts/slideLayout1011.xml"/><Relationship Id="rId157" Type="http://schemas.openxmlformats.org/officeDocument/2006/relationships/slideLayout" Target="../slideLayouts/slideLayout1032.xml"/><Relationship Id="rId178" Type="http://schemas.openxmlformats.org/officeDocument/2006/relationships/slideLayout" Target="../slideLayouts/slideLayout1053.xml"/><Relationship Id="rId61" Type="http://schemas.openxmlformats.org/officeDocument/2006/relationships/slideLayout" Target="../slideLayouts/slideLayout936.xml"/><Relationship Id="rId82" Type="http://schemas.openxmlformats.org/officeDocument/2006/relationships/slideLayout" Target="../slideLayouts/slideLayout957.xml"/><Relationship Id="rId152" Type="http://schemas.openxmlformats.org/officeDocument/2006/relationships/slideLayout" Target="../slideLayouts/slideLayout1027.xml"/><Relationship Id="rId173" Type="http://schemas.openxmlformats.org/officeDocument/2006/relationships/slideLayout" Target="../slideLayouts/slideLayout1048.xml"/><Relationship Id="rId194" Type="http://schemas.openxmlformats.org/officeDocument/2006/relationships/slideLayout" Target="../slideLayouts/slideLayout1069.xml"/><Relationship Id="rId199" Type="http://schemas.openxmlformats.org/officeDocument/2006/relationships/slideLayout" Target="../slideLayouts/slideLayout1074.xml"/><Relationship Id="rId203" Type="http://schemas.openxmlformats.org/officeDocument/2006/relationships/slideLayout" Target="../slideLayouts/slideLayout1078.xml"/><Relationship Id="rId208" Type="http://schemas.openxmlformats.org/officeDocument/2006/relationships/slideLayout" Target="../slideLayouts/slideLayout1083.xml"/><Relationship Id="rId19" Type="http://schemas.openxmlformats.org/officeDocument/2006/relationships/slideLayout" Target="../slideLayouts/slideLayout894.xml"/><Relationship Id="rId14" Type="http://schemas.openxmlformats.org/officeDocument/2006/relationships/slideLayout" Target="../slideLayouts/slideLayout889.xml"/><Relationship Id="rId30" Type="http://schemas.openxmlformats.org/officeDocument/2006/relationships/slideLayout" Target="../slideLayouts/slideLayout905.xml"/><Relationship Id="rId35" Type="http://schemas.openxmlformats.org/officeDocument/2006/relationships/slideLayout" Target="../slideLayouts/slideLayout910.xml"/><Relationship Id="rId56" Type="http://schemas.openxmlformats.org/officeDocument/2006/relationships/slideLayout" Target="../slideLayouts/slideLayout931.xml"/><Relationship Id="rId77" Type="http://schemas.openxmlformats.org/officeDocument/2006/relationships/slideLayout" Target="../slideLayouts/slideLayout952.xml"/><Relationship Id="rId100" Type="http://schemas.openxmlformats.org/officeDocument/2006/relationships/slideLayout" Target="../slideLayouts/slideLayout975.xml"/><Relationship Id="rId105" Type="http://schemas.openxmlformats.org/officeDocument/2006/relationships/slideLayout" Target="../slideLayouts/slideLayout980.xml"/><Relationship Id="rId126" Type="http://schemas.openxmlformats.org/officeDocument/2006/relationships/slideLayout" Target="../slideLayouts/slideLayout1001.xml"/><Relationship Id="rId147" Type="http://schemas.openxmlformats.org/officeDocument/2006/relationships/slideLayout" Target="../slideLayouts/slideLayout1022.xml"/><Relationship Id="rId168" Type="http://schemas.openxmlformats.org/officeDocument/2006/relationships/slideLayout" Target="../slideLayouts/slideLayout1043.xml"/><Relationship Id="rId8" Type="http://schemas.openxmlformats.org/officeDocument/2006/relationships/slideLayout" Target="../slideLayouts/slideLayout883.xml"/><Relationship Id="rId51" Type="http://schemas.openxmlformats.org/officeDocument/2006/relationships/slideLayout" Target="../slideLayouts/slideLayout926.xml"/><Relationship Id="rId72" Type="http://schemas.openxmlformats.org/officeDocument/2006/relationships/slideLayout" Target="../slideLayouts/slideLayout947.xml"/><Relationship Id="rId93" Type="http://schemas.openxmlformats.org/officeDocument/2006/relationships/slideLayout" Target="../slideLayouts/slideLayout968.xml"/><Relationship Id="rId98" Type="http://schemas.openxmlformats.org/officeDocument/2006/relationships/slideLayout" Target="../slideLayouts/slideLayout973.xml"/><Relationship Id="rId121" Type="http://schemas.openxmlformats.org/officeDocument/2006/relationships/slideLayout" Target="../slideLayouts/slideLayout996.xml"/><Relationship Id="rId142" Type="http://schemas.openxmlformats.org/officeDocument/2006/relationships/slideLayout" Target="../slideLayouts/slideLayout1017.xml"/><Relationship Id="rId163" Type="http://schemas.openxmlformats.org/officeDocument/2006/relationships/slideLayout" Target="../slideLayouts/slideLayout1038.xml"/><Relationship Id="rId184" Type="http://schemas.openxmlformats.org/officeDocument/2006/relationships/slideLayout" Target="../slideLayouts/slideLayout1059.xml"/><Relationship Id="rId189" Type="http://schemas.openxmlformats.org/officeDocument/2006/relationships/slideLayout" Target="../slideLayouts/slideLayout1064.xml"/><Relationship Id="rId3" Type="http://schemas.openxmlformats.org/officeDocument/2006/relationships/slideLayout" Target="../slideLayouts/slideLayout878.xml"/><Relationship Id="rId214" Type="http://schemas.openxmlformats.org/officeDocument/2006/relationships/theme" Target="../theme/theme13.xml"/><Relationship Id="rId25" Type="http://schemas.openxmlformats.org/officeDocument/2006/relationships/slideLayout" Target="../slideLayouts/slideLayout900.xml"/><Relationship Id="rId46" Type="http://schemas.openxmlformats.org/officeDocument/2006/relationships/slideLayout" Target="../slideLayouts/slideLayout921.xml"/><Relationship Id="rId67" Type="http://schemas.openxmlformats.org/officeDocument/2006/relationships/slideLayout" Target="../slideLayouts/slideLayout942.xml"/><Relationship Id="rId116" Type="http://schemas.openxmlformats.org/officeDocument/2006/relationships/slideLayout" Target="../slideLayouts/slideLayout991.xml"/><Relationship Id="rId137" Type="http://schemas.openxmlformats.org/officeDocument/2006/relationships/slideLayout" Target="../slideLayouts/slideLayout1012.xml"/><Relationship Id="rId158" Type="http://schemas.openxmlformats.org/officeDocument/2006/relationships/slideLayout" Target="../slideLayouts/slideLayout1033.xml"/><Relationship Id="rId20" Type="http://schemas.openxmlformats.org/officeDocument/2006/relationships/slideLayout" Target="../slideLayouts/slideLayout895.xml"/><Relationship Id="rId41" Type="http://schemas.openxmlformats.org/officeDocument/2006/relationships/slideLayout" Target="../slideLayouts/slideLayout916.xml"/><Relationship Id="rId62" Type="http://schemas.openxmlformats.org/officeDocument/2006/relationships/slideLayout" Target="../slideLayouts/slideLayout937.xml"/><Relationship Id="rId83" Type="http://schemas.openxmlformats.org/officeDocument/2006/relationships/slideLayout" Target="../slideLayouts/slideLayout958.xml"/><Relationship Id="rId88" Type="http://schemas.openxmlformats.org/officeDocument/2006/relationships/slideLayout" Target="../slideLayouts/slideLayout963.xml"/><Relationship Id="rId111" Type="http://schemas.openxmlformats.org/officeDocument/2006/relationships/slideLayout" Target="../slideLayouts/slideLayout986.xml"/><Relationship Id="rId132" Type="http://schemas.openxmlformats.org/officeDocument/2006/relationships/slideLayout" Target="../slideLayouts/slideLayout1007.xml"/><Relationship Id="rId153" Type="http://schemas.openxmlformats.org/officeDocument/2006/relationships/slideLayout" Target="../slideLayouts/slideLayout1028.xml"/><Relationship Id="rId174" Type="http://schemas.openxmlformats.org/officeDocument/2006/relationships/slideLayout" Target="../slideLayouts/slideLayout1049.xml"/><Relationship Id="rId179" Type="http://schemas.openxmlformats.org/officeDocument/2006/relationships/slideLayout" Target="../slideLayouts/slideLayout1054.xml"/><Relationship Id="rId195" Type="http://schemas.openxmlformats.org/officeDocument/2006/relationships/slideLayout" Target="../slideLayouts/slideLayout1070.xml"/><Relationship Id="rId209" Type="http://schemas.openxmlformats.org/officeDocument/2006/relationships/slideLayout" Target="../slideLayouts/slideLayout1084.xml"/><Relationship Id="rId190" Type="http://schemas.openxmlformats.org/officeDocument/2006/relationships/slideLayout" Target="../slideLayouts/slideLayout1065.xml"/><Relationship Id="rId204" Type="http://schemas.openxmlformats.org/officeDocument/2006/relationships/slideLayout" Target="../slideLayouts/slideLayout1079.xml"/><Relationship Id="rId15" Type="http://schemas.openxmlformats.org/officeDocument/2006/relationships/slideLayout" Target="../slideLayouts/slideLayout890.xml"/><Relationship Id="rId36" Type="http://schemas.openxmlformats.org/officeDocument/2006/relationships/slideLayout" Target="../slideLayouts/slideLayout911.xml"/><Relationship Id="rId57" Type="http://schemas.openxmlformats.org/officeDocument/2006/relationships/slideLayout" Target="../slideLayouts/slideLayout932.xml"/><Relationship Id="rId106" Type="http://schemas.openxmlformats.org/officeDocument/2006/relationships/slideLayout" Target="../slideLayouts/slideLayout981.xml"/><Relationship Id="rId127" Type="http://schemas.openxmlformats.org/officeDocument/2006/relationships/slideLayout" Target="../slideLayouts/slideLayout1002.xml"/><Relationship Id="rId10" Type="http://schemas.openxmlformats.org/officeDocument/2006/relationships/slideLayout" Target="../slideLayouts/slideLayout885.xml"/><Relationship Id="rId31" Type="http://schemas.openxmlformats.org/officeDocument/2006/relationships/slideLayout" Target="../slideLayouts/slideLayout906.xml"/><Relationship Id="rId52" Type="http://schemas.openxmlformats.org/officeDocument/2006/relationships/slideLayout" Target="../slideLayouts/slideLayout927.xml"/><Relationship Id="rId73" Type="http://schemas.openxmlformats.org/officeDocument/2006/relationships/slideLayout" Target="../slideLayouts/slideLayout948.xml"/><Relationship Id="rId78" Type="http://schemas.openxmlformats.org/officeDocument/2006/relationships/slideLayout" Target="../slideLayouts/slideLayout953.xml"/><Relationship Id="rId94" Type="http://schemas.openxmlformats.org/officeDocument/2006/relationships/slideLayout" Target="../slideLayouts/slideLayout969.xml"/><Relationship Id="rId99" Type="http://schemas.openxmlformats.org/officeDocument/2006/relationships/slideLayout" Target="../slideLayouts/slideLayout974.xml"/><Relationship Id="rId101" Type="http://schemas.openxmlformats.org/officeDocument/2006/relationships/slideLayout" Target="../slideLayouts/slideLayout976.xml"/><Relationship Id="rId122" Type="http://schemas.openxmlformats.org/officeDocument/2006/relationships/slideLayout" Target="../slideLayouts/slideLayout997.xml"/><Relationship Id="rId143" Type="http://schemas.openxmlformats.org/officeDocument/2006/relationships/slideLayout" Target="../slideLayouts/slideLayout1018.xml"/><Relationship Id="rId148" Type="http://schemas.openxmlformats.org/officeDocument/2006/relationships/slideLayout" Target="../slideLayouts/slideLayout1023.xml"/><Relationship Id="rId164" Type="http://schemas.openxmlformats.org/officeDocument/2006/relationships/slideLayout" Target="../slideLayouts/slideLayout1039.xml"/><Relationship Id="rId169" Type="http://schemas.openxmlformats.org/officeDocument/2006/relationships/slideLayout" Target="../slideLayouts/slideLayout1044.xml"/><Relationship Id="rId185" Type="http://schemas.openxmlformats.org/officeDocument/2006/relationships/slideLayout" Target="../slideLayouts/slideLayout1060.xml"/><Relationship Id="rId4" Type="http://schemas.openxmlformats.org/officeDocument/2006/relationships/slideLayout" Target="../slideLayouts/slideLayout879.xml"/><Relationship Id="rId9" Type="http://schemas.openxmlformats.org/officeDocument/2006/relationships/slideLayout" Target="../slideLayouts/slideLayout884.xml"/><Relationship Id="rId180" Type="http://schemas.openxmlformats.org/officeDocument/2006/relationships/slideLayout" Target="../slideLayouts/slideLayout1055.xml"/><Relationship Id="rId210" Type="http://schemas.openxmlformats.org/officeDocument/2006/relationships/slideLayout" Target="../slideLayouts/slideLayout1085.xml"/><Relationship Id="rId26" Type="http://schemas.openxmlformats.org/officeDocument/2006/relationships/slideLayout" Target="../slideLayouts/slideLayout901.xml"/><Relationship Id="rId47" Type="http://schemas.openxmlformats.org/officeDocument/2006/relationships/slideLayout" Target="../slideLayouts/slideLayout922.xml"/><Relationship Id="rId68" Type="http://schemas.openxmlformats.org/officeDocument/2006/relationships/slideLayout" Target="../slideLayouts/slideLayout943.xml"/><Relationship Id="rId89" Type="http://schemas.openxmlformats.org/officeDocument/2006/relationships/slideLayout" Target="../slideLayouts/slideLayout964.xml"/><Relationship Id="rId112" Type="http://schemas.openxmlformats.org/officeDocument/2006/relationships/slideLayout" Target="../slideLayouts/slideLayout987.xml"/><Relationship Id="rId133" Type="http://schemas.openxmlformats.org/officeDocument/2006/relationships/slideLayout" Target="../slideLayouts/slideLayout1008.xml"/><Relationship Id="rId154" Type="http://schemas.openxmlformats.org/officeDocument/2006/relationships/slideLayout" Target="../slideLayouts/slideLayout1029.xml"/><Relationship Id="rId175" Type="http://schemas.openxmlformats.org/officeDocument/2006/relationships/slideLayout" Target="../slideLayouts/slideLayout1050.xml"/><Relationship Id="rId196" Type="http://schemas.openxmlformats.org/officeDocument/2006/relationships/slideLayout" Target="../slideLayouts/slideLayout1071.xml"/><Relationship Id="rId200" Type="http://schemas.openxmlformats.org/officeDocument/2006/relationships/slideLayout" Target="../slideLayouts/slideLayout1075.xml"/><Relationship Id="rId16" Type="http://schemas.openxmlformats.org/officeDocument/2006/relationships/slideLayout" Target="../slideLayouts/slideLayout891.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1091.xml"/><Relationship Id="rId2" Type="http://schemas.openxmlformats.org/officeDocument/2006/relationships/slideLayout" Target="../slideLayouts/slideLayout1090.xml"/><Relationship Id="rId1" Type="http://schemas.openxmlformats.org/officeDocument/2006/relationships/slideLayout" Target="../slideLayouts/slideLayout1089.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theme" Target="../theme/theme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9.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slideLayout" Target="../slideLayouts/slideLayout85.xml"/><Relationship Id="rId47" Type="http://schemas.openxmlformats.org/officeDocument/2006/relationships/slideLayout" Target="../slideLayouts/slideLayout90.xml"/><Relationship Id="rId50" Type="http://schemas.openxmlformats.org/officeDocument/2006/relationships/slideLayout" Target="../slideLayouts/slideLayout93.xml"/><Relationship Id="rId55" Type="http://schemas.openxmlformats.org/officeDocument/2006/relationships/slideLayout" Target="../slideLayouts/slideLayout98.xml"/><Relationship Id="rId63" Type="http://schemas.openxmlformats.org/officeDocument/2006/relationships/slideLayout" Target="../slideLayouts/slideLayout106.xml"/><Relationship Id="rId68" Type="http://schemas.openxmlformats.org/officeDocument/2006/relationships/slideLayout" Target="../slideLayouts/slideLayout111.xml"/><Relationship Id="rId76" Type="http://schemas.openxmlformats.org/officeDocument/2006/relationships/slideLayout" Target="../slideLayouts/slideLayout119.xml"/><Relationship Id="rId84" Type="http://schemas.openxmlformats.org/officeDocument/2006/relationships/slideLayout" Target="../slideLayouts/slideLayout127.xml"/><Relationship Id="rId89" Type="http://schemas.openxmlformats.org/officeDocument/2006/relationships/slideLayout" Target="../slideLayouts/slideLayout132.xml"/><Relationship Id="rId97" Type="http://schemas.openxmlformats.org/officeDocument/2006/relationships/slideLayout" Target="../slideLayouts/slideLayout140.xml"/><Relationship Id="rId7" Type="http://schemas.openxmlformats.org/officeDocument/2006/relationships/slideLayout" Target="../slideLayouts/slideLayout50.xml"/><Relationship Id="rId71" Type="http://schemas.openxmlformats.org/officeDocument/2006/relationships/slideLayout" Target="../slideLayouts/slideLayout114.xml"/><Relationship Id="rId92" Type="http://schemas.openxmlformats.org/officeDocument/2006/relationships/slideLayout" Target="../slideLayouts/slideLayout135.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9" Type="http://schemas.openxmlformats.org/officeDocument/2006/relationships/slideLayout" Target="../slideLayouts/slideLayout72.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slideLayout" Target="../slideLayouts/slideLayout83.xml"/><Relationship Id="rId45" Type="http://schemas.openxmlformats.org/officeDocument/2006/relationships/slideLayout" Target="../slideLayouts/slideLayout88.xml"/><Relationship Id="rId53" Type="http://schemas.openxmlformats.org/officeDocument/2006/relationships/slideLayout" Target="../slideLayouts/slideLayout96.xml"/><Relationship Id="rId58" Type="http://schemas.openxmlformats.org/officeDocument/2006/relationships/slideLayout" Target="../slideLayouts/slideLayout101.xml"/><Relationship Id="rId66" Type="http://schemas.openxmlformats.org/officeDocument/2006/relationships/slideLayout" Target="../slideLayouts/slideLayout109.xml"/><Relationship Id="rId74" Type="http://schemas.openxmlformats.org/officeDocument/2006/relationships/slideLayout" Target="../slideLayouts/slideLayout117.xml"/><Relationship Id="rId79" Type="http://schemas.openxmlformats.org/officeDocument/2006/relationships/slideLayout" Target="../slideLayouts/slideLayout122.xml"/><Relationship Id="rId87" Type="http://schemas.openxmlformats.org/officeDocument/2006/relationships/slideLayout" Target="../slideLayouts/slideLayout130.xml"/><Relationship Id="rId5" Type="http://schemas.openxmlformats.org/officeDocument/2006/relationships/slideLayout" Target="../slideLayouts/slideLayout48.xml"/><Relationship Id="rId61" Type="http://schemas.openxmlformats.org/officeDocument/2006/relationships/slideLayout" Target="../slideLayouts/slideLayout104.xml"/><Relationship Id="rId82" Type="http://schemas.openxmlformats.org/officeDocument/2006/relationships/slideLayout" Target="../slideLayouts/slideLayout125.xml"/><Relationship Id="rId90" Type="http://schemas.openxmlformats.org/officeDocument/2006/relationships/slideLayout" Target="../slideLayouts/slideLayout133.xml"/><Relationship Id="rId95" Type="http://schemas.openxmlformats.org/officeDocument/2006/relationships/slideLayout" Target="../slideLayouts/slideLayout138.xml"/><Relationship Id="rId19" Type="http://schemas.openxmlformats.org/officeDocument/2006/relationships/slideLayout" Target="../slideLayouts/slideLayout6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43" Type="http://schemas.openxmlformats.org/officeDocument/2006/relationships/slideLayout" Target="../slideLayouts/slideLayout86.xml"/><Relationship Id="rId48" Type="http://schemas.openxmlformats.org/officeDocument/2006/relationships/slideLayout" Target="../slideLayouts/slideLayout91.xml"/><Relationship Id="rId56" Type="http://schemas.openxmlformats.org/officeDocument/2006/relationships/slideLayout" Target="../slideLayouts/slideLayout99.xml"/><Relationship Id="rId64" Type="http://schemas.openxmlformats.org/officeDocument/2006/relationships/slideLayout" Target="../slideLayouts/slideLayout107.xml"/><Relationship Id="rId69" Type="http://schemas.openxmlformats.org/officeDocument/2006/relationships/slideLayout" Target="../slideLayouts/slideLayout112.xml"/><Relationship Id="rId77" Type="http://schemas.openxmlformats.org/officeDocument/2006/relationships/slideLayout" Target="../slideLayouts/slideLayout120.xml"/><Relationship Id="rId8" Type="http://schemas.openxmlformats.org/officeDocument/2006/relationships/slideLayout" Target="../slideLayouts/slideLayout51.xml"/><Relationship Id="rId51" Type="http://schemas.openxmlformats.org/officeDocument/2006/relationships/slideLayout" Target="../slideLayouts/slideLayout94.xml"/><Relationship Id="rId72" Type="http://schemas.openxmlformats.org/officeDocument/2006/relationships/slideLayout" Target="../slideLayouts/slideLayout115.xml"/><Relationship Id="rId80" Type="http://schemas.openxmlformats.org/officeDocument/2006/relationships/slideLayout" Target="../slideLayouts/slideLayout123.xml"/><Relationship Id="rId85" Type="http://schemas.openxmlformats.org/officeDocument/2006/relationships/slideLayout" Target="../slideLayouts/slideLayout128.xml"/><Relationship Id="rId93" Type="http://schemas.openxmlformats.org/officeDocument/2006/relationships/slideLayout" Target="../slideLayouts/slideLayout136.xml"/><Relationship Id="rId98" Type="http://schemas.openxmlformats.org/officeDocument/2006/relationships/slideLayout" Target="../slideLayouts/slideLayout141.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 Id="rId46" Type="http://schemas.openxmlformats.org/officeDocument/2006/relationships/slideLayout" Target="../slideLayouts/slideLayout89.xml"/><Relationship Id="rId59" Type="http://schemas.openxmlformats.org/officeDocument/2006/relationships/slideLayout" Target="../slideLayouts/slideLayout102.xml"/><Relationship Id="rId67" Type="http://schemas.openxmlformats.org/officeDocument/2006/relationships/slideLayout" Target="../slideLayouts/slideLayout110.xml"/><Relationship Id="rId20" Type="http://schemas.openxmlformats.org/officeDocument/2006/relationships/slideLayout" Target="../slideLayouts/slideLayout63.xml"/><Relationship Id="rId41" Type="http://schemas.openxmlformats.org/officeDocument/2006/relationships/slideLayout" Target="../slideLayouts/slideLayout84.xml"/><Relationship Id="rId54" Type="http://schemas.openxmlformats.org/officeDocument/2006/relationships/slideLayout" Target="../slideLayouts/slideLayout97.xml"/><Relationship Id="rId62" Type="http://schemas.openxmlformats.org/officeDocument/2006/relationships/slideLayout" Target="../slideLayouts/slideLayout105.xml"/><Relationship Id="rId70" Type="http://schemas.openxmlformats.org/officeDocument/2006/relationships/slideLayout" Target="../slideLayouts/slideLayout113.xml"/><Relationship Id="rId75" Type="http://schemas.openxmlformats.org/officeDocument/2006/relationships/slideLayout" Target="../slideLayouts/slideLayout118.xml"/><Relationship Id="rId83" Type="http://schemas.openxmlformats.org/officeDocument/2006/relationships/slideLayout" Target="../slideLayouts/slideLayout126.xml"/><Relationship Id="rId88" Type="http://schemas.openxmlformats.org/officeDocument/2006/relationships/slideLayout" Target="../slideLayouts/slideLayout131.xml"/><Relationship Id="rId91" Type="http://schemas.openxmlformats.org/officeDocument/2006/relationships/slideLayout" Target="../slideLayouts/slideLayout134.xml"/><Relationship Id="rId96" Type="http://schemas.openxmlformats.org/officeDocument/2006/relationships/slideLayout" Target="../slideLayouts/slideLayout13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49" Type="http://schemas.openxmlformats.org/officeDocument/2006/relationships/slideLayout" Target="../slideLayouts/slideLayout92.xml"/><Relationship Id="rId57" Type="http://schemas.openxmlformats.org/officeDocument/2006/relationships/slideLayout" Target="../slideLayouts/slideLayout100.xml"/><Relationship Id="rId10" Type="http://schemas.openxmlformats.org/officeDocument/2006/relationships/slideLayout" Target="../slideLayouts/slideLayout53.xml"/><Relationship Id="rId31" Type="http://schemas.openxmlformats.org/officeDocument/2006/relationships/slideLayout" Target="../slideLayouts/slideLayout74.xml"/><Relationship Id="rId44" Type="http://schemas.openxmlformats.org/officeDocument/2006/relationships/slideLayout" Target="../slideLayouts/slideLayout87.xml"/><Relationship Id="rId52" Type="http://schemas.openxmlformats.org/officeDocument/2006/relationships/slideLayout" Target="../slideLayouts/slideLayout95.xml"/><Relationship Id="rId60" Type="http://schemas.openxmlformats.org/officeDocument/2006/relationships/slideLayout" Target="../slideLayouts/slideLayout103.xml"/><Relationship Id="rId65" Type="http://schemas.openxmlformats.org/officeDocument/2006/relationships/slideLayout" Target="../slideLayouts/slideLayout108.xml"/><Relationship Id="rId73" Type="http://schemas.openxmlformats.org/officeDocument/2006/relationships/slideLayout" Target="../slideLayouts/slideLayout116.xml"/><Relationship Id="rId78" Type="http://schemas.openxmlformats.org/officeDocument/2006/relationships/slideLayout" Target="../slideLayouts/slideLayout121.xml"/><Relationship Id="rId81" Type="http://schemas.openxmlformats.org/officeDocument/2006/relationships/slideLayout" Target="../slideLayouts/slideLayout124.xml"/><Relationship Id="rId86" Type="http://schemas.openxmlformats.org/officeDocument/2006/relationships/slideLayout" Target="../slideLayouts/slideLayout129.xml"/><Relationship Id="rId94" Type="http://schemas.openxmlformats.org/officeDocument/2006/relationships/slideLayout" Target="../slideLayouts/slideLayout137.xml"/><Relationship Id="rId99" Type="http://schemas.openxmlformats.org/officeDocument/2006/relationships/theme" Target="../theme/theme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9" Type="http://schemas.openxmlformats.org/officeDocument/2006/relationships/slideLayout" Target="../slideLayouts/slideLayout8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9" Type="http://schemas.openxmlformats.org/officeDocument/2006/relationships/slideLayout" Target="../slideLayouts/slideLayout180.xml"/><Relationship Id="rId21" Type="http://schemas.openxmlformats.org/officeDocument/2006/relationships/slideLayout" Target="../slideLayouts/slideLayout162.xml"/><Relationship Id="rId34" Type="http://schemas.openxmlformats.org/officeDocument/2006/relationships/slideLayout" Target="../slideLayouts/slideLayout175.xml"/><Relationship Id="rId42" Type="http://schemas.openxmlformats.org/officeDocument/2006/relationships/slideLayout" Target="../slideLayouts/slideLayout183.xml"/><Relationship Id="rId47" Type="http://schemas.openxmlformats.org/officeDocument/2006/relationships/slideLayout" Target="../slideLayouts/slideLayout188.xml"/><Relationship Id="rId50" Type="http://schemas.openxmlformats.org/officeDocument/2006/relationships/slideLayout" Target="../slideLayouts/slideLayout191.xml"/><Relationship Id="rId55" Type="http://schemas.openxmlformats.org/officeDocument/2006/relationships/slideLayout" Target="../slideLayouts/slideLayout196.xml"/><Relationship Id="rId63" Type="http://schemas.openxmlformats.org/officeDocument/2006/relationships/slideLayout" Target="../slideLayouts/slideLayout204.xml"/><Relationship Id="rId68" Type="http://schemas.openxmlformats.org/officeDocument/2006/relationships/slideLayout" Target="../slideLayouts/slideLayout209.xml"/><Relationship Id="rId76" Type="http://schemas.openxmlformats.org/officeDocument/2006/relationships/slideLayout" Target="../slideLayouts/slideLayout217.xml"/><Relationship Id="rId84" Type="http://schemas.openxmlformats.org/officeDocument/2006/relationships/slideLayout" Target="../slideLayouts/slideLayout225.xml"/><Relationship Id="rId89" Type="http://schemas.openxmlformats.org/officeDocument/2006/relationships/slideLayout" Target="../slideLayouts/slideLayout230.xml"/><Relationship Id="rId7" Type="http://schemas.openxmlformats.org/officeDocument/2006/relationships/slideLayout" Target="../slideLayouts/slideLayout148.xml"/><Relationship Id="rId71" Type="http://schemas.openxmlformats.org/officeDocument/2006/relationships/slideLayout" Target="../slideLayouts/slideLayout212.xml"/><Relationship Id="rId92" Type="http://schemas.openxmlformats.org/officeDocument/2006/relationships/slideLayout" Target="../slideLayouts/slideLayout233.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9" Type="http://schemas.openxmlformats.org/officeDocument/2006/relationships/slideLayout" Target="../slideLayouts/slideLayout170.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37" Type="http://schemas.openxmlformats.org/officeDocument/2006/relationships/slideLayout" Target="../slideLayouts/slideLayout178.xml"/><Relationship Id="rId40" Type="http://schemas.openxmlformats.org/officeDocument/2006/relationships/slideLayout" Target="../slideLayouts/slideLayout181.xml"/><Relationship Id="rId45" Type="http://schemas.openxmlformats.org/officeDocument/2006/relationships/slideLayout" Target="../slideLayouts/slideLayout186.xml"/><Relationship Id="rId53" Type="http://schemas.openxmlformats.org/officeDocument/2006/relationships/slideLayout" Target="../slideLayouts/slideLayout194.xml"/><Relationship Id="rId58" Type="http://schemas.openxmlformats.org/officeDocument/2006/relationships/slideLayout" Target="../slideLayouts/slideLayout199.xml"/><Relationship Id="rId66" Type="http://schemas.openxmlformats.org/officeDocument/2006/relationships/slideLayout" Target="../slideLayouts/slideLayout207.xml"/><Relationship Id="rId74" Type="http://schemas.openxmlformats.org/officeDocument/2006/relationships/slideLayout" Target="../slideLayouts/slideLayout215.xml"/><Relationship Id="rId79" Type="http://schemas.openxmlformats.org/officeDocument/2006/relationships/slideLayout" Target="../slideLayouts/slideLayout220.xml"/><Relationship Id="rId87" Type="http://schemas.openxmlformats.org/officeDocument/2006/relationships/slideLayout" Target="../slideLayouts/slideLayout228.xml"/><Relationship Id="rId5" Type="http://schemas.openxmlformats.org/officeDocument/2006/relationships/slideLayout" Target="../slideLayouts/slideLayout146.xml"/><Relationship Id="rId61" Type="http://schemas.openxmlformats.org/officeDocument/2006/relationships/slideLayout" Target="../slideLayouts/slideLayout202.xml"/><Relationship Id="rId82" Type="http://schemas.openxmlformats.org/officeDocument/2006/relationships/slideLayout" Target="../slideLayouts/slideLayout223.xml"/><Relationship Id="rId90" Type="http://schemas.openxmlformats.org/officeDocument/2006/relationships/slideLayout" Target="../slideLayouts/slideLayout231.xml"/><Relationship Id="rId19" Type="http://schemas.openxmlformats.org/officeDocument/2006/relationships/slideLayout" Target="../slideLayouts/slideLayout16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35" Type="http://schemas.openxmlformats.org/officeDocument/2006/relationships/slideLayout" Target="../slideLayouts/slideLayout176.xml"/><Relationship Id="rId43" Type="http://schemas.openxmlformats.org/officeDocument/2006/relationships/slideLayout" Target="../slideLayouts/slideLayout184.xml"/><Relationship Id="rId48" Type="http://schemas.openxmlformats.org/officeDocument/2006/relationships/slideLayout" Target="../slideLayouts/slideLayout189.xml"/><Relationship Id="rId56" Type="http://schemas.openxmlformats.org/officeDocument/2006/relationships/slideLayout" Target="../slideLayouts/slideLayout197.xml"/><Relationship Id="rId64" Type="http://schemas.openxmlformats.org/officeDocument/2006/relationships/slideLayout" Target="../slideLayouts/slideLayout205.xml"/><Relationship Id="rId69" Type="http://schemas.openxmlformats.org/officeDocument/2006/relationships/slideLayout" Target="../slideLayouts/slideLayout210.xml"/><Relationship Id="rId77" Type="http://schemas.openxmlformats.org/officeDocument/2006/relationships/slideLayout" Target="../slideLayouts/slideLayout218.xml"/><Relationship Id="rId8" Type="http://schemas.openxmlformats.org/officeDocument/2006/relationships/slideLayout" Target="../slideLayouts/slideLayout149.xml"/><Relationship Id="rId51" Type="http://schemas.openxmlformats.org/officeDocument/2006/relationships/slideLayout" Target="../slideLayouts/slideLayout192.xml"/><Relationship Id="rId72" Type="http://schemas.openxmlformats.org/officeDocument/2006/relationships/slideLayout" Target="../slideLayouts/slideLayout213.xml"/><Relationship Id="rId80" Type="http://schemas.openxmlformats.org/officeDocument/2006/relationships/slideLayout" Target="../slideLayouts/slideLayout221.xml"/><Relationship Id="rId85" Type="http://schemas.openxmlformats.org/officeDocument/2006/relationships/slideLayout" Target="../slideLayouts/slideLayout226.xml"/><Relationship Id="rId93" Type="http://schemas.openxmlformats.org/officeDocument/2006/relationships/slideLayout" Target="../slideLayouts/slideLayout234.xml"/><Relationship Id="rId3" Type="http://schemas.openxmlformats.org/officeDocument/2006/relationships/slideLayout" Target="../slideLayouts/slideLayout144.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38" Type="http://schemas.openxmlformats.org/officeDocument/2006/relationships/slideLayout" Target="../slideLayouts/slideLayout179.xml"/><Relationship Id="rId46" Type="http://schemas.openxmlformats.org/officeDocument/2006/relationships/slideLayout" Target="../slideLayouts/slideLayout187.xml"/><Relationship Id="rId59" Type="http://schemas.openxmlformats.org/officeDocument/2006/relationships/slideLayout" Target="../slideLayouts/slideLayout200.xml"/><Relationship Id="rId67" Type="http://schemas.openxmlformats.org/officeDocument/2006/relationships/slideLayout" Target="../slideLayouts/slideLayout208.xml"/><Relationship Id="rId20" Type="http://schemas.openxmlformats.org/officeDocument/2006/relationships/slideLayout" Target="../slideLayouts/slideLayout161.xml"/><Relationship Id="rId41" Type="http://schemas.openxmlformats.org/officeDocument/2006/relationships/slideLayout" Target="../slideLayouts/slideLayout182.xml"/><Relationship Id="rId54" Type="http://schemas.openxmlformats.org/officeDocument/2006/relationships/slideLayout" Target="../slideLayouts/slideLayout195.xml"/><Relationship Id="rId62" Type="http://schemas.openxmlformats.org/officeDocument/2006/relationships/slideLayout" Target="../slideLayouts/slideLayout203.xml"/><Relationship Id="rId70" Type="http://schemas.openxmlformats.org/officeDocument/2006/relationships/slideLayout" Target="../slideLayouts/slideLayout211.xml"/><Relationship Id="rId75" Type="http://schemas.openxmlformats.org/officeDocument/2006/relationships/slideLayout" Target="../slideLayouts/slideLayout216.xml"/><Relationship Id="rId83" Type="http://schemas.openxmlformats.org/officeDocument/2006/relationships/slideLayout" Target="../slideLayouts/slideLayout224.xml"/><Relationship Id="rId88" Type="http://schemas.openxmlformats.org/officeDocument/2006/relationships/slideLayout" Target="../slideLayouts/slideLayout229.xml"/><Relationship Id="rId91" Type="http://schemas.openxmlformats.org/officeDocument/2006/relationships/slideLayout" Target="../slideLayouts/slideLayout232.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36" Type="http://schemas.openxmlformats.org/officeDocument/2006/relationships/slideLayout" Target="../slideLayouts/slideLayout177.xml"/><Relationship Id="rId49" Type="http://schemas.openxmlformats.org/officeDocument/2006/relationships/slideLayout" Target="../slideLayouts/slideLayout190.xml"/><Relationship Id="rId57" Type="http://schemas.openxmlformats.org/officeDocument/2006/relationships/slideLayout" Target="../slideLayouts/slideLayout198.xml"/><Relationship Id="rId10" Type="http://schemas.openxmlformats.org/officeDocument/2006/relationships/slideLayout" Target="../slideLayouts/slideLayout151.xml"/><Relationship Id="rId31" Type="http://schemas.openxmlformats.org/officeDocument/2006/relationships/slideLayout" Target="../slideLayouts/slideLayout172.xml"/><Relationship Id="rId44" Type="http://schemas.openxmlformats.org/officeDocument/2006/relationships/slideLayout" Target="../slideLayouts/slideLayout185.xml"/><Relationship Id="rId52" Type="http://schemas.openxmlformats.org/officeDocument/2006/relationships/slideLayout" Target="../slideLayouts/slideLayout193.xml"/><Relationship Id="rId60" Type="http://schemas.openxmlformats.org/officeDocument/2006/relationships/slideLayout" Target="../slideLayouts/slideLayout201.xml"/><Relationship Id="rId65" Type="http://schemas.openxmlformats.org/officeDocument/2006/relationships/slideLayout" Target="../slideLayouts/slideLayout206.xml"/><Relationship Id="rId73" Type="http://schemas.openxmlformats.org/officeDocument/2006/relationships/slideLayout" Target="../slideLayouts/slideLayout214.xml"/><Relationship Id="rId78" Type="http://schemas.openxmlformats.org/officeDocument/2006/relationships/slideLayout" Target="../slideLayouts/slideLayout219.xml"/><Relationship Id="rId81" Type="http://schemas.openxmlformats.org/officeDocument/2006/relationships/slideLayout" Target="../slideLayouts/slideLayout222.xml"/><Relationship Id="rId86" Type="http://schemas.openxmlformats.org/officeDocument/2006/relationships/slideLayout" Target="../slideLayouts/slideLayout227.xml"/><Relationship Id="rId94" Type="http://schemas.openxmlformats.org/officeDocument/2006/relationships/theme" Target="../theme/theme3.xml"/><Relationship Id="rId4" Type="http://schemas.openxmlformats.org/officeDocument/2006/relationships/slideLayout" Target="../slideLayouts/slideLayout145.xml"/><Relationship Id="rId9" Type="http://schemas.openxmlformats.org/officeDocument/2006/relationships/slideLayout" Target="../slideLayouts/slideLayout15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39" Type="http://schemas.openxmlformats.org/officeDocument/2006/relationships/slideLayout" Target="../slideLayouts/slideLayout273.xml"/><Relationship Id="rId3" Type="http://schemas.openxmlformats.org/officeDocument/2006/relationships/slideLayout" Target="../slideLayouts/slideLayout237.xml"/><Relationship Id="rId21" Type="http://schemas.openxmlformats.org/officeDocument/2006/relationships/slideLayout" Target="../slideLayouts/slideLayout255.xml"/><Relationship Id="rId34" Type="http://schemas.openxmlformats.org/officeDocument/2006/relationships/slideLayout" Target="../slideLayouts/slideLayout268.xml"/><Relationship Id="rId42" Type="http://schemas.openxmlformats.org/officeDocument/2006/relationships/slideLayout" Target="../slideLayouts/slideLayout276.xml"/><Relationship Id="rId47" Type="http://schemas.openxmlformats.org/officeDocument/2006/relationships/slideLayout" Target="../slideLayouts/slideLayout281.xml"/><Relationship Id="rId50" Type="http://schemas.openxmlformats.org/officeDocument/2006/relationships/theme" Target="../theme/theme4.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33" Type="http://schemas.openxmlformats.org/officeDocument/2006/relationships/slideLayout" Target="../slideLayouts/slideLayout267.xml"/><Relationship Id="rId38" Type="http://schemas.openxmlformats.org/officeDocument/2006/relationships/slideLayout" Target="../slideLayouts/slideLayout272.xml"/><Relationship Id="rId46" Type="http://schemas.openxmlformats.org/officeDocument/2006/relationships/slideLayout" Target="../slideLayouts/slideLayout280.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slideLayout" Target="../slideLayouts/slideLayout263.xml"/><Relationship Id="rId41" Type="http://schemas.openxmlformats.org/officeDocument/2006/relationships/slideLayout" Target="../slideLayouts/slideLayout275.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slideLayout" Target="../slideLayouts/slideLayout266.xml"/><Relationship Id="rId37" Type="http://schemas.openxmlformats.org/officeDocument/2006/relationships/slideLayout" Target="../slideLayouts/slideLayout271.xml"/><Relationship Id="rId40" Type="http://schemas.openxmlformats.org/officeDocument/2006/relationships/slideLayout" Target="../slideLayouts/slideLayout274.xml"/><Relationship Id="rId45" Type="http://schemas.openxmlformats.org/officeDocument/2006/relationships/slideLayout" Target="../slideLayouts/slideLayout279.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36" Type="http://schemas.openxmlformats.org/officeDocument/2006/relationships/slideLayout" Target="../slideLayouts/slideLayout270.xml"/><Relationship Id="rId49" Type="http://schemas.openxmlformats.org/officeDocument/2006/relationships/slideLayout" Target="../slideLayouts/slideLayout283.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slideLayout" Target="../slideLayouts/slideLayout265.xml"/><Relationship Id="rId44" Type="http://schemas.openxmlformats.org/officeDocument/2006/relationships/slideLayout" Target="../slideLayouts/slideLayout278.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 Id="rId35" Type="http://schemas.openxmlformats.org/officeDocument/2006/relationships/slideLayout" Target="../slideLayouts/slideLayout269.xml"/><Relationship Id="rId43" Type="http://schemas.openxmlformats.org/officeDocument/2006/relationships/slideLayout" Target="../slideLayouts/slideLayout277.xml"/><Relationship Id="rId48" Type="http://schemas.openxmlformats.org/officeDocument/2006/relationships/slideLayout" Target="../slideLayouts/slideLayout282.xml"/><Relationship Id="rId8" Type="http://schemas.openxmlformats.org/officeDocument/2006/relationships/slideLayout" Target="../slideLayouts/slideLayout2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slideLayout" Target="../slideLayouts/slideLayout296.xml"/><Relationship Id="rId18" Type="http://schemas.openxmlformats.org/officeDocument/2006/relationships/slideLayout" Target="../slideLayouts/slideLayout301.xml"/><Relationship Id="rId26" Type="http://schemas.openxmlformats.org/officeDocument/2006/relationships/slideLayout" Target="../slideLayouts/slideLayout309.xml"/><Relationship Id="rId39" Type="http://schemas.openxmlformats.org/officeDocument/2006/relationships/slideLayout" Target="../slideLayouts/slideLayout322.xml"/><Relationship Id="rId3" Type="http://schemas.openxmlformats.org/officeDocument/2006/relationships/slideLayout" Target="../slideLayouts/slideLayout286.xml"/><Relationship Id="rId21" Type="http://schemas.openxmlformats.org/officeDocument/2006/relationships/slideLayout" Target="../slideLayouts/slideLayout304.xml"/><Relationship Id="rId34" Type="http://schemas.openxmlformats.org/officeDocument/2006/relationships/slideLayout" Target="../slideLayouts/slideLayout317.xml"/><Relationship Id="rId42" Type="http://schemas.openxmlformats.org/officeDocument/2006/relationships/slideLayout" Target="../slideLayouts/slideLayout325.xml"/><Relationship Id="rId7" Type="http://schemas.openxmlformats.org/officeDocument/2006/relationships/slideLayout" Target="../slideLayouts/slideLayout290.xml"/><Relationship Id="rId12" Type="http://schemas.openxmlformats.org/officeDocument/2006/relationships/slideLayout" Target="../slideLayouts/slideLayout295.xml"/><Relationship Id="rId17" Type="http://schemas.openxmlformats.org/officeDocument/2006/relationships/slideLayout" Target="../slideLayouts/slideLayout300.xml"/><Relationship Id="rId25" Type="http://schemas.openxmlformats.org/officeDocument/2006/relationships/slideLayout" Target="../slideLayouts/slideLayout308.xml"/><Relationship Id="rId33" Type="http://schemas.openxmlformats.org/officeDocument/2006/relationships/slideLayout" Target="../slideLayouts/slideLayout316.xml"/><Relationship Id="rId38" Type="http://schemas.openxmlformats.org/officeDocument/2006/relationships/slideLayout" Target="../slideLayouts/slideLayout321.xml"/><Relationship Id="rId2" Type="http://schemas.openxmlformats.org/officeDocument/2006/relationships/slideLayout" Target="../slideLayouts/slideLayout285.xml"/><Relationship Id="rId16" Type="http://schemas.openxmlformats.org/officeDocument/2006/relationships/slideLayout" Target="../slideLayouts/slideLayout299.xml"/><Relationship Id="rId20" Type="http://schemas.openxmlformats.org/officeDocument/2006/relationships/slideLayout" Target="../slideLayouts/slideLayout303.xml"/><Relationship Id="rId29" Type="http://schemas.openxmlformats.org/officeDocument/2006/relationships/slideLayout" Target="../slideLayouts/slideLayout312.xml"/><Relationship Id="rId41" Type="http://schemas.openxmlformats.org/officeDocument/2006/relationships/slideLayout" Target="../slideLayouts/slideLayout324.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slideLayout" Target="../slideLayouts/slideLayout294.xml"/><Relationship Id="rId24" Type="http://schemas.openxmlformats.org/officeDocument/2006/relationships/slideLayout" Target="../slideLayouts/slideLayout307.xml"/><Relationship Id="rId32" Type="http://schemas.openxmlformats.org/officeDocument/2006/relationships/slideLayout" Target="../slideLayouts/slideLayout315.xml"/><Relationship Id="rId37" Type="http://schemas.openxmlformats.org/officeDocument/2006/relationships/slideLayout" Target="../slideLayouts/slideLayout320.xml"/><Relationship Id="rId40" Type="http://schemas.openxmlformats.org/officeDocument/2006/relationships/slideLayout" Target="../slideLayouts/slideLayout323.xml"/><Relationship Id="rId5" Type="http://schemas.openxmlformats.org/officeDocument/2006/relationships/slideLayout" Target="../slideLayouts/slideLayout288.xml"/><Relationship Id="rId15" Type="http://schemas.openxmlformats.org/officeDocument/2006/relationships/slideLayout" Target="../slideLayouts/slideLayout298.xml"/><Relationship Id="rId23" Type="http://schemas.openxmlformats.org/officeDocument/2006/relationships/slideLayout" Target="../slideLayouts/slideLayout306.xml"/><Relationship Id="rId28" Type="http://schemas.openxmlformats.org/officeDocument/2006/relationships/slideLayout" Target="../slideLayouts/slideLayout311.xml"/><Relationship Id="rId36" Type="http://schemas.openxmlformats.org/officeDocument/2006/relationships/slideLayout" Target="../slideLayouts/slideLayout319.xml"/><Relationship Id="rId10" Type="http://schemas.openxmlformats.org/officeDocument/2006/relationships/slideLayout" Target="../slideLayouts/slideLayout293.xml"/><Relationship Id="rId19" Type="http://schemas.openxmlformats.org/officeDocument/2006/relationships/slideLayout" Target="../slideLayouts/slideLayout302.xml"/><Relationship Id="rId31" Type="http://schemas.openxmlformats.org/officeDocument/2006/relationships/slideLayout" Target="../slideLayouts/slideLayout314.xml"/><Relationship Id="rId44" Type="http://schemas.openxmlformats.org/officeDocument/2006/relationships/theme" Target="../theme/theme5.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slideLayout" Target="../slideLayouts/slideLayout297.xml"/><Relationship Id="rId22" Type="http://schemas.openxmlformats.org/officeDocument/2006/relationships/slideLayout" Target="../slideLayouts/slideLayout305.xml"/><Relationship Id="rId27" Type="http://schemas.openxmlformats.org/officeDocument/2006/relationships/slideLayout" Target="../slideLayouts/slideLayout310.xml"/><Relationship Id="rId30" Type="http://schemas.openxmlformats.org/officeDocument/2006/relationships/slideLayout" Target="../slideLayouts/slideLayout313.xml"/><Relationship Id="rId35" Type="http://schemas.openxmlformats.org/officeDocument/2006/relationships/slideLayout" Target="../slideLayouts/slideLayout318.xml"/><Relationship Id="rId43" Type="http://schemas.openxmlformats.org/officeDocument/2006/relationships/slideLayout" Target="../slideLayouts/slideLayout32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9" Type="http://schemas.openxmlformats.org/officeDocument/2006/relationships/slideLayout" Target="../slideLayouts/slideLayout365.xml"/><Relationship Id="rId21" Type="http://schemas.openxmlformats.org/officeDocument/2006/relationships/slideLayout" Target="../slideLayouts/slideLayout347.xml"/><Relationship Id="rId34" Type="http://schemas.openxmlformats.org/officeDocument/2006/relationships/slideLayout" Target="../slideLayouts/slideLayout360.xml"/><Relationship Id="rId42" Type="http://schemas.openxmlformats.org/officeDocument/2006/relationships/slideLayout" Target="../slideLayouts/slideLayout368.xml"/><Relationship Id="rId47" Type="http://schemas.openxmlformats.org/officeDocument/2006/relationships/slideLayout" Target="../slideLayouts/slideLayout373.xml"/><Relationship Id="rId50" Type="http://schemas.openxmlformats.org/officeDocument/2006/relationships/slideLayout" Target="../slideLayouts/slideLayout376.xml"/><Relationship Id="rId55" Type="http://schemas.openxmlformats.org/officeDocument/2006/relationships/slideLayout" Target="../slideLayouts/slideLayout381.xml"/><Relationship Id="rId63" Type="http://schemas.openxmlformats.org/officeDocument/2006/relationships/slideLayout" Target="../slideLayouts/slideLayout389.xml"/><Relationship Id="rId68" Type="http://schemas.openxmlformats.org/officeDocument/2006/relationships/slideLayout" Target="../slideLayouts/slideLayout394.xml"/><Relationship Id="rId76" Type="http://schemas.openxmlformats.org/officeDocument/2006/relationships/slideLayout" Target="../slideLayouts/slideLayout402.xml"/><Relationship Id="rId84" Type="http://schemas.openxmlformats.org/officeDocument/2006/relationships/slideLayout" Target="../slideLayouts/slideLayout410.xml"/><Relationship Id="rId7" Type="http://schemas.openxmlformats.org/officeDocument/2006/relationships/slideLayout" Target="../slideLayouts/slideLayout333.xml"/><Relationship Id="rId71" Type="http://schemas.openxmlformats.org/officeDocument/2006/relationships/slideLayout" Target="../slideLayouts/slideLayout397.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9" Type="http://schemas.openxmlformats.org/officeDocument/2006/relationships/slideLayout" Target="../slideLayouts/slideLayout355.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slideLayout" Target="../slideLayouts/slideLayout358.xml"/><Relationship Id="rId37" Type="http://schemas.openxmlformats.org/officeDocument/2006/relationships/slideLayout" Target="../slideLayouts/slideLayout363.xml"/><Relationship Id="rId40" Type="http://schemas.openxmlformats.org/officeDocument/2006/relationships/slideLayout" Target="../slideLayouts/slideLayout366.xml"/><Relationship Id="rId45" Type="http://schemas.openxmlformats.org/officeDocument/2006/relationships/slideLayout" Target="../slideLayouts/slideLayout371.xml"/><Relationship Id="rId53" Type="http://schemas.openxmlformats.org/officeDocument/2006/relationships/slideLayout" Target="../slideLayouts/slideLayout379.xml"/><Relationship Id="rId58" Type="http://schemas.openxmlformats.org/officeDocument/2006/relationships/slideLayout" Target="../slideLayouts/slideLayout384.xml"/><Relationship Id="rId66" Type="http://schemas.openxmlformats.org/officeDocument/2006/relationships/slideLayout" Target="../slideLayouts/slideLayout392.xml"/><Relationship Id="rId74" Type="http://schemas.openxmlformats.org/officeDocument/2006/relationships/slideLayout" Target="../slideLayouts/slideLayout400.xml"/><Relationship Id="rId79" Type="http://schemas.openxmlformats.org/officeDocument/2006/relationships/slideLayout" Target="../slideLayouts/slideLayout405.xml"/><Relationship Id="rId87" Type="http://schemas.openxmlformats.org/officeDocument/2006/relationships/slideLayout" Target="../slideLayouts/slideLayout413.xml"/><Relationship Id="rId5" Type="http://schemas.openxmlformats.org/officeDocument/2006/relationships/slideLayout" Target="../slideLayouts/slideLayout331.xml"/><Relationship Id="rId61" Type="http://schemas.openxmlformats.org/officeDocument/2006/relationships/slideLayout" Target="../slideLayouts/slideLayout387.xml"/><Relationship Id="rId82" Type="http://schemas.openxmlformats.org/officeDocument/2006/relationships/slideLayout" Target="../slideLayouts/slideLayout408.xml"/><Relationship Id="rId19" Type="http://schemas.openxmlformats.org/officeDocument/2006/relationships/slideLayout" Target="../slideLayouts/slideLayout345.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 Id="rId35" Type="http://schemas.openxmlformats.org/officeDocument/2006/relationships/slideLayout" Target="../slideLayouts/slideLayout361.xml"/><Relationship Id="rId43" Type="http://schemas.openxmlformats.org/officeDocument/2006/relationships/slideLayout" Target="../slideLayouts/slideLayout369.xml"/><Relationship Id="rId48" Type="http://schemas.openxmlformats.org/officeDocument/2006/relationships/slideLayout" Target="../slideLayouts/slideLayout374.xml"/><Relationship Id="rId56" Type="http://schemas.openxmlformats.org/officeDocument/2006/relationships/slideLayout" Target="../slideLayouts/slideLayout382.xml"/><Relationship Id="rId64" Type="http://schemas.openxmlformats.org/officeDocument/2006/relationships/slideLayout" Target="../slideLayouts/slideLayout390.xml"/><Relationship Id="rId69" Type="http://schemas.openxmlformats.org/officeDocument/2006/relationships/slideLayout" Target="../slideLayouts/slideLayout395.xml"/><Relationship Id="rId77" Type="http://schemas.openxmlformats.org/officeDocument/2006/relationships/slideLayout" Target="../slideLayouts/slideLayout403.xml"/><Relationship Id="rId8" Type="http://schemas.openxmlformats.org/officeDocument/2006/relationships/slideLayout" Target="../slideLayouts/slideLayout334.xml"/><Relationship Id="rId51" Type="http://schemas.openxmlformats.org/officeDocument/2006/relationships/slideLayout" Target="../slideLayouts/slideLayout377.xml"/><Relationship Id="rId72" Type="http://schemas.openxmlformats.org/officeDocument/2006/relationships/slideLayout" Target="../slideLayouts/slideLayout398.xml"/><Relationship Id="rId80" Type="http://schemas.openxmlformats.org/officeDocument/2006/relationships/slideLayout" Target="../slideLayouts/slideLayout406.xml"/><Relationship Id="rId85" Type="http://schemas.openxmlformats.org/officeDocument/2006/relationships/slideLayout" Target="../slideLayouts/slideLayout411.xml"/><Relationship Id="rId3" Type="http://schemas.openxmlformats.org/officeDocument/2006/relationships/slideLayout" Target="../slideLayouts/slideLayout329.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33" Type="http://schemas.openxmlformats.org/officeDocument/2006/relationships/slideLayout" Target="../slideLayouts/slideLayout359.xml"/><Relationship Id="rId38" Type="http://schemas.openxmlformats.org/officeDocument/2006/relationships/slideLayout" Target="../slideLayouts/slideLayout364.xml"/><Relationship Id="rId46" Type="http://schemas.openxmlformats.org/officeDocument/2006/relationships/slideLayout" Target="../slideLayouts/slideLayout372.xml"/><Relationship Id="rId59" Type="http://schemas.openxmlformats.org/officeDocument/2006/relationships/slideLayout" Target="../slideLayouts/slideLayout385.xml"/><Relationship Id="rId67" Type="http://schemas.openxmlformats.org/officeDocument/2006/relationships/slideLayout" Target="../slideLayouts/slideLayout393.xml"/><Relationship Id="rId20" Type="http://schemas.openxmlformats.org/officeDocument/2006/relationships/slideLayout" Target="../slideLayouts/slideLayout346.xml"/><Relationship Id="rId41" Type="http://schemas.openxmlformats.org/officeDocument/2006/relationships/slideLayout" Target="../slideLayouts/slideLayout367.xml"/><Relationship Id="rId54" Type="http://schemas.openxmlformats.org/officeDocument/2006/relationships/slideLayout" Target="../slideLayouts/slideLayout380.xml"/><Relationship Id="rId62" Type="http://schemas.openxmlformats.org/officeDocument/2006/relationships/slideLayout" Target="../slideLayouts/slideLayout388.xml"/><Relationship Id="rId70" Type="http://schemas.openxmlformats.org/officeDocument/2006/relationships/slideLayout" Target="../slideLayouts/slideLayout396.xml"/><Relationship Id="rId75" Type="http://schemas.openxmlformats.org/officeDocument/2006/relationships/slideLayout" Target="../slideLayouts/slideLayout401.xml"/><Relationship Id="rId83" Type="http://schemas.openxmlformats.org/officeDocument/2006/relationships/slideLayout" Target="../slideLayouts/slideLayout409.xml"/><Relationship Id="rId88" Type="http://schemas.openxmlformats.org/officeDocument/2006/relationships/theme" Target="../theme/theme6.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36" Type="http://schemas.openxmlformats.org/officeDocument/2006/relationships/slideLayout" Target="../slideLayouts/slideLayout362.xml"/><Relationship Id="rId49" Type="http://schemas.openxmlformats.org/officeDocument/2006/relationships/slideLayout" Target="../slideLayouts/slideLayout375.xml"/><Relationship Id="rId57" Type="http://schemas.openxmlformats.org/officeDocument/2006/relationships/slideLayout" Target="../slideLayouts/slideLayout383.xml"/><Relationship Id="rId10" Type="http://schemas.openxmlformats.org/officeDocument/2006/relationships/slideLayout" Target="../slideLayouts/slideLayout336.xml"/><Relationship Id="rId31" Type="http://schemas.openxmlformats.org/officeDocument/2006/relationships/slideLayout" Target="../slideLayouts/slideLayout357.xml"/><Relationship Id="rId44" Type="http://schemas.openxmlformats.org/officeDocument/2006/relationships/slideLayout" Target="../slideLayouts/slideLayout370.xml"/><Relationship Id="rId52" Type="http://schemas.openxmlformats.org/officeDocument/2006/relationships/slideLayout" Target="../slideLayouts/slideLayout378.xml"/><Relationship Id="rId60" Type="http://schemas.openxmlformats.org/officeDocument/2006/relationships/slideLayout" Target="../slideLayouts/slideLayout386.xml"/><Relationship Id="rId65" Type="http://schemas.openxmlformats.org/officeDocument/2006/relationships/slideLayout" Target="../slideLayouts/slideLayout391.xml"/><Relationship Id="rId73" Type="http://schemas.openxmlformats.org/officeDocument/2006/relationships/slideLayout" Target="../slideLayouts/slideLayout399.xml"/><Relationship Id="rId78" Type="http://schemas.openxmlformats.org/officeDocument/2006/relationships/slideLayout" Target="../slideLayouts/slideLayout404.xml"/><Relationship Id="rId81" Type="http://schemas.openxmlformats.org/officeDocument/2006/relationships/slideLayout" Target="../slideLayouts/slideLayout407.xml"/><Relationship Id="rId86" Type="http://schemas.openxmlformats.org/officeDocument/2006/relationships/slideLayout" Target="../slideLayouts/slideLayout41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426.xml"/><Relationship Id="rId18" Type="http://schemas.openxmlformats.org/officeDocument/2006/relationships/slideLayout" Target="../slideLayouts/slideLayout431.xml"/><Relationship Id="rId26" Type="http://schemas.openxmlformats.org/officeDocument/2006/relationships/slideLayout" Target="../slideLayouts/slideLayout439.xml"/><Relationship Id="rId39" Type="http://schemas.openxmlformats.org/officeDocument/2006/relationships/slideLayout" Target="../slideLayouts/slideLayout452.xml"/><Relationship Id="rId21" Type="http://schemas.openxmlformats.org/officeDocument/2006/relationships/slideLayout" Target="../slideLayouts/slideLayout434.xml"/><Relationship Id="rId34" Type="http://schemas.openxmlformats.org/officeDocument/2006/relationships/slideLayout" Target="../slideLayouts/slideLayout447.xml"/><Relationship Id="rId42" Type="http://schemas.openxmlformats.org/officeDocument/2006/relationships/slideLayout" Target="../slideLayouts/slideLayout455.xml"/><Relationship Id="rId47" Type="http://schemas.openxmlformats.org/officeDocument/2006/relationships/slideLayout" Target="../slideLayouts/slideLayout460.xml"/><Relationship Id="rId50" Type="http://schemas.openxmlformats.org/officeDocument/2006/relationships/slideLayout" Target="../slideLayouts/slideLayout463.xml"/><Relationship Id="rId55" Type="http://schemas.openxmlformats.org/officeDocument/2006/relationships/slideLayout" Target="../slideLayouts/slideLayout468.xml"/><Relationship Id="rId63" Type="http://schemas.openxmlformats.org/officeDocument/2006/relationships/slideLayout" Target="../slideLayouts/slideLayout476.xml"/><Relationship Id="rId68" Type="http://schemas.openxmlformats.org/officeDocument/2006/relationships/slideLayout" Target="../slideLayouts/slideLayout481.xml"/><Relationship Id="rId76" Type="http://schemas.openxmlformats.org/officeDocument/2006/relationships/slideLayout" Target="../slideLayouts/slideLayout489.xml"/><Relationship Id="rId7" Type="http://schemas.openxmlformats.org/officeDocument/2006/relationships/slideLayout" Target="../slideLayouts/slideLayout420.xml"/><Relationship Id="rId71" Type="http://schemas.openxmlformats.org/officeDocument/2006/relationships/slideLayout" Target="../slideLayouts/slideLayout484.xml"/><Relationship Id="rId2" Type="http://schemas.openxmlformats.org/officeDocument/2006/relationships/slideLayout" Target="../slideLayouts/slideLayout415.xml"/><Relationship Id="rId16" Type="http://schemas.openxmlformats.org/officeDocument/2006/relationships/slideLayout" Target="../slideLayouts/slideLayout429.xml"/><Relationship Id="rId29" Type="http://schemas.openxmlformats.org/officeDocument/2006/relationships/slideLayout" Target="../slideLayouts/slideLayout442.xml"/><Relationship Id="rId11" Type="http://schemas.openxmlformats.org/officeDocument/2006/relationships/slideLayout" Target="../slideLayouts/slideLayout424.xml"/><Relationship Id="rId24" Type="http://schemas.openxmlformats.org/officeDocument/2006/relationships/slideLayout" Target="../slideLayouts/slideLayout437.xml"/><Relationship Id="rId32" Type="http://schemas.openxmlformats.org/officeDocument/2006/relationships/slideLayout" Target="../slideLayouts/slideLayout445.xml"/><Relationship Id="rId37" Type="http://schemas.openxmlformats.org/officeDocument/2006/relationships/slideLayout" Target="../slideLayouts/slideLayout450.xml"/><Relationship Id="rId40" Type="http://schemas.openxmlformats.org/officeDocument/2006/relationships/slideLayout" Target="../slideLayouts/slideLayout453.xml"/><Relationship Id="rId45" Type="http://schemas.openxmlformats.org/officeDocument/2006/relationships/slideLayout" Target="../slideLayouts/slideLayout458.xml"/><Relationship Id="rId53" Type="http://schemas.openxmlformats.org/officeDocument/2006/relationships/slideLayout" Target="../slideLayouts/slideLayout466.xml"/><Relationship Id="rId58" Type="http://schemas.openxmlformats.org/officeDocument/2006/relationships/slideLayout" Target="../slideLayouts/slideLayout471.xml"/><Relationship Id="rId66" Type="http://schemas.openxmlformats.org/officeDocument/2006/relationships/slideLayout" Target="../slideLayouts/slideLayout479.xml"/><Relationship Id="rId74" Type="http://schemas.openxmlformats.org/officeDocument/2006/relationships/slideLayout" Target="../slideLayouts/slideLayout487.xml"/><Relationship Id="rId79" Type="http://schemas.openxmlformats.org/officeDocument/2006/relationships/slideLayout" Target="../slideLayouts/slideLayout492.xml"/><Relationship Id="rId5" Type="http://schemas.openxmlformats.org/officeDocument/2006/relationships/slideLayout" Target="../slideLayouts/slideLayout418.xml"/><Relationship Id="rId61" Type="http://schemas.openxmlformats.org/officeDocument/2006/relationships/slideLayout" Target="../slideLayouts/slideLayout474.xml"/><Relationship Id="rId82" Type="http://schemas.openxmlformats.org/officeDocument/2006/relationships/slideLayout" Target="../slideLayouts/slideLayout495.xml"/><Relationship Id="rId10" Type="http://schemas.openxmlformats.org/officeDocument/2006/relationships/slideLayout" Target="../slideLayouts/slideLayout423.xml"/><Relationship Id="rId19" Type="http://schemas.openxmlformats.org/officeDocument/2006/relationships/slideLayout" Target="../slideLayouts/slideLayout432.xml"/><Relationship Id="rId31" Type="http://schemas.openxmlformats.org/officeDocument/2006/relationships/slideLayout" Target="../slideLayouts/slideLayout444.xml"/><Relationship Id="rId44" Type="http://schemas.openxmlformats.org/officeDocument/2006/relationships/slideLayout" Target="../slideLayouts/slideLayout457.xml"/><Relationship Id="rId52" Type="http://schemas.openxmlformats.org/officeDocument/2006/relationships/slideLayout" Target="../slideLayouts/slideLayout465.xml"/><Relationship Id="rId60" Type="http://schemas.openxmlformats.org/officeDocument/2006/relationships/slideLayout" Target="../slideLayouts/slideLayout473.xml"/><Relationship Id="rId65" Type="http://schemas.openxmlformats.org/officeDocument/2006/relationships/slideLayout" Target="../slideLayouts/slideLayout478.xml"/><Relationship Id="rId73" Type="http://schemas.openxmlformats.org/officeDocument/2006/relationships/slideLayout" Target="../slideLayouts/slideLayout486.xml"/><Relationship Id="rId78" Type="http://schemas.openxmlformats.org/officeDocument/2006/relationships/slideLayout" Target="../slideLayouts/slideLayout491.xml"/><Relationship Id="rId81" Type="http://schemas.openxmlformats.org/officeDocument/2006/relationships/slideLayout" Target="../slideLayouts/slideLayout494.xml"/><Relationship Id="rId4" Type="http://schemas.openxmlformats.org/officeDocument/2006/relationships/slideLayout" Target="../slideLayouts/slideLayout417.xml"/><Relationship Id="rId9" Type="http://schemas.openxmlformats.org/officeDocument/2006/relationships/slideLayout" Target="../slideLayouts/slideLayout422.xml"/><Relationship Id="rId14" Type="http://schemas.openxmlformats.org/officeDocument/2006/relationships/slideLayout" Target="../slideLayouts/slideLayout427.xml"/><Relationship Id="rId22" Type="http://schemas.openxmlformats.org/officeDocument/2006/relationships/slideLayout" Target="../slideLayouts/slideLayout435.xml"/><Relationship Id="rId27" Type="http://schemas.openxmlformats.org/officeDocument/2006/relationships/slideLayout" Target="../slideLayouts/slideLayout440.xml"/><Relationship Id="rId30" Type="http://schemas.openxmlformats.org/officeDocument/2006/relationships/slideLayout" Target="../slideLayouts/slideLayout443.xml"/><Relationship Id="rId35" Type="http://schemas.openxmlformats.org/officeDocument/2006/relationships/slideLayout" Target="../slideLayouts/slideLayout448.xml"/><Relationship Id="rId43" Type="http://schemas.openxmlformats.org/officeDocument/2006/relationships/slideLayout" Target="../slideLayouts/slideLayout456.xml"/><Relationship Id="rId48" Type="http://schemas.openxmlformats.org/officeDocument/2006/relationships/slideLayout" Target="../slideLayouts/slideLayout461.xml"/><Relationship Id="rId56" Type="http://schemas.openxmlformats.org/officeDocument/2006/relationships/slideLayout" Target="../slideLayouts/slideLayout469.xml"/><Relationship Id="rId64" Type="http://schemas.openxmlformats.org/officeDocument/2006/relationships/slideLayout" Target="../slideLayouts/slideLayout477.xml"/><Relationship Id="rId69" Type="http://schemas.openxmlformats.org/officeDocument/2006/relationships/slideLayout" Target="../slideLayouts/slideLayout482.xml"/><Relationship Id="rId77" Type="http://schemas.openxmlformats.org/officeDocument/2006/relationships/slideLayout" Target="../slideLayouts/slideLayout490.xml"/><Relationship Id="rId8" Type="http://schemas.openxmlformats.org/officeDocument/2006/relationships/slideLayout" Target="../slideLayouts/slideLayout421.xml"/><Relationship Id="rId51" Type="http://schemas.openxmlformats.org/officeDocument/2006/relationships/slideLayout" Target="../slideLayouts/slideLayout464.xml"/><Relationship Id="rId72" Type="http://schemas.openxmlformats.org/officeDocument/2006/relationships/slideLayout" Target="../slideLayouts/slideLayout485.xml"/><Relationship Id="rId80" Type="http://schemas.openxmlformats.org/officeDocument/2006/relationships/slideLayout" Target="../slideLayouts/slideLayout493.xml"/><Relationship Id="rId3" Type="http://schemas.openxmlformats.org/officeDocument/2006/relationships/slideLayout" Target="../slideLayouts/slideLayout416.xml"/><Relationship Id="rId12" Type="http://schemas.openxmlformats.org/officeDocument/2006/relationships/slideLayout" Target="../slideLayouts/slideLayout425.xml"/><Relationship Id="rId17" Type="http://schemas.openxmlformats.org/officeDocument/2006/relationships/slideLayout" Target="../slideLayouts/slideLayout430.xml"/><Relationship Id="rId25" Type="http://schemas.openxmlformats.org/officeDocument/2006/relationships/slideLayout" Target="../slideLayouts/slideLayout438.xml"/><Relationship Id="rId33" Type="http://schemas.openxmlformats.org/officeDocument/2006/relationships/slideLayout" Target="../slideLayouts/slideLayout446.xml"/><Relationship Id="rId38" Type="http://schemas.openxmlformats.org/officeDocument/2006/relationships/slideLayout" Target="../slideLayouts/slideLayout451.xml"/><Relationship Id="rId46" Type="http://schemas.openxmlformats.org/officeDocument/2006/relationships/slideLayout" Target="../slideLayouts/slideLayout459.xml"/><Relationship Id="rId59" Type="http://schemas.openxmlformats.org/officeDocument/2006/relationships/slideLayout" Target="../slideLayouts/slideLayout472.xml"/><Relationship Id="rId67" Type="http://schemas.openxmlformats.org/officeDocument/2006/relationships/slideLayout" Target="../slideLayouts/slideLayout480.xml"/><Relationship Id="rId20" Type="http://schemas.openxmlformats.org/officeDocument/2006/relationships/slideLayout" Target="../slideLayouts/slideLayout433.xml"/><Relationship Id="rId41" Type="http://schemas.openxmlformats.org/officeDocument/2006/relationships/slideLayout" Target="../slideLayouts/slideLayout454.xml"/><Relationship Id="rId54" Type="http://schemas.openxmlformats.org/officeDocument/2006/relationships/slideLayout" Target="../slideLayouts/slideLayout467.xml"/><Relationship Id="rId62" Type="http://schemas.openxmlformats.org/officeDocument/2006/relationships/slideLayout" Target="../slideLayouts/slideLayout475.xml"/><Relationship Id="rId70" Type="http://schemas.openxmlformats.org/officeDocument/2006/relationships/slideLayout" Target="../slideLayouts/slideLayout483.xml"/><Relationship Id="rId75" Type="http://schemas.openxmlformats.org/officeDocument/2006/relationships/slideLayout" Target="../slideLayouts/slideLayout488.xml"/><Relationship Id="rId83" Type="http://schemas.openxmlformats.org/officeDocument/2006/relationships/theme" Target="../theme/theme7.xml"/><Relationship Id="rId1" Type="http://schemas.openxmlformats.org/officeDocument/2006/relationships/slideLayout" Target="../slideLayouts/slideLayout414.xml"/><Relationship Id="rId6" Type="http://schemas.openxmlformats.org/officeDocument/2006/relationships/slideLayout" Target="../slideLayouts/slideLayout419.xml"/><Relationship Id="rId15" Type="http://schemas.openxmlformats.org/officeDocument/2006/relationships/slideLayout" Target="../slideLayouts/slideLayout428.xml"/><Relationship Id="rId23" Type="http://schemas.openxmlformats.org/officeDocument/2006/relationships/slideLayout" Target="../slideLayouts/slideLayout436.xml"/><Relationship Id="rId28" Type="http://schemas.openxmlformats.org/officeDocument/2006/relationships/slideLayout" Target="../slideLayouts/slideLayout441.xml"/><Relationship Id="rId36" Type="http://schemas.openxmlformats.org/officeDocument/2006/relationships/slideLayout" Target="../slideLayouts/slideLayout449.xml"/><Relationship Id="rId49" Type="http://schemas.openxmlformats.org/officeDocument/2006/relationships/slideLayout" Target="../slideLayouts/slideLayout462.xml"/><Relationship Id="rId57" Type="http://schemas.openxmlformats.org/officeDocument/2006/relationships/slideLayout" Target="../slideLayouts/slideLayout470.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508.xml"/><Relationship Id="rId18" Type="http://schemas.openxmlformats.org/officeDocument/2006/relationships/slideLayout" Target="../slideLayouts/slideLayout513.xml"/><Relationship Id="rId26" Type="http://schemas.openxmlformats.org/officeDocument/2006/relationships/slideLayout" Target="../slideLayouts/slideLayout521.xml"/><Relationship Id="rId39" Type="http://schemas.openxmlformats.org/officeDocument/2006/relationships/slideLayout" Target="../slideLayouts/slideLayout534.xml"/><Relationship Id="rId21" Type="http://schemas.openxmlformats.org/officeDocument/2006/relationships/slideLayout" Target="../slideLayouts/slideLayout516.xml"/><Relationship Id="rId34" Type="http://schemas.openxmlformats.org/officeDocument/2006/relationships/slideLayout" Target="../slideLayouts/slideLayout529.xml"/><Relationship Id="rId42" Type="http://schemas.openxmlformats.org/officeDocument/2006/relationships/slideLayout" Target="../slideLayouts/slideLayout537.xml"/><Relationship Id="rId47" Type="http://schemas.openxmlformats.org/officeDocument/2006/relationships/slideLayout" Target="../slideLayouts/slideLayout542.xml"/><Relationship Id="rId50" Type="http://schemas.openxmlformats.org/officeDocument/2006/relationships/slideLayout" Target="../slideLayouts/slideLayout545.xml"/><Relationship Id="rId55" Type="http://schemas.openxmlformats.org/officeDocument/2006/relationships/slideLayout" Target="../slideLayouts/slideLayout550.xml"/><Relationship Id="rId63" Type="http://schemas.openxmlformats.org/officeDocument/2006/relationships/slideLayout" Target="../slideLayouts/slideLayout558.xml"/><Relationship Id="rId68" Type="http://schemas.openxmlformats.org/officeDocument/2006/relationships/slideLayout" Target="../slideLayouts/slideLayout563.xml"/><Relationship Id="rId76" Type="http://schemas.openxmlformats.org/officeDocument/2006/relationships/slideLayout" Target="../slideLayouts/slideLayout571.xml"/><Relationship Id="rId7" Type="http://schemas.openxmlformats.org/officeDocument/2006/relationships/slideLayout" Target="../slideLayouts/slideLayout502.xml"/><Relationship Id="rId71" Type="http://schemas.openxmlformats.org/officeDocument/2006/relationships/slideLayout" Target="../slideLayouts/slideLayout566.xml"/><Relationship Id="rId2" Type="http://schemas.openxmlformats.org/officeDocument/2006/relationships/slideLayout" Target="../slideLayouts/slideLayout497.xml"/><Relationship Id="rId16" Type="http://schemas.openxmlformats.org/officeDocument/2006/relationships/slideLayout" Target="../slideLayouts/slideLayout511.xml"/><Relationship Id="rId29" Type="http://schemas.openxmlformats.org/officeDocument/2006/relationships/slideLayout" Target="../slideLayouts/slideLayout524.xml"/><Relationship Id="rId11" Type="http://schemas.openxmlformats.org/officeDocument/2006/relationships/slideLayout" Target="../slideLayouts/slideLayout506.xml"/><Relationship Id="rId24" Type="http://schemas.openxmlformats.org/officeDocument/2006/relationships/slideLayout" Target="../slideLayouts/slideLayout519.xml"/><Relationship Id="rId32" Type="http://schemas.openxmlformats.org/officeDocument/2006/relationships/slideLayout" Target="../slideLayouts/slideLayout527.xml"/><Relationship Id="rId37" Type="http://schemas.openxmlformats.org/officeDocument/2006/relationships/slideLayout" Target="../slideLayouts/slideLayout532.xml"/><Relationship Id="rId40" Type="http://schemas.openxmlformats.org/officeDocument/2006/relationships/slideLayout" Target="../slideLayouts/slideLayout535.xml"/><Relationship Id="rId45" Type="http://schemas.openxmlformats.org/officeDocument/2006/relationships/slideLayout" Target="../slideLayouts/slideLayout540.xml"/><Relationship Id="rId53" Type="http://schemas.openxmlformats.org/officeDocument/2006/relationships/slideLayout" Target="../slideLayouts/slideLayout548.xml"/><Relationship Id="rId58" Type="http://schemas.openxmlformats.org/officeDocument/2006/relationships/slideLayout" Target="../slideLayouts/slideLayout553.xml"/><Relationship Id="rId66" Type="http://schemas.openxmlformats.org/officeDocument/2006/relationships/slideLayout" Target="../slideLayouts/slideLayout561.xml"/><Relationship Id="rId74" Type="http://schemas.openxmlformats.org/officeDocument/2006/relationships/slideLayout" Target="../slideLayouts/slideLayout569.xml"/><Relationship Id="rId79" Type="http://schemas.openxmlformats.org/officeDocument/2006/relationships/slideLayout" Target="../slideLayouts/slideLayout574.xml"/><Relationship Id="rId5" Type="http://schemas.openxmlformats.org/officeDocument/2006/relationships/slideLayout" Target="../slideLayouts/slideLayout500.xml"/><Relationship Id="rId61" Type="http://schemas.openxmlformats.org/officeDocument/2006/relationships/slideLayout" Target="../slideLayouts/slideLayout556.xml"/><Relationship Id="rId82" Type="http://schemas.openxmlformats.org/officeDocument/2006/relationships/slideLayout" Target="../slideLayouts/slideLayout577.xml"/><Relationship Id="rId10" Type="http://schemas.openxmlformats.org/officeDocument/2006/relationships/slideLayout" Target="../slideLayouts/slideLayout505.xml"/><Relationship Id="rId19" Type="http://schemas.openxmlformats.org/officeDocument/2006/relationships/slideLayout" Target="../slideLayouts/slideLayout514.xml"/><Relationship Id="rId31" Type="http://schemas.openxmlformats.org/officeDocument/2006/relationships/slideLayout" Target="../slideLayouts/slideLayout526.xml"/><Relationship Id="rId44" Type="http://schemas.openxmlformats.org/officeDocument/2006/relationships/slideLayout" Target="../slideLayouts/slideLayout539.xml"/><Relationship Id="rId52" Type="http://schemas.openxmlformats.org/officeDocument/2006/relationships/slideLayout" Target="../slideLayouts/slideLayout547.xml"/><Relationship Id="rId60" Type="http://schemas.openxmlformats.org/officeDocument/2006/relationships/slideLayout" Target="../slideLayouts/slideLayout555.xml"/><Relationship Id="rId65" Type="http://schemas.openxmlformats.org/officeDocument/2006/relationships/slideLayout" Target="../slideLayouts/slideLayout560.xml"/><Relationship Id="rId73" Type="http://schemas.openxmlformats.org/officeDocument/2006/relationships/slideLayout" Target="../slideLayouts/slideLayout568.xml"/><Relationship Id="rId78" Type="http://schemas.openxmlformats.org/officeDocument/2006/relationships/slideLayout" Target="../slideLayouts/slideLayout573.xml"/><Relationship Id="rId81" Type="http://schemas.openxmlformats.org/officeDocument/2006/relationships/slideLayout" Target="../slideLayouts/slideLayout576.xml"/><Relationship Id="rId4" Type="http://schemas.openxmlformats.org/officeDocument/2006/relationships/slideLayout" Target="../slideLayouts/slideLayout499.xml"/><Relationship Id="rId9" Type="http://schemas.openxmlformats.org/officeDocument/2006/relationships/slideLayout" Target="../slideLayouts/slideLayout504.xml"/><Relationship Id="rId14" Type="http://schemas.openxmlformats.org/officeDocument/2006/relationships/slideLayout" Target="../slideLayouts/slideLayout509.xml"/><Relationship Id="rId22" Type="http://schemas.openxmlformats.org/officeDocument/2006/relationships/slideLayout" Target="../slideLayouts/slideLayout517.xml"/><Relationship Id="rId27" Type="http://schemas.openxmlformats.org/officeDocument/2006/relationships/slideLayout" Target="../slideLayouts/slideLayout522.xml"/><Relationship Id="rId30" Type="http://schemas.openxmlformats.org/officeDocument/2006/relationships/slideLayout" Target="../slideLayouts/slideLayout525.xml"/><Relationship Id="rId35" Type="http://schemas.openxmlformats.org/officeDocument/2006/relationships/slideLayout" Target="../slideLayouts/slideLayout530.xml"/><Relationship Id="rId43" Type="http://schemas.openxmlformats.org/officeDocument/2006/relationships/slideLayout" Target="../slideLayouts/slideLayout538.xml"/><Relationship Id="rId48" Type="http://schemas.openxmlformats.org/officeDocument/2006/relationships/slideLayout" Target="../slideLayouts/slideLayout543.xml"/><Relationship Id="rId56" Type="http://schemas.openxmlformats.org/officeDocument/2006/relationships/slideLayout" Target="../slideLayouts/slideLayout551.xml"/><Relationship Id="rId64" Type="http://schemas.openxmlformats.org/officeDocument/2006/relationships/slideLayout" Target="../slideLayouts/slideLayout559.xml"/><Relationship Id="rId69" Type="http://schemas.openxmlformats.org/officeDocument/2006/relationships/slideLayout" Target="../slideLayouts/slideLayout564.xml"/><Relationship Id="rId77" Type="http://schemas.openxmlformats.org/officeDocument/2006/relationships/slideLayout" Target="../slideLayouts/slideLayout572.xml"/><Relationship Id="rId8" Type="http://schemas.openxmlformats.org/officeDocument/2006/relationships/slideLayout" Target="../slideLayouts/slideLayout503.xml"/><Relationship Id="rId51" Type="http://schemas.openxmlformats.org/officeDocument/2006/relationships/slideLayout" Target="../slideLayouts/slideLayout546.xml"/><Relationship Id="rId72" Type="http://schemas.openxmlformats.org/officeDocument/2006/relationships/slideLayout" Target="../slideLayouts/slideLayout567.xml"/><Relationship Id="rId80" Type="http://schemas.openxmlformats.org/officeDocument/2006/relationships/slideLayout" Target="../slideLayouts/slideLayout575.xml"/><Relationship Id="rId3" Type="http://schemas.openxmlformats.org/officeDocument/2006/relationships/slideLayout" Target="../slideLayouts/slideLayout498.xml"/><Relationship Id="rId12" Type="http://schemas.openxmlformats.org/officeDocument/2006/relationships/slideLayout" Target="../slideLayouts/slideLayout507.xml"/><Relationship Id="rId17" Type="http://schemas.openxmlformats.org/officeDocument/2006/relationships/slideLayout" Target="../slideLayouts/slideLayout512.xml"/><Relationship Id="rId25" Type="http://schemas.openxmlformats.org/officeDocument/2006/relationships/slideLayout" Target="../slideLayouts/slideLayout520.xml"/><Relationship Id="rId33" Type="http://schemas.openxmlformats.org/officeDocument/2006/relationships/slideLayout" Target="../slideLayouts/slideLayout528.xml"/><Relationship Id="rId38" Type="http://schemas.openxmlformats.org/officeDocument/2006/relationships/slideLayout" Target="../slideLayouts/slideLayout533.xml"/><Relationship Id="rId46" Type="http://schemas.openxmlformats.org/officeDocument/2006/relationships/slideLayout" Target="../slideLayouts/slideLayout541.xml"/><Relationship Id="rId59" Type="http://schemas.openxmlformats.org/officeDocument/2006/relationships/slideLayout" Target="../slideLayouts/slideLayout554.xml"/><Relationship Id="rId67" Type="http://schemas.openxmlformats.org/officeDocument/2006/relationships/slideLayout" Target="../slideLayouts/slideLayout562.xml"/><Relationship Id="rId20" Type="http://schemas.openxmlformats.org/officeDocument/2006/relationships/slideLayout" Target="../slideLayouts/slideLayout515.xml"/><Relationship Id="rId41" Type="http://schemas.openxmlformats.org/officeDocument/2006/relationships/slideLayout" Target="../slideLayouts/slideLayout536.xml"/><Relationship Id="rId54" Type="http://schemas.openxmlformats.org/officeDocument/2006/relationships/slideLayout" Target="../slideLayouts/slideLayout549.xml"/><Relationship Id="rId62" Type="http://schemas.openxmlformats.org/officeDocument/2006/relationships/slideLayout" Target="../slideLayouts/slideLayout557.xml"/><Relationship Id="rId70" Type="http://schemas.openxmlformats.org/officeDocument/2006/relationships/slideLayout" Target="../slideLayouts/slideLayout565.xml"/><Relationship Id="rId75" Type="http://schemas.openxmlformats.org/officeDocument/2006/relationships/slideLayout" Target="../slideLayouts/slideLayout570.xml"/><Relationship Id="rId83" Type="http://schemas.openxmlformats.org/officeDocument/2006/relationships/theme" Target="../theme/theme8.xml"/><Relationship Id="rId1" Type="http://schemas.openxmlformats.org/officeDocument/2006/relationships/slideLayout" Target="../slideLayouts/slideLayout496.xml"/><Relationship Id="rId6" Type="http://schemas.openxmlformats.org/officeDocument/2006/relationships/slideLayout" Target="../slideLayouts/slideLayout501.xml"/><Relationship Id="rId15" Type="http://schemas.openxmlformats.org/officeDocument/2006/relationships/slideLayout" Target="../slideLayouts/slideLayout510.xml"/><Relationship Id="rId23" Type="http://schemas.openxmlformats.org/officeDocument/2006/relationships/slideLayout" Target="../slideLayouts/slideLayout518.xml"/><Relationship Id="rId28" Type="http://schemas.openxmlformats.org/officeDocument/2006/relationships/slideLayout" Target="../slideLayouts/slideLayout523.xml"/><Relationship Id="rId36" Type="http://schemas.openxmlformats.org/officeDocument/2006/relationships/slideLayout" Target="../slideLayouts/slideLayout531.xml"/><Relationship Id="rId49" Type="http://schemas.openxmlformats.org/officeDocument/2006/relationships/slideLayout" Target="../slideLayouts/slideLayout544.xml"/><Relationship Id="rId57" Type="http://schemas.openxmlformats.org/officeDocument/2006/relationships/slideLayout" Target="../slideLayouts/slideLayout55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85.xml"/><Relationship Id="rId13" Type="http://schemas.openxmlformats.org/officeDocument/2006/relationships/slideLayout" Target="../slideLayouts/slideLayout590.xml"/><Relationship Id="rId18" Type="http://schemas.openxmlformats.org/officeDocument/2006/relationships/slideLayout" Target="../slideLayouts/slideLayout595.xml"/><Relationship Id="rId26" Type="http://schemas.openxmlformats.org/officeDocument/2006/relationships/slideLayout" Target="../slideLayouts/slideLayout603.xml"/><Relationship Id="rId39" Type="http://schemas.openxmlformats.org/officeDocument/2006/relationships/slideLayout" Target="../slideLayouts/slideLayout616.xml"/><Relationship Id="rId3" Type="http://schemas.openxmlformats.org/officeDocument/2006/relationships/slideLayout" Target="../slideLayouts/slideLayout580.xml"/><Relationship Id="rId21" Type="http://schemas.openxmlformats.org/officeDocument/2006/relationships/slideLayout" Target="../slideLayouts/slideLayout598.xml"/><Relationship Id="rId34" Type="http://schemas.openxmlformats.org/officeDocument/2006/relationships/slideLayout" Target="../slideLayouts/slideLayout611.xml"/><Relationship Id="rId42" Type="http://schemas.openxmlformats.org/officeDocument/2006/relationships/slideLayout" Target="../slideLayouts/slideLayout619.xml"/><Relationship Id="rId7" Type="http://schemas.openxmlformats.org/officeDocument/2006/relationships/slideLayout" Target="../slideLayouts/slideLayout584.xml"/><Relationship Id="rId12" Type="http://schemas.openxmlformats.org/officeDocument/2006/relationships/slideLayout" Target="../slideLayouts/slideLayout589.xml"/><Relationship Id="rId17" Type="http://schemas.openxmlformats.org/officeDocument/2006/relationships/slideLayout" Target="../slideLayouts/slideLayout594.xml"/><Relationship Id="rId25" Type="http://schemas.openxmlformats.org/officeDocument/2006/relationships/slideLayout" Target="../slideLayouts/slideLayout602.xml"/><Relationship Id="rId33" Type="http://schemas.openxmlformats.org/officeDocument/2006/relationships/slideLayout" Target="../slideLayouts/slideLayout610.xml"/><Relationship Id="rId38" Type="http://schemas.openxmlformats.org/officeDocument/2006/relationships/slideLayout" Target="../slideLayouts/slideLayout615.xml"/><Relationship Id="rId2" Type="http://schemas.openxmlformats.org/officeDocument/2006/relationships/slideLayout" Target="../slideLayouts/slideLayout579.xml"/><Relationship Id="rId16" Type="http://schemas.openxmlformats.org/officeDocument/2006/relationships/slideLayout" Target="../slideLayouts/slideLayout593.xml"/><Relationship Id="rId20" Type="http://schemas.openxmlformats.org/officeDocument/2006/relationships/slideLayout" Target="../slideLayouts/slideLayout597.xml"/><Relationship Id="rId29" Type="http://schemas.openxmlformats.org/officeDocument/2006/relationships/slideLayout" Target="../slideLayouts/slideLayout606.xml"/><Relationship Id="rId41" Type="http://schemas.openxmlformats.org/officeDocument/2006/relationships/slideLayout" Target="../slideLayouts/slideLayout618.xml"/><Relationship Id="rId1" Type="http://schemas.openxmlformats.org/officeDocument/2006/relationships/slideLayout" Target="../slideLayouts/slideLayout578.xml"/><Relationship Id="rId6" Type="http://schemas.openxmlformats.org/officeDocument/2006/relationships/slideLayout" Target="../slideLayouts/slideLayout583.xml"/><Relationship Id="rId11" Type="http://schemas.openxmlformats.org/officeDocument/2006/relationships/slideLayout" Target="../slideLayouts/slideLayout588.xml"/><Relationship Id="rId24" Type="http://schemas.openxmlformats.org/officeDocument/2006/relationships/slideLayout" Target="../slideLayouts/slideLayout601.xml"/><Relationship Id="rId32" Type="http://schemas.openxmlformats.org/officeDocument/2006/relationships/slideLayout" Target="../slideLayouts/slideLayout609.xml"/><Relationship Id="rId37" Type="http://schemas.openxmlformats.org/officeDocument/2006/relationships/slideLayout" Target="../slideLayouts/slideLayout614.xml"/><Relationship Id="rId40" Type="http://schemas.openxmlformats.org/officeDocument/2006/relationships/slideLayout" Target="../slideLayouts/slideLayout617.xml"/><Relationship Id="rId45" Type="http://schemas.openxmlformats.org/officeDocument/2006/relationships/theme" Target="../theme/theme9.xml"/><Relationship Id="rId5" Type="http://schemas.openxmlformats.org/officeDocument/2006/relationships/slideLayout" Target="../slideLayouts/slideLayout582.xml"/><Relationship Id="rId15" Type="http://schemas.openxmlformats.org/officeDocument/2006/relationships/slideLayout" Target="../slideLayouts/slideLayout592.xml"/><Relationship Id="rId23" Type="http://schemas.openxmlformats.org/officeDocument/2006/relationships/slideLayout" Target="../slideLayouts/slideLayout600.xml"/><Relationship Id="rId28" Type="http://schemas.openxmlformats.org/officeDocument/2006/relationships/slideLayout" Target="../slideLayouts/slideLayout605.xml"/><Relationship Id="rId36" Type="http://schemas.openxmlformats.org/officeDocument/2006/relationships/slideLayout" Target="../slideLayouts/slideLayout613.xml"/><Relationship Id="rId10" Type="http://schemas.openxmlformats.org/officeDocument/2006/relationships/slideLayout" Target="../slideLayouts/slideLayout587.xml"/><Relationship Id="rId19" Type="http://schemas.openxmlformats.org/officeDocument/2006/relationships/slideLayout" Target="../slideLayouts/slideLayout596.xml"/><Relationship Id="rId31" Type="http://schemas.openxmlformats.org/officeDocument/2006/relationships/slideLayout" Target="../slideLayouts/slideLayout608.xml"/><Relationship Id="rId44" Type="http://schemas.openxmlformats.org/officeDocument/2006/relationships/slideLayout" Target="../slideLayouts/slideLayout621.xml"/><Relationship Id="rId4" Type="http://schemas.openxmlformats.org/officeDocument/2006/relationships/slideLayout" Target="../slideLayouts/slideLayout581.xml"/><Relationship Id="rId9" Type="http://schemas.openxmlformats.org/officeDocument/2006/relationships/slideLayout" Target="../slideLayouts/slideLayout586.xml"/><Relationship Id="rId14" Type="http://schemas.openxmlformats.org/officeDocument/2006/relationships/slideLayout" Target="../slideLayouts/slideLayout591.xml"/><Relationship Id="rId22" Type="http://schemas.openxmlformats.org/officeDocument/2006/relationships/slideLayout" Target="../slideLayouts/slideLayout599.xml"/><Relationship Id="rId27" Type="http://schemas.openxmlformats.org/officeDocument/2006/relationships/slideLayout" Target="../slideLayouts/slideLayout604.xml"/><Relationship Id="rId30" Type="http://schemas.openxmlformats.org/officeDocument/2006/relationships/slideLayout" Target="../slideLayouts/slideLayout607.xml"/><Relationship Id="rId35" Type="http://schemas.openxmlformats.org/officeDocument/2006/relationships/slideLayout" Target="../slideLayouts/slideLayout612.xml"/><Relationship Id="rId43" Type="http://schemas.openxmlformats.org/officeDocument/2006/relationships/slideLayout" Target="../slideLayouts/slideLayout6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97"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2848664753"/>
      </p:ext>
    </p:extLst>
  </p:cSld>
  <p:clrMap bg1="lt1" tx1="dk1" bg2="lt2" tx2="dk2" accent1="accent1" accent2="accent2" accent3="accent3" accent4="accent4" accent5="accent5" accent6="accent6" hlink="hlink" folHlink="folHlink"/>
  <p:sldLayoutIdLst>
    <p:sldLayoutId id="2147487686" r:id="rId1"/>
    <p:sldLayoutId id="2147487687" r:id="rId2"/>
    <p:sldLayoutId id="2147487688" r:id="rId3"/>
    <p:sldLayoutId id="2147487689" r:id="rId4"/>
    <p:sldLayoutId id="2147487690" r:id="rId5"/>
    <p:sldLayoutId id="2147487691" r:id="rId6"/>
    <p:sldLayoutId id="2147487692" r:id="rId7"/>
    <p:sldLayoutId id="2147487693" r:id="rId8"/>
    <p:sldLayoutId id="2147487694" r:id="rId9"/>
    <p:sldLayoutId id="2147487695" r:id="rId10"/>
    <p:sldLayoutId id="2147487696" r:id="rId11"/>
    <p:sldLayoutId id="2147487697" r:id="rId12"/>
    <p:sldLayoutId id="2147487698" r:id="rId13"/>
    <p:sldLayoutId id="2147487699" r:id="rId14"/>
    <p:sldLayoutId id="2147487700" r:id="rId15"/>
    <p:sldLayoutId id="2147487701" r:id="rId16"/>
    <p:sldLayoutId id="2147487702" r:id="rId17"/>
    <p:sldLayoutId id="2147487703" r:id="rId18"/>
    <p:sldLayoutId id="2147487704" r:id="rId19"/>
    <p:sldLayoutId id="2147487705" r:id="rId20"/>
    <p:sldLayoutId id="2147487706" r:id="rId21"/>
    <p:sldLayoutId id="2147487707" r:id="rId22"/>
    <p:sldLayoutId id="2147487708" r:id="rId23"/>
    <p:sldLayoutId id="2147487709" r:id="rId24"/>
    <p:sldLayoutId id="2147487710" r:id="rId25"/>
    <p:sldLayoutId id="2147487711" r:id="rId26"/>
    <p:sldLayoutId id="2147487712" r:id="rId27"/>
    <p:sldLayoutId id="2147487713" r:id="rId28"/>
    <p:sldLayoutId id="2147487714" r:id="rId29"/>
    <p:sldLayoutId id="2147487715" r:id="rId30"/>
    <p:sldLayoutId id="2147487716" r:id="rId31"/>
    <p:sldLayoutId id="2147487717" r:id="rId32"/>
    <p:sldLayoutId id="2147487718" r:id="rId33"/>
    <p:sldLayoutId id="2147487719" r:id="rId34"/>
    <p:sldLayoutId id="2147487720" r:id="rId35"/>
    <p:sldLayoutId id="2147487721" r:id="rId36"/>
    <p:sldLayoutId id="2147487722" r:id="rId37"/>
    <p:sldLayoutId id="2147487723" r:id="rId38"/>
    <p:sldLayoutId id="2147487724" r:id="rId39"/>
    <p:sldLayoutId id="2147487725" r:id="rId40"/>
    <p:sldLayoutId id="2147487726" r:id="rId41"/>
    <p:sldLayoutId id="2147487727" r:id="rId42"/>
    <p:sldLayoutId id="2147487728" r:id="rId43"/>
    <p:sldLayoutId id="2147487729" r:id="rId44"/>
    <p:sldLayoutId id="2147487730" r:id="rId45"/>
    <p:sldLayoutId id="2147487731" r:id="rId46"/>
    <p:sldLayoutId id="2147487732" r:id="rId47"/>
    <p:sldLayoutId id="2147487733" r:id="rId48"/>
    <p:sldLayoutId id="2147487734" r:id="rId49"/>
    <p:sldLayoutId id="2147487735" r:id="rId50"/>
    <p:sldLayoutId id="2147487736" r:id="rId51"/>
    <p:sldLayoutId id="2147487737" r:id="rId52"/>
    <p:sldLayoutId id="2147487738" r:id="rId53"/>
    <p:sldLayoutId id="2147487739" r:id="rId54"/>
    <p:sldLayoutId id="2147487740" r:id="rId55"/>
    <p:sldLayoutId id="2147487741" r:id="rId56"/>
    <p:sldLayoutId id="2147487742" r:id="rId57"/>
    <p:sldLayoutId id="2147487743" r:id="rId58"/>
    <p:sldLayoutId id="2147487744" r:id="rId59"/>
    <p:sldLayoutId id="2147487745" r:id="rId60"/>
    <p:sldLayoutId id="2147487746" r:id="rId61"/>
    <p:sldLayoutId id="2147487747" r:id="rId62"/>
    <p:sldLayoutId id="2147487748" r:id="rId63"/>
    <p:sldLayoutId id="2147487749" r:id="rId64"/>
    <p:sldLayoutId id="2147487750" r:id="rId65"/>
    <p:sldLayoutId id="2147487751" r:id="rId66"/>
    <p:sldLayoutId id="2147487752" r:id="rId67"/>
    <p:sldLayoutId id="2147487753" r:id="rId68"/>
    <p:sldLayoutId id="2147487754" r:id="rId69"/>
    <p:sldLayoutId id="2147487755" r:id="rId70"/>
    <p:sldLayoutId id="2147487756" r:id="rId71"/>
    <p:sldLayoutId id="2147487757" r:id="rId72"/>
    <p:sldLayoutId id="2147487758" r:id="rId73"/>
    <p:sldLayoutId id="2147487759" r:id="rId74"/>
    <p:sldLayoutId id="2147487760" r:id="rId75"/>
    <p:sldLayoutId id="2147487761" r:id="rId76"/>
    <p:sldLayoutId id="2147487762" r:id="rId77"/>
    <p:sldLayoutId id="2147487763" r:id="rId78"/>
    <p:sldLayoutId id="2147487764" r:id="rId79"/>
    <p:sldLayoutId id="2147487765" r:id="rId80"/>
    <p:sldLayoutId id="2147487766" r:id="rId81"/>
    <p:sldLayoutId id="2147487767" r:id="rId82"/>
    <p:sldLayoutId id="2147487768" r:id="rId83"/>
    <p:sldLayoutId id="2147487769" r:id="rId84"/>
    <p:sldLayoutId id="2147487770" r:id="rId85"/>
    <p:sldLayoutId id="2147487771" r:id="rId86"/>
    <p:sldLayoutId id="2147487773" r:id="rId87"/>
    <p:sldLayoutId id="2147487774" r:id="rId8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1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21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8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3338257086"/>
      </p:ext>
    </p:extLst>
  </p:cSld>
  <p:clrMap bg1="lt1" tx1="dk1" bg2="lt2" tx2="dk2" accent1="accent1" accent2="accent2" accent3="accent3" accent4="accent4" accent5="accent5" accent6="accent6" hlink="hlink" folHlink="folHlink"/>
  <p:sldLayoutIdLst>
    <p:sldLayoutId id="2147487776" r:id="rId1"/>
    <p:sldLayoutId id="2147487777" r:id="rId2"/>
    <p:sldLayoutId id="2147487778" r:id="rId3"/>
    <p:sldLayoutId id="2147487779" r:id="rId4"/>
    <p:sldLayoutId id="2147487780" r:id="rId5"/>
    <p:sldLayoutId id="2147487781" r:id="rId6"/>
    <p:sldLayoutId id="2147487782" r:id="rId7"/>
    <p:sldLayoutId id="2147487783" r:id="rId8"/>
    <p:sldLayoutId id="2147487784" r:id="rId9"/>
    <p:sldLayoutId id="2147487785" r:id="rId10"/>
    <p:sldLayoutId id="2147487786" r:id="rId11"/>
    <p:sldLayoutId id="2147487787" r:id="rId12"/>
    <p:sldLayoutId id="2147487788" r:id="rId13"/>
    <p:sldLayoutId id="2147487789" r:id="rId14"/>
    <p:sldLayoutId id="2147487790" r:id="rId15"/>
    <p:sldLayoutId id="2147487791" r:id="rId16"/>
    <p:sldLayoutId id="2147487792" r:id="rId17"/>
    <p:sldLayoutId id="2147487793" r:id="rId18"/>
    <p:sldLayoutId id="2147487794" r:id="rId19"/>
    <p:sldLayoutId id="2147487795" r:id="rId20"/>
    <p:sldLayoutId id="2147487796" r:id="rId21"/>
    <p:sldLayoutId id="2147487797" r:id="rId22"/>
    <p:sldLayoutId id="2147487798" r:id="rId23"/>
    <p:sldLayoutId id="2147487799" r:id="rId24"/>
    <p:sldLayoutId id="2147487800" r:id="rId25"/>
    <p:sldLayoutId id="2147487801" r:id="rId26"/>
    <p:sldLayoutId id="2147487802" r:id="rId27"/>
    <p:sldLayoutId id="2147487803" r:id="rId28"/>
    <p:sldLayoutId id="2147487804" r:id="rId29"/>
    <p:sldLayoutId id="2147487805" r:id="rId30"/>
    <p:sldLayoutId id="2147487806" r:id="rId31"/>
    <p:sldLayoutId id="2147487807" r:id="rId32"/>
    <p:sldLayoutId id="2147487808" r:id="rId33"/>
    <p:sldLayoutId id="2147487809" r:id="rId34"/>
    <p:sldLayoutId id="2147487810" r:id="rId35"/>
    <p:sldLayoutId id="2147487811" r:id="rId36"/>
    <p:sldLayoutId id="2147487812" r:id="rId37"/>
    <p:sldLayoutId id="2147487813" r:id="rId38"/>
    <p:sldLayoutId id="2147487814" r:id="rId39"/>
    <p:sldLayoutId id="2147487815" r:id="rId40"/>
    <p:sldLayoutId id="2147487816" r:id="rId41"/>
    <p:sldLayoutId id="2147487817" r:id="rId42"/>
    <p:sldLayoutId id="2147487818" r:id="rId43"/>
    <p:sldLayoutId id="2147487819" r:id="rId44"/>
    <p:sldLayoutId id="2147487820" r:id="rId45"/>
    <p:sldLayoutId id="2147487821" r:id="rId46"/>
    <p:sldLayoutId id="2147487822" r:id="rId47"/>
    <p:sldLayoutId id="2147487823" r:id="rId48"/>
    <p:sldLayoutId id="2147487824" r:id="rId49"/>
    <p:sldLayoutId id="2147487825" r:id="rId50"/>
    <p:sldLayoutId id="2147487826" r:id="rId51"/>
    <p:sldLayoutId id="2147487827" r:id="rId52"/>
    <p:sldLayoutId id="2147487828" r:id="rId53"/>
    <p:sldLayoutId id="2147487829" r:id="rId54"/>
    <p:sldLayoutId id="2147487830" r:id="rId55"/>
    <p:sldLayoutId id="2147487831" r:id="rId56"/>
    <p:sldLayoutId id="2147487832" r:id="rId57"/>
    <p:sldLayoutId id="2147487833" r:id="rId58"/>
    <p:sldLayoutId id="2147487834" r:id="rId59"/>
    <p:sldLayoutId id="2147487835" r:id="rId60"/>
    <p:sldLayoutId id="2147487836" r:id="rId61"/>
    <p:sldLayoutId id="2147487837" r:id="rId62"/>
    <p:sldLayoutId id="2147487838" r:id="rId63"/>
    <p:sldLayoutId id="2147487839" r:id="rId64"/>
    <p:sldLayoutId id="2147487840" r:id="rId65"/>
    <p:sldLayoutId id="2147487841" r:id="rId66"/>
    <p:sldLayoutId id="2147487842" r:id="rId67"/>
    <p:sldLayoutId id="2147487843" r:id="rId68"/>
    <p:sldLayoutId id="2147487844" r:id="rId69"/>
    <p:sldLayoutId id="2147487845" r:id="rId70"/>
    <p:sldLayoutId id="2147487846" r:id="rId71"/>
    <p:sldLayoutId id="2147487847" r:id="rId72"/>
    <p:sldLayoutId id="2147487848" r:id="rId73"/>
    <p:sldLayoutId id="2147487849" r:id="rId74"/>
    <p:sldLayoutId id="2147487850" r:id="rId75"/>
    <p:sldLayoutId id="2147487851" r:id="rId76"/>
    <p:sldLayoutId id="2147487852" r:id="rId77"/>
    <p:sldLayoutId id="2147487853" r:id="rId78"/>
    <p:sldLayoutId id="2147487854" r:id="rId79"/>
    <p:sldLayoutId id="2147487855" r:id="rId80"/>
    <p:sldLayoutId id="2147487856" r:id="rId81"/>
    <p:sldLayoutId id="2147487857" r:id="rId82"/>
    <p:sldLayoutId id="2147488110" r:id="rId8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1881817563"/>
      </p:ext>
    </p:extLst>
  </p:cSld>
  <p:clrMap bg1="lt1" tx1="dk1" bg2="lt2" tx2="dk2" accent1="accent1" accent2="accent2" accent3="accent3" accent4="accent4" accent5="accent5" accent6="accent6" hlink="hlink" folHlink="folHlink"/>
  <p:sldLayoutIdLst>
    <p:sldLayoutId id="2147487859" r:id="rId1"/>
    <p:sldLayoutId id="2147487860" r:id="rId2"/>
    <p:sldLayoutId id="2147487861" r:id="rId3"/>
    <p:sldLayoutId id="2147487862" r:id="rId4"/>
    <p:sldLayoutId id="2147487863" r:id="rId5"/>
    <p:sldLayoutId id="2147487864" r:id="rId6"/>
    <p:sldLayoutId id="2147487865" r:id="rId7"/>
    <p:sldLayoutId id="2147487866" r:id="rId8"/>
    <p:sldLayoutId id="2147487867" r:id="rId9"/>
    <p:sldLayoutId id="2147487868" r:id="rId10"/>
    <p:sldLayoutId id="2147487869" r:id="rId11"/>
    <p:sldLayoutId id="2147487870" r:id="rId12"/>
    <p:sldLayoutId id="2147487871" r:id="rId13"/>
    <p:sldLayoutId id="2147487872" r:id="rId14"/>
    <p:sldLayoutId id="2147487873" r:id="rId15"/>
    <p:sldLayoutId id="2147487874" r:id="rId16"/>
    <p:sldLayoutId id="2147487875" r:id="rId17"/>
    <p:sldLayoutId id="2147487876" r:id="rId18"/>
    <p:sldLayoutId id="2147487877" r:id="rId19"/>
    <p:sldLayoutId id="2147487878" r:id="rId20"/>
    <p:sldLayoutId id="2147487879" r:id="rId21"/>
    <p:sldLayoutId id="2147487880" r:id="rId22"/>
    <p:sldLayoutId id="2147487881" r:id="rId23"/>
    <p:sldLayoutId id="2147487882" r:id="rId24"/>
    <p:sldLayoutId id="2147487883" r:id="rId25"/>
    <p:sldLayoutId id="2147487884" r:id="rId26"/>
    <p:sldLayoutId id="2147487885" r:id="rId27"/>
    <p:sldLayoutId id="2147487886" r:id="rId28"/>
    <p:sldLayoutId id="2147487887" r:id="rId29"/>
    <p:sldLayoutId id="2147487888" r:id="rId30"/>
    <p:sldLayoutId id="2147487889" r:id="rId31"/>
    <p:sldLayoutId id="2147487890" r:id="rId32"/>
    <p:sldLayoutId id="2147487891" r:id="rId33"/>
    <p:sldLayoutId id="2147487892" r:id="rId34"/>
    <p:sldLayoutId id="2147487893" r:id="rId35"/>
    <p:sldLayoutId id="2147487894" r:id="rId36"/>
    <p:sldLayoutId id="2147487895" r:id="rId37"/>
    <p:sldLayoutId id="2147487896" r:id="rId38"/>
    <p:sldLayoutId id="2147487897" r:id="rId39"/>
    <p:sldLayoutId id="2147487898" r:id="rId40"/>
    <p:sldLayoutId id="2147487899" r:id="rId41"/>
    <p:sldLayoutId id="2147487900" r:id="rId42"/>
    <p:sldLayoutId id="2147487901" r:id="rId43"/>
    <p:sldLayoutId id="2147487902" r:id="rId44"/>
    <p:sldLayoutId id="2147487903" r:id="rId45"/>
    <p:sldLayoutId id="2147487904" r:id="rId46"/>
    <p:sldLayoutId id="2147487905" r:id="rId47"/>
    <p:sldLayoutId id="2147487906" r:id="rId48"/>
    <p:sldLayoutId id="2147487907" r:id="rId49"/>
    <p:sldLayoutId id="2147487908" r:id="rId50"/>
    <p:sldLayoutId id="2147487909" r:id="rId51"/>
    <p:sldLayoutId id="2147487910" r:id="rId52"/>
    <p:sldLayoutId id="2147487911" r:id="rId53"/>
    <p:sldLayoutId id="2147487912" r:id="rId54"/>
    <p:sldLayoutId id="2147487913" r:id="rId55"/>
    <p:sldLayoutId id="2147487914" r:id="rId56"/>
    <p:sldLayoutId id="2147487915" r:id="rId57"/>
    <p:sldLayoutId id="2147487916" r:id="rId58"/>
    <p:sldLayoutId id="2147487917" r:id="rId59"/>
    <p:sldLayoutId id="2147487918" r:id="rId60"/>
    <p:sldLayoutId id="2147487919" r:id="rId61"/>
    <p:sldLayoutId id="2147487920" r:id="rId62"/>
    <p:sldLayoutId id="2147487921" r:id="rId63"/>
    <p:sldLayoutId id="2147487922" r:id="rId64"/>
    <p:sldLayoutId id="2147487923" r:id="rId65"/>
    <p:sldLayoutId id="2147487924" r:id="rId66"/>
    <p:sldLayoutId id="2147487925" r:id="rId67"/>
    <p:sldLayoutId id="2147487926" r:id="rId68"/>
    <p:sldLayoutId id="2147487927" r:id="rId69"/>
    <p:sldLayoutId id="2147487928" r:id="rId70"/>
    <p:sldLayoutId id="2147487929" r:id="rId71"/>
    <p:sldLayoutId id="2147487930" r:id="rId72"/>
    <p:sldLayoutId id="2147487931" r:id="rId73"/>
    <p:sldLayoutId id="2147487932" r:id="rId74"/>
    <p:sldLayoutId id="2147487933" r:id="rId75"/>
    <p:sldLayoutId id="2147487934" r:id="rId76"/>
    <p:sldLayoutId id="2147487935" r:id="rId77"/>
    <p:sldLayoutId id="2147487936" r:id="rId78"/>
    <p:sldLayoutId id="2147487937" r:id="rId79"/>
    <p:sldLayoutId id="2147487938" r:id="rId80"/>
    <p:sldLayoutId id="2147487939" r:id="rId81"/>
    <p:sldLayoutId id="2147487940" r:id="rId82"/>
    <p:sldLayoutId id="2147487941" r:id="rId8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1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21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8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288">
          <p15:clr>
            <a:srgbClr val="F26B43"/>
          </p15:clr>
        </p15:guide>
        <p15:guide id="6" pos="7368">
          <p15:clr>
            <a:srgbClr val="F26B43"/>
          </p15:clr>
        </p15:guide>
        <p15:guide id="7" orient="horz" pos="4104">
          <p15:clr>
            <a:srgbClr val="F26B43"/>
          </p15:clr>
        </p15:guide>
        <p15:guide id="8" orient="horz" pos="432">
          <p15:clr>
            <a:srgbClr val="F26B43"/>
          </p15:clr>
        </p15:guide>
        <p15:guide id="10" pos="754">
          <p15:clr>
            <a:srgbClr val="F26B43"/>
          </p15:clr>
        </p15:guide>
        <p15:guide id="11" pos="912">
          <p15:clr>
            <a:srgbClr val="F26B43"/>
          </p15:clr>
        </p15:guide>
        <p15:guide id="12" pos="1354">
          <p15:clr>
            <a:srgbClr val="F26B43"/>
          </p15:clr>
        </p15:guide>
        <p15:guide id="13" pos="1512">
          <p15:clr>
            <a:srgbClr val="F26B43"/>
          </p15:clr>
        </p15:guide>
        <p15:guide id="14" pos="1956">
          <p15:clr>
            <a:srgbClr val="F26B43"/>
          </p15:clr>
        </p15:guide>
        <p15:guide id="15" pos="2108">
          <p15:clr>
            <a:srgbClr val="F26B43"/>
          </p15:clr>
        </p15:guide>
        <p15:guide id="16" pos="2560">
          <p15:clr>
            <a:srgbClr val="F26B43"/>
          </p15:clr>
        </p15:guide>
        <p15:guide id="17" pos="2716">
          <p15:clr>
            <a:srgbClr val="F26B43"/>
          </p15:clr>
        </p15:guide>
        <p15:guide id="18" pos="3164">
          <p15:clr>
            <a:srgbClr val="F26B43"/>
          </p15:clr>
        </p15:guide>
        <p15:guide id="19" pos="3312">
          <p15:clr>
            <a:srgbClr val="F26B43"/>
          </p15:clr>
        </p15:guide>
        <p15:guide id="20" pos="3760">
          <p15:clr>
            <a:srgbClr val="F26B43"/>
          </p15:clr>
        </p15:guide>
        <p15:guide id="21" pos="3916">
          <p15:clr>
            <a:srgbClr val="F26B43"/>
          </p15:clr>
        </p15:guide>
        <p15:guide id="22" pos="4360">
          <p15:clr>
            <a:srgbClr val="F26B43"/>
          </p15:clr>
        </p15:guide>
        <p15:guide id="23" pos="4512">
          <p15:clr>
            <a:srgbClr val="F26B43"/>
          </p15:clr>
        </p15:guide>
        <p15:guide id="24" pos="4960">
          <p15:clr>
            <a:srgbClr val="F26B43"/>
          </p15:clr>
        </p15:guide>
        <p15:guide id="25" pos="5116">
          <p15:clr>
            <a:srgbClr val="F26B43"/>
          </p15:clr>
        </p15:guide>
        <p15:guide id="26" pos="5568">
          <p15:clr>
            <a:srgbClr val="F26B43"/>
          </p15:clr>
        </p15:guide>
        <p15:guide id="27" pos="5716">
          <p15:clr>
            <a:srgbClr val="F26B43"/>
          </p15:clr>
        </p15:guide>
        <p15:guide id="28" pos="6168">
          <p15:clr>
            <a:srgbClr val="F26B43"/>
          </p15:clr>
        </p15:guide>
        <p15:guide id="29" pos="6324">
          <p15:clr>
            <a:srgbClr val="F26B43"/>
          </p15:clr>
        </p15:guide>
        <p15:guide id="30" pos="6768">
          <p15:clr>
            <a:srgbClr val="F26B43"/>
          </p15:clr>
        </p15:guide>
        <p15:guide id="31" pos="6920">
          <p15:clr>
            <a:srgbClr val="F26B43"/>
          </p15:clr>
        </p15:guide>
        <p15:guide id="32" orient="horz" pos="216">
          <p15:clr>
            <a:srgbClr val="F26B43"/>
          </p15:clr>
        </p15:guide>
        <p15:guide id="33" orient="horz">
          <p15:clr>
            <a:srgbClr val="F26B43"/>
          </p15:clr>
        </p15:guide>
        <p15:guide id="34">
          <p15:clr>
            <a:srgbClr val="F26B43"/>
          </p15:clr>
        </p15:guide>
        <p15:guide id="35" orient="horz" pos="648">
          <p15:clr>
            <a:srgbClr val="F26B43"/>
          </p15:clr>
        </p15:guide>
        <p15:guide id="36" orient="horz" pos="864">
          <p15:clr>
            <a:srgbClr val="F26B43"/>
          </p15:clr>
        </p15:guide>
        <p15:guide id="37" orient="horz" pos="1296">
          <p15:clr>
            <a:srgbClr val="F26B43"/>
          </p15:clr>
        </p15:guide>
        <p15:guide id="38" orient="horz" pos="1512">
          <p15:clr>
            <a:srgbClr val="F26B43"/>
          </p15:clr>
        </p15:guide>
        <p15:guide id="39" orient="horz" pos="1724">
          <p15:clr>
            <a:srgbClr val="F26B43"/>
          </p15:clr>
        </p15:guide>
        <p15:guide id="40" orient="horz" pos="1944">
          <p15:clr>
            <a:srgbClr val="F26B43"/>
          </p15:clr>
        </p15:guide>
        <p15:guide id="41" orient="horz" pos="2160">
          <p15:clr>
            <a:srgbClr val="F26B43"/>
          </p15:clr>
        </p15:guide>
        <p15:guide id="42" orient="horz" pos="2376">
          <p15:clr>
            <a:srgbClr val="F26B43"/>
          </p15:clr>
        </p15:guide>
        <p15:guide id="43" orient="horz" pos="2592">
          <p15:clr>
            <a:srgbClr val="F26B43"/>
          </p15:clr>
        </p15:guide>
        <p15:guide id="44" orient="horz" pos="2808">
          <p15:clr>
            <a:srgbClr val="F26B43"/>
          </p15:clr>
        </p15:guide>
        <p15:guide id="45" orient="horz" pos="3024">
          <p15:clr>
            <a:srgbClr val="F26B43"/>
          </p15:clr>
        </p15:guide>
        <p15:guide id="46" orient="horz" pos="3240">
          <p15:clr>
            <a:srgbClr val="F26B43"/>
          </p15:clr>
        </p15:guide>
        <p15:guide id="47" orient="horz" pos="3452">
          <p15:clr>
            <a:srgbClr val="F26B43"/>
          </p15:clr>
        </p15:guide>
        <p15:guide id="48" orient="horz" pos="3672">
          <p15:clr>
            <a:srgbClr val="F26B43"/>
          </p15:clr>
        </p15:guide>
        <p15:guide id="49" orient="horz" pos="3884">
          <p15:clr>
            <a:srgbClr val="F26B43"/>
          </p15:clr>
        </p15:guide>
        <p15:guide id="50" orient="horz" pos="4320">
          <p15:clr>
            <a:srgbClr val="F26B43"/>
          </p15:clr>
        </p15:guide>
        <p15:guide id="51" pos="768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p:cNvSpPr>
            <a:spLocks noGrp="1"/>
          </p:cNvSpPr>
          <p:nvPr>
            <p:ph type="title"/>
          </p:nvPr>
        </p:nvSpPr>
        <p:spPr>
          <a:xfrm>
            <a:off x="495300" y="642645"/>
            <a:ext cx="11187112" cy="36195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329988" y="6514122"/>
            <a:ext cx="376236" cy="147476"/>
          </a:xfrm>
          <a:prstGeom prst="rect">
            <a:avLst/>
          </a:prstGeom>
        </p:spPr>
        <p:txBody>
          <a:bodyPr vert="horz" wrap="square" lIns="18288" tIns="0" rIns="18288" bIns="9144"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6">
                    <a:lumMod val="75000"/>
                  </a:schemeClr>
                </a:solidFill>
                <a:latin typeface="+mn-lt"/>
                <a:ea typeface="+mn-ea"/>
                <a:cs typeface="+mn-cs"/>
              </a:rPr>
              <a:pPr marL="0" lvl="0" algn="r" defTabSz="914400" rtl="0" eaLnBrk="1" latinLnBrk="0" hangingPunct="1">
                <a:lnSpc>
                  <a:spcPct val="125000"/>
                </a:lnSpc>
              </a:pPr>
              <a:t>‹#›</a:t>
            </a:fld>
            <a:endParaRPr lang="en-US" sz="800" kern="1200" dirty="0">
              <a:solidFill>
                <a:schemeClr val="accent6">
                  <a:lumMod val="75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300" y="6532895"/>
            <a:ext cx="594360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6">
                    <a:lumMod val="75000"/>
                  </a:schemeClr>
                </a:solidFill>
                <a:latin typeface="+mn-lt"/>
                <a:ea typeface="+mn-ea"/>
                <a:cs typeface="+mn-cs"/>
              </a:defRPr>
            </a:lvl1pPr>
          </a:lstStyle>
          <a:p>
            <a:r>
              <a:rPr lang="en-US"/>
              <a:t>Media Web Symposium 2023</a:t>
            </a:r>
            <a:endParaRPr lang="en-US" dirty="0"/>
          </a:p>
        </p:txBody>
      </p:sp>
      <p:sp>
        <p:nvSpPr>
          <p:cNvPr id="6" name="TextBox 5">
            <a:extLst>
              <a:ext uri="{FF2B5EF4-FFF2-40B4-BE49-F238E27FC236}">
                <a16:creationId xmlns:a16="http://schemas.microsoft.com/office/drawing/2014/main" id="{71F88E0A-636B-0D47-AC95-D4F0E44882ED}"/>
              </a:ext>
            </a:extLst>
          </p:cNvPr>
          <p:cNvSpPr txBox="1"/>
          <p:nvPr userDrawn="1"/>
        </p:nvSpPr>
        <p:spPr>
          <a:xfrm>
            <a:off x="6576059" y="6534114"/>
            <a:ext cx="4765549" cy="116955"/>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lgn="r"/>
            <a:r>
              <a:rPr lang="en-US" dirty="0">
                <a:solidFill>
                  <a:schemeClr val="accent5">
                    <a:lumMod val="60000"/>
                    <a:lumOff val="40000"/>
                  </a:schemeClr>
                </a:solidFill>
              </a:rPr>
              <a:t>Confidential – Qualcomm Technologies, Inc. and/or its affiliated companies – May Contain Trade Secrets</a:t>
            </a:r>
          </a:p>
        </p:txBody>
      </p:sp>
    </p:spTree>
    <p:extLst>
      <p:ext uri="{BB962C8B-B14F-4D97-AF65-F5344CB8AC3E}">
        <p14:creationId xmlns:p14="http://schemas.microsoft.com/office/powerpoint/2010/main" val="158636609"/>
      </p:ext>
    </p:extLst>
  </p:cSld>
  <p:clrMap bg1="lt1" tx1="dk1" bg2="lt2" tx2="dk2" accent1="accent1" accent2="accent2" accent3="accent3" accent4="accent4" accent5="accent5" accent6="accent6" hlink="hlink" folHlink="folHlink"/>
  <p:sldLayoutIdLst>
    <p:sldLayoutId id="2147488113" r:id="rId1"/>
    <p:sldLayoutId id="2147488114" r:id="rId2"/>
    <p:sldLayoutId id="2147488115" r:id="rId3"/>
    <p:sldLayoutId id="2147488116" r:id="rId4"/>
    <p:sldLayoutId id="2147488117" r:id="rId5"/>
    <p:sldLayoutId id="2147488118" r:id="rId6"/>
    <p:sldLayoutId id="2147488119" r:id="rId7"/>
    <p:sldLayoutId id="2147488120" r:id="rId8"/>
    <p:sldLayoutId id="2147488121" r:id="rId9"/>
    <p:sldLayoutId id="2147488122" r:id="rId10"/>
    <p:sldLayoutId id="2147488123" r:id="rId11"/>
    <p:sldLayoutId id="2147488124" r:id="rId12"/>
    <p:sldLayoutId id="2147488125" r:id="rId13"/>
    <p:sldLayoutId id="2147488126" r:id="rId14"/>
    <p:sldLayoutId id="2147488127" r:id="rId15"/>
    <p:sldLayoutId id="2147488128" r:id="rId16"/>
    <p:sldLayoutId id="2147488129" r:id="rId17"/>
    <p:sldLayoutId id="2147488130" r:id="rId18"/>
    <p:sldLayoutId id="2147488131" r:id="rId19"/>
    <p:sldLayoutId id="2147488132" r:id="rId20"/>
    <p:sldLayoutId id="2147488133" r:id="rId21"/>
    <p:sldLayoutId id="2147488134" r:id="rId22"/>
    <p:sldLayoutId id="2147488135" r:id="rId23"/>
    <p:sldLayoutId id="2147488136" r:id="rId24"/>
    <p:sldLayoutId id="2147488137" r:id="rId25"/>
    <p:sldLayoutId id="2147488138" r:id="rId26"/>
    <p:sldLayoutId id="2147488139" r:id="rId27"/>
    <p:sldLayoutId id="2147488140" r:id="rId28"/>
    <p:sldLayoutId id="2147488141" r:id="rId29"/>
    <p:sldLayoutId id="2147488142" r:id="rId30"/>
    <p:sldLayoutId id="2147488143" r:id="rId31"/>
    <p:sldLayoutId id="2147488144" r:id="rId32"/>
    <p:sldLayoutId id="2147488145" r:id="rId33"/>
    <p:sldLayoutId id="2147488146" r:id="rId34"/>
    <p:sldLayoutId id="2147488147" r:id="rId35"/>
    <p:sldLayoutId id="2147488148" r:id="rId36"/>
    <p:sldLayoutId id="2147488149" r:id="rId37"/>
    <p:sldLayoutId id="2147488150" r:id="rId38"/>
    <p:sldLayoutId id="2147488151" r:id="rId39"/>
    <p:sldLayoutId id="2147488152" r:id="rId40"/>
    <p:sldLayoutId id="2147488153" r:id="rId41"/>
    <p:sldLayoutId id="2147488154" r:id="rId42"/>
    <p:sldLayoutId id="2147488155" r:id="rId43"/>
    <p:sldLayoutId id="2147488156" r:id="rId44"/>
    <p:sldLayoutId id="2147488157" r:id="rId45"/>
    <p:sldLayoutId id="2147488158" r:id="rId46"/>
    <p:sldLayoutId id="2147488159" r:id="rId47"/>
    <p:sldLayoutId id="2147488160" r:id="rId48"/>
    <p:sldLayoutId id="2147488161" r:id="rId49"/>
    <p:sldLayoutId id="2147488162" r:id="rId50"/>
    <p:sldLayoutId id="2147488163" r:id="rId51"/>
    <p:sldLayoutId id="2147488164" r:id="rId52"/>
    <p:sldLayoutId id="2147488165" r:id="rId53"/>
    <p:sldLayoutId id="2147488166" r:id="rId54"/>
    <p:sldLayoutId id="2147488167" r:id="rId55"/>
    <p:sldLayoutId id="2147488168" r:id="rId56"/>
    <p:sldLayoutId id="2147488169" r:id="rId57"/>
    <p:sldLayoutId id="2147488170" r:id="rId58"/>
    <p:sldLayoutId id="2147488171" r:id="rId59"/>
    <p:sldLayoutId id="2147488172" r:id="rId60"/>
    <p:sldLayoutId id="2147488173" r:id="rId61"/>
    <p:sldLayoutId id="2147488174" r:id="rId62"/>
    <p:sldLayoutId id="2147488175" r:id="rId63"/>
    <p:sldLayoutId id="2147488176" r:id="rId64"/>
    <p:sldLayoutId id="2147488177" r:id="rId65"/>
    <p:sldLayoutId id="2147488178" r:id="rId66"/>
    <p:sldLayoutId id="2147488179" r:id="rId67"/>
    <p:sldLayoutId id="2147488180" r:id="rId68"/>
    <p:sldLayoutId id="2147488181" r:id="rId69"/>
    <p:sldLayoutId id="2147488182" r:id="rId70"/>
    <p:sldLayoutId id="2147488183" r:id="rId71"/>
    <p:sldLayoutId id="2147488184" r:id="rId72"/>
    <p:sldLayoutId id="2147488185" r:id="rId73"/>
    <p:sldLayoutId id="2147488186" r:id="rId74"/>
    <p:sldLayoutId id="2147488187" r:id="rId75"/>
    <p:sldLayoutId id="2147488188" r:id="rId76"/>
    <p:sldLayoutId id="2147488189" r:id="rId77"/>
    <p:sldLayoutId id="2147488190" r:id="rId78"/>
    <p:sldLayoutId id="2147488191" r:id="rId79"/>
    <p:sldLayoutId id="2147488192" r:id="rId80"/>
    <p:sldLayoutId id="2147488193" r:id="rId81"/>
    <p:sldLayoutId id="2147488194" r:id="rId82"/>
    <p:sldLayoutId id="2147488195" r:id="rId83"/>
    <p:sldLayoutId id="2147488196" r:id="rId84"/>
    <p:sldLayoutId id="2147488197" r:id="rId85"/>
    <p:sldLayoutId id="2147488198" r:id="rId86"/>
    <p:sldLayoutId id="2147488199" r:id="rId87"/>
    <p:sldLayoutId id="2147488200" r:id="rId88"/>
    <p:sldLayoutId id="2147488201" r:id="rId89"/>
    <p:sldLayoutId id="2147488202" r:id="rId90"/>
    <p:sldLayoutId id="2147488203" r:id="rId91"/>
    <p:sldLayoutId id="2147488204" r:id="rId92"/>
    <p:sldLayoutId id="2147488205" r:id="rId93"/>
    <p:sldLayoutId id="2147488206" r:id="rId94"/>
    <p:sldLayoutId id="2147488207" r:id="rId95"/>
    <p:sldLayoutId id="2147488208" r:id="rId96"/>
    <p:sldLayoutId id="2147488209" r:id="rId97"/>
    <p:sldLayoutId id="2147488210" r:id="rId98"/>
    <p:sldLayoutId id="2147488211" r:id="rId99"/>
    <p:sldLayoutId id="2147488212" r:id="rId100"/>
    <p:sldLayoutId id="2147488213" r:id="rId101"/>
    <p:sldLayoutId id="2147488214" r:id="rId102"/>
    <p:sldLayoutId id="2147488215" r:id="rId103"/>
    <p:sldLayoutId id="2147488216" r:id="rId104"/>
    <p:sldLayoutId id="2147488217" r:id="rId105"/>
    <p:sldLayoutId id="2147488218" r:id="rId106"/>
    <p:sldLayoutId id="2147488219" r:id="rId107"/>
    <p:sldLayoutId id="2147488220" r:id="rId108"/>
    <p:sldLayoutId id="2147488221" r:id="rId109"/>
    <p:sldLayoutId id="2147488222" r:id="rId110"/>
    <p:sldLayoutId id="2147488223" r:id="rId111"/>
    <p:sldLayoutId id="2147488224" r:id="rId112"/>
    <p:sldLayoutId id="2147488225" r:id="rId113"/>
    <p:sldLayoutId id="2147488226" r:id="rId114"/>
    <p:sldLayoutId id="2147488227" r:id="rId115"/>
    <p:sldLayoutId id="2147488228" r:id="rId116"/>
    <p:sldLayoutId id="2147488229" r:id="rId117"/>
    <p:sldLayoutId id="2147488230" r:id="rId118"/>
    <p:sldLayoutId id="2147488231" r:id="rId119"/>
    <p:sldLayoutId id="2147488232" r:id="rId120"/>
    <p:sldLayoutId id="2147488233" r:id="rId121"/>
    <p:sldLayoutId id="2147488234" r:id="rId122"/>
    <p:sldLayoutId id="2147488235" r:id="rId123"/>
    <p:sldLayoutId id="2147488236" r:id="rId124"/>
    <p:sldLayoutId id="2147488237" r:id="rId125"/>
    <p:sldLayoutId id="2147488238" r:id="rId126"/>
    <p:sldLayoutId id="2147488239" r:id="rId127"/>
    <p:sldLayoutId id="2147488240" r:id="rId128"/>
    <p:sldLayoutId id="2147488241" r:id="rId129"/>
    <p:sldLayoutId id="2147488242" r:id="rId130"/>
    <p:sldLayoutId id="2147488243" r:id="rId131"/>
    <p:sldLayoutId id="2147488244" r:id="rId132"/>
    <p:sldLayoutId id="2147488245" r:id="rId133"/>
    <p:sldLayoutId id="2147488246" r:id="rId134"/>
    <p:sldLayoutId id="2147488247" r:id="rId135"/>
    <p:sldLayoutId id="2147488248" r:id="rId136"/>
    <p:sldLayoutId id="2147488249" r:id="rId137"/>
    <p:sldLayoutId id="2147488250" r:id="rId138"/>
    <p:sldLayoutId id="2147488251" r:id="rId139"/>
    <p:sldLayoutId id="2147488252" r:id="rId140"/>
    <p:sldLayoutId id="2147488253" r:id="rId141"/>
    <p:sldLayoutId id="2147488254" r:id="rId142"/>
    <p:sldLayoutId id="2147488255" r:id="rId143"/>
    <p:sldLayoutId id="2147488256" r:id="rId144"/>
    <p:sldLayoutId id="2147488257" r:id="rId145"/>
    <p:sldLayoutId id="2147488258" r:id="rId146"/>
    <p:sldLayoutId id="2147488259" r:id="rId147"/>
    <p:sldLayoutId id="2147488260" r:id="rId148"/>
    <p:sldLayoutId id="2147488261" r:id="rId149"/>
    <p:sldLayoutId id="2147488262" r:id="rId150"/>
    <p:sldLayoutId id="2147488263" r:id="rId151"/>
    <p:sldLayoutId id="2147488264" r:id="rId152"/>
    <p:sldLayoutId id="2147488265" r:id="rId153"/>
    <p:sldLayoutId id="2147488266" r:id="rId154"/>
    <p:sldLayoutId id="2147488267" r:id="rId155"/>
    <p:sldLayoutId id="2147488268" r:id="rId156"/>
    <p:sldLayoutId id="2147488269" r:id="rId157"/>
    <p:sldLayoutId id="2147488270" r:id="rId158"/>
    <p:sldLayoutId id="2147488271" r:id="rId159"/>
    <p:sldLayoutId id="2147488272" r:id="rId160"/>
    <p:sldLayoutId id="2147488273" r:id="rId161"/>
    <p:sldLayoutId id="2147488274" r:id="rId162"/>
    <p:sldLayoutId id="2147488275" r:id="rId163"/>
    <p:sldLayoutId id="2147488276" r:id="rId164"/>
    <p:sldLayoutId id="2147488277" r:id="rId165"/>
    <p:sldLayoutId id="2147488278" r:id="rId166"/>
    <p:sldLayoutId id="2147488279" r:id="rId167"/>
    <p:sldLayoutId id="2147488280" r:id="rId168"/>
    <p:sldLayoutId id="2147488281" r:id="rId169"/>
    <p:sldLayoutId id="2147488282" r:id="rId170"/>
    <p:sldLayoutId id="2147488283" r:id="rId171"/>
    <p:sldLayoutId id="2147488284" r:id="rId172"/>
    <p:sldLayoutId id="2147488285" r:id="rId173"/>
    <p:sldLayoutId id="2147488286" r:id="rId174"/>
    <p:sldLayoutId id="2147488287" r:id="rId175"/>
    <p:sldLayoutId id="2147488288" r:id="rId176"/>
    <p:sldLayoutId id="2147488289" r:id="rId177"/>
    <p:sldLayoutId id="2147488290" r:id="rId178"/>
    <p:sldLayoutId id="2147488291" r:id="rId179"/>
    <p:sldLayoutId id="2147488292" r:id="rId180"/>
    <p:sldLayoutId id="2147488293" r:id="rId181"/>
    <p:sldLayoutId id="2147488294" r:id="rId182"/>
    <p:sldLayoutId id="2147488295" r:id="rId183"/>
    <p:sldLayoutId id="2147488296" r:id="rId184"/>
    <p:sldLayoutId id="2147488297" r:id="rId185"/>
    <p:sldLayoutId id="2147488298" r:id="rId186"/>
    <p:sldLayoutId id="2147488299" r:id="rId187"/>
    <p:sldLayoutId id="2147488300" r:id="rId188"/>
    <p:sldLayoutId id="2147488301" r:id="rId189"/>
    <p:sldLayoutId id="2147488302" r:id="rId190"/>
    <p:sldLayoutId id="2147488303" r:id="rId191"/>
    <p:sldLayoutId id="2147488304" r:id="rId192"/>
    <p:sldLayoutId id="2147488305" r:id="rId193"/>
    <p:sldLayoutId id="2147488306" r:id="rId194"/>
    <p:sldLayoutId id="2147488307" r:id="rId195"/>
    <p:sldLayoutId id="2147488308" r:id="rId196"/>
    <p:sldLayoutId id="2147488309" r:id="rId197"/>
    <p:sldLayoutId id="2147488310" r:id="rId198"/>
    <p:sldLayoutId id="2147488311" r:id="rId199"/>
    <p:sldLayoutId id="2147488312" r:id="rId200"/>
    <p:sldLayoutId id="2147488313" r:id="rId201"/>
    <p:sldLayoutId id="2147488314" r:id="rId202"/>
    <p:sldLayoutId id="2147488315" r:id="rId203"/>
    <p:sldLayoutId id="2147488316" r:id="rId204"/>
    <p:sldLayoutId id="2147488317" r:id="rId205"/>
    <p:sldLayoutId id="2147488318" r:id="rId206"/>
    <p:sldLayoutId id="2147488319" r:id="rId207"/>
    <p:sldLayoutId id="2147488320" r:id="rId208"/>
    <p:sldLayoutId id="2147488321" r:id="rId209"/>
    <p:sldLayoutId id="2147488322" r:id="rId210"/>
    <p:sldLayoutId id="2147488323" r:id="rId211"/>
    <p:sldLayoutId id="2147488324" r:id="rId212"/>
    <p:sldLayoutId id="2147488325" r:id="rId2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2800" kern="1200" baseline="0">
          <a:solidFill>
            <a:schemeClr val="tx2"/>
          </a:solidFill>
          <a:latin typeface="+mj-lt"/>
          <a:ea typeface="+mj-ea"/>
          <a:cs typeface="+mj-cs"/>
        </a:defRPr>
      </a:lvl1pPr>
    </p:titleStyle>
    <p:body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000" kern="1200" baseline="0">
          <a:solidFill>
            <a:schemeClr val="tx2"/>
          </a:solidFill>
          <a:latin typeface="+mn-lt"/>
          <a:ea typeface="+mn-ea"/>
          <a:cs typeface="+mn-cs"/>
        </a:defRPr>
      </a:lvl1pPr>
      <a:lvl2pPr marL="342900" indent="-152400" algn="l" defTabSz="914400" rtl="0" eaLnBrk="1" latinLnBrk="0" hangingPunct="1">
        <a:lnSpc>
          <a:spcPct val="100000"/>
        </a:lnSpc>
        <a:spcBef>
          <a:spcPts val="225"/>
        </a:spcBef>
        <a:spcAft>
          <a:spcPts val="225"/>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457200" indent="-101600" algn="l" defTabSz="914400" rtl="0" eaLnBrk="1" latinLnBrk="0" hangingPunct="1">
        <a:lnSpc>
          <a:spcPct val="105000"/>
        </a:lnSpc>
        <a:spcBef>
          <a:spcPts val="150"/>
        </a:spcBef>
        <a:spcAft>
          <a:spcPts val="150"/>
        </a:spcAft>
        <a:buClrTx/>
        <a:buFont typeface="Arial" panose="020B0604020202020204" pitchFamily="34" charset="0"/>
        <a:buChar char="•"/>
        <a:defRPr lang="en-US" sz="1200" kern="1200" dirty="0" smtClean="0">
          <a:solidFill>
            <a:schemeClr val="tx2"/>
          </a:solidFill>
          <a:latin typeface="+mn-lt"/>
          <a:ea typeface="+mn-ea"/>
          <a:cs typeface="+mn-cs"/>
        </a:defRPr>
      </a:lvl3pPr>
      <a:lvl4pPr marL="571500" indent="-100584" algn="l" defTabSz="914400" rtl="0" eaLnBrk="1" latinLnBrk="0" hangingPunct="1">
        <a:lnSpc>
          <a:spcPct val="105000"/>
        </a:lnSpc>
        <a:spcBef>
          <a:spcPts val="75"/>
        </a:spcBef>
        <a:spcAft>
          <a:spcPts val="75"/>
        </a:spcAft>
        <a:buClrTx/>
        <a:buFont typeface="Arial" panose="020B0604020202020204" pitchFamily="34" charset="0"/>
        <a:buChar char="•"/>
        <a:tabLst/>
        <a:defRPr sz="800" kern="1200">
          <a:solidFill>
            <a:schemeClr val="tx2"/>
          </a:solidFill>
          <a:latin typeface="+mn-lt"/>
          <a:ea typeface="+mn-ea"/>
          <a:cs typeface="+mn-cs"/>
        </a:defRPr>
      </a:lvl4pPr>
      <a:lvl5pPr marL="174625" indent="-174625" algn="l" defTabSz="914400" rtl="0" eaLnBrk="1" latinLnBrk="0" hangingPunct="1">
        <a:lnSpc>
          <a:spcPct val="95000"/>
        </a:lnSpc>
        <a:spcBef>
          <a:spcPts val="900"/>
        </a:spcBef>
        <a:spcAft>
          <a:spcPts val="300"/>
        </a:spcAft>
        <a:buClrTx/>
        <a:buFont typeface="Arial" panose="020B0604020202020204" pitchFamily="34" charset="0"/>
        <a:buChar char="•"/>
        <a:tabLst/>
        <a:defRPr sz="2000" b="1" kern="1200" spc="60" baseline="0">
          <a:solidFill>
            <a:schemeClr val="tx2"/>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04">
          <p15:clr>
            <a:srgbClr val="F26B43"/>
          </p15:clr>
        </p15:guide>
        <p15:guide id="2" pos="303">
          <p15:clr>
            <a:srgbClr val="F26B43"/>
          </p15:clr>
        </p15:guide>
        <p15:guide id="3" orient="horz" pos="1076">
          <p15:clr>
            <a:srgbClr val="F26B43"/>
          </p15:clr>
        </p15:guide>
        <p15:guide id="4" orient="horz" pos="216">
          <p15:clr>
            <a:srgbClr val="F26B43"/>
          </p15:clr>
        </p15:guide>
        <p15:guide id="6" pos="7368">
          <p15:clr>
            <a:srgbClr val="F26B43"/>
          </p15:clr>
        </p15:guide>
        <p15:guide id="7" orient="horz" pos="4320">
          <p15:clr>
            <a:srgbClr val="F26B43"/>
          </p15:clr>
        </p15:guide>
        <p15:guide id="8" orient="horz" pos="648">
          <p15:clr>
            <a:srgbClr val="F26B43"/>
          </p15:clr>
        </p15:guide>
        <p15:guide id="9" pos="3912">
          <p15:clr>
            <a:srgbClr val="F26B43"/>
          </p15:clr>
        </p15:guide>
        <p15:guide id="10" pos="756">
          <p15:clr>
            <a:srgbClr val="F26B43"/>
          </p15:clr>
        </p15:guide>
        <p15:guide id="11" pos="908">
          <p15:clr>
            <a:srgbClr val="F26B43"/>
          </p15:clr>
        </p15:guide>
        <p15:guide id="12" pos="1361">
          <p15:clr>
            <a:srgbClr val="F26B43"/>
          </p15:clr>
        </p15:guide>
        <p15:guide id="13" pos="1513">
          <p15:clr>
            <a:srgbClr val="F26B43"/>
          </p15:clr>
        </p15:guide>
        <p15:guide id="14" pos="1955">
          <p15:clr>
            <a:srgbClr val="F26B43"/>
          </p15:clr>
        </p15:guide>
        <p15:guide id="15" pos="2106">
          <p15:clr>
            <a:srgbClr val="F26B43"/>
          </p15:clr>
        </p15:guide>
        <p15:guide id="16" pos="2554">
          <p15:clr>
            <a:srgbClr val="F26B43"/>
          </p15:clr>
        </p15:guide>
        <p15:guide id="17" pos="2717">
          <p15:clr>
            <a:srgbClr val="F26B43"/>
          </p15:clr>
        </p15:guide>
        <p15:guide id="18" pos="3159">
          <p15:clr>
            <a:srgbClr val="F26B43"/>
          </p15:clr>
        </p15:guide>
        <p15:guide id="19" pos="3316">
          <p15:clr>
            <a:srgbClr val="F26B43"/>
          </p15:clr>
        </p15:guide>
        <p15:guide id="20" pos="3759">
          <p15:clr>
            <a:srgbClr val="F26B43"/>
          </p15:clr>
        </p15:guide>
        <p15:guide id="21" pos="4364">
          <p15:clr>
            <a:srgbClr val="F26B43"/>
          </p15:clr>
        </p15:guide>
        <p15:guide id="22" pos="4509">
          <p15:clr>
            <a:srgbClr val="F26B43"/>
          </p15:clr>
        </p15:guide>
        <p15:guide id="23" pos="4968">
          <p15:clr>
            <a:srgbClr val="F26B43"/>
          </p15:clr>
        </p15:guide>
        <p15:guide id="24" pos="5114">
          <p15:clr>
            <a:srgbClr val="F26B43"/>
          </p15:clr>
        </p15:guide>
        <p15:guide id="25" pos="5562">
          <p15:clr>
            <a:srgbClr val="F26B43"/>
          </p15:clr>
        </p15:guide>
        <p15:guide id="26" pos="5713">
          <p15:clr>
            <a:srgbClr val="F26B43"/>
          </p15:clr>
        </p15:guide>
        <p15:guide id="27" pos="6161">
          <p15:clr>
            <a:srgbClr val="F26B43"/>
          </p15:clr>
        </p15:guide>
        <p15:guide id="28" pos="6319">
          <p15:clr>
            <a:srgbClr val="F26B43"/>
          </p15:clr>
        </p15:guide>
        <p15:guide id="29" pos="6761">
          <p15:clr>
            <a:srgbClr val="F26B43"/>
          </p15:clr>
        </p15:guide>
        <p15:guide id="30" pos="6918">
          <p15:clr>
            <a:srgbClr val="F26B43"/>
          </p15:clr>
        </p15:guide>
        <p15:guide id="32" pos="7680">
          <p15:clr>
            <a:srgbClr val="F26B43"/>
          </p15:clr>
        </p15:guide>
        <p15:guide id="33">
          <p15:clr>
            <a:srgbClr val="F26B43"/>
          </p15:clr>
        </p15:guide>
        <p15:guide id="34" orient="horz" pos="431">
          <p15:clr>
            <a:srgbClr val="F26B43"/>
          </p15:clr>
        </p15:guide>
        <p15:guide id="35" orient="horz" pos="861">
          <p15:clr>
            <a:srgbClr val="F26B43"/>
          </p15:clr>
        </p15:guide>
        <p15:guide id="36" orient="horz" pos="1297">
          <p15:clr>
            <a:srgbClr val="F26B43"/>
          </p15:clr>
        </p15:guide>
        <p15:guide id="37" orient="horz" pos="1513">
          <p15:clr>
            <a:srgbClr val="F26B43"/>
          </p15:clr>
        </p15:guide>
        <p15:guide id="38" orient="horz" pos="1728">
          <p15:clr>
            <a:srgbClr val="F26B43"/>
          </p15:clr>
        </p15:guide>
        <p15:guide id="39" orient="horz" pos="1943">
          <p15:clr>
            <a:srgbClr val="F26B43"/>
          </p15:clr>
        </p15:guide>
        <p15:guide id="40" orient="horz" pos="2159">
          <p15:clr>
            <a:srgbClr val="F26B43"/>
          </p15:clr>
        </p15:guide>
        <p15:guide id="41" orient="horz">
          <p15:clr>
            <a:srgbClr val="F26B43"/>
          </p15:clr>
        </p15:guide>
        <p15:guide id="42" orient="horz" pos="2374">
          <p15:clr>
            <a:srgbClr val="F26B43"/>
          </p15:clr>
        </p15:guide>
        <p15:guide id="43" orient="horz" pos="2589">
          <p15:clr>
            <a:srgbClr val="F26B43"/>
          </p15:clr>
        </p15:guide>
        <p15:guide id="44" orient="horz" pos="2804">
          <p15:clr>
            <a:srgbClr val="F26B43"/>
          </p15:clr>
        </p15:guide>
        <p15:guide id="45" orient="horz" pos="3025">
          <p15:clr>
            <a:srgbClr val="F26B43"/>
          </p15:clr>
        </p15:guide>
        <p15:guide id="46" orient="horz" pos="3241">
          <p15:clr>
            <a:srgbClr val="F26B43"/>
          </p15:clr>
        </p15:guide>
        <p15:guide id="47" orient="horz" pos="3456">
          <p15:clr>
            <a:srgbClr val="F26B43"/>
          </p15:clr>
        </p15:guide>
        <p15:guide id="48" orient="horz" pos="3671">
          <p15:clr>
            <a:srgbClr val="F26B43"/>
          </p15:clr>
        </p15:guide>
        <p15:guide id="49" orient="horz" pos="3887">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AutoShape 14">
            <a:extLst>
              <a:ext uri="{FF2B5EF4-FFF2-40B4-BE49-F238E27FC236}">
                <a16:creationId xmlns:a16="http://schemas.microsoft.com/office/drawing/2014/main" id="{3E43BB85-D592-4477-85C5-C4386A8D7CFC}"/>
              </a:ext>
            </a:extLst>
          </p:cNvPr>
          <p:cNvSpPr>
            <a:spLocks noChangeArrowheads="1"/>
          </p:cNvSpPr>
          <p:nvPr userDrawn="1"/>
        </p:nvSpPr>
        <p:spPr bwMode="auto">
          <a:xfrm>
            <a:off x="787401" y="6373813"/>
            <a:ext cx="8225367" cy="323850"/>
          </a:xfrm>
          <a:prstGeom prst="homePlate">
            <a:avLst>
              <a:gd name="adj" fmla="val 91541"/>
            </a:avLst>
          </a:prstGeom>
          <a:solidFill>
            <a:srgbClr val="72AF2F">
              <a:alpha val="94901"/>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anose="020B0604020202020204" pitchFamily="34" charset="0"/>
                <a:cs typeface="Arial" panose="020B0604020202020204" pitchFamily="34" charset="0"/>
              </a:defRPr>
            </a:lvl1pPr>
            <a:lvl2pPr marL="742950" indent="-285750">
              <a:defRPr sz="1000">
                <a:solidFill>
                  <a:schemeClr val="tx1"/>
                </a:solidFill>
                <a:latin typeface="Arial" panose="020B0604020202020204" pitchFamily="34" charset="0"/>
                <a:cs typeface="Arial" panose="020B0604020202020204" pitchFamily="34" charset="0"/>
              </a:defRPr>
            </a:lvl2pPr>
            <a:lvl3pPr marL="1143000" indent="-228600">
              <a:defRPr sz="1000">
                <a:solidFill>
                  <a:schemeClr val="tx1"/>
                </a:solidFill>
                <a:latin typeface="Arial" panose="020B0604020202020204" pitchFamily="34" charset="0"/>
                <a:cs typeface="Arial" panose="020B0604020202020204" pitchFamily="34" charset="0"/>
              </a:defRPr>
            </a:lvl3pPr>
            <a:lvl4pPr marL="1600200" indent="-228600">
              <a:defRPr sz="1000">
                <a:solidFill>
                  <a:schemeClr val="tx1"/>
                </a:solidFill>
                <a:latin typeface="Arial" panose="020B0604020202020204" pitchFamily="34" charset="0"/>
                <a:cs typeface="Arial" panose="020B0604020202020204" pitchFamily="34" charset="0"/>
              </a:defRPr>
            </a:lvl4pPr>
            <a:lvl5pPr marL="2057400" indent="-22860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a:defRPr/>
            </a:pPr>
            <a:endParaRPr lang="en-US" altLang="en-US" sz="1000" dirty="0"/>
          </a:p>
        </p:txBody>
      </p:sp>
      <p:sp>
        <p:nvSpPr>
          <p:cNvPr id="1027" name="Title Placeholder 1">
            <a:extLst>
              <a:ext uri="{FF2B5EF4-FFF2-40B4-BE49-F238E27FC236}">
                <a16:creationId xmlns:a16="http://schemas.microsoft.com/office/drawing/2014/main" id="{68A9C30A-2580-43D9-BAEE-FEECE59C0BFB}"/>
              </a:ext>
            </a:extLst>
          </p:cNvPr>
          <p:cNvSpPr>
            <a:spLocks noGrp="1"/>
          </p:cNvSpPr>
          <p:nvPr>
            <p:ph type="title"/>
          </p:nvPr>
        </p:nvSpPr>
        <p:spPr bwMode="auto">
          <a:xfrm>
            <a:off x="651933" y="228600"/>
            <a:ext cx="9103784"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1028" name="Text Placeholder 2">
            <a:extLst>
              <a:ext uri="{FF2B5EF4-FFF2-40B4-BE49-F238E27FC236}">
                <a16:creationId xmlns:a16="http://schemas.microsoft.com/office/drawing/2014/main" id="{4AFB3978-2F51-4806-8F68-F67265492325}"/>
              </a:ext>
            </a:extLst>
          </p:cNvPr>
          <p:cNvSpPr>
            <a:spLocks noGrp="1"/>
          </p:cNvSpPr>
          <p:nvPr>
            <p:ph type="body" idx="1"/>
          </p:nvPr>
        </p:nvSpPr>
        <p:spPr bwMode="auto">
          <a:xfrm>
            <a:off x="647700" y="1454151"/>
            <a:ext cx="11184467" cy="483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 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endParaRPr lang="en-GB" altLang="en-US" dirty="0"/>
          </a:p>
        </p:txBody>
      </p:sp>
      <p:sp>
        <p:nvSpPr>
          <p:cNvPr id="14" name="TextBox 13">
            <a:extLst>
              <a:ext uri="{FF2B5EF4-FFF2-40B4-BE49-F238E27FC236}">
                <a16:creationId xmlns:a16="http://schemas.microsoft.com/office/drawing/2014/main" id="{030DF169-4F9A-4D13-8638-5028A4E3BEAA}"/>
              </a:ext>
            </a:extLst>
          </p:cNvPr>
          <p:cNvSpPr txBox="1"/>
          <p:nvPr userDrawn="1"/>
        </p:nvSpPr>
        <p:spPr>
          <a:xfrm>
            <a:off x="717551" y="6394450"/>
            <a:ext cx="5767916" cy="311150"/>
          </a:xfrm>
          <a:prstGeom prst="rect">
            <a:avLst/>
          </a:prstGeom>
          <a:noFill/>
        </p:spPr>
        <p:txBody>
          <a:bodyPr anchor="ctr">
            <a:normAutofit/>
          </a:bodyPr>
          <a:lstStyle/>
          <a:p>
            <a:pPr>
              <a:defRPr/>
            </a:pPr>
            <a:r>
              <a:rPr lang="en-GB" sz="1000" spc="300" dirty="0"/>
              <a:t>3GPP TSG SA Rel-19 Workshop, </a:t>
            </a:r>
            <a:r>
              <a:rPr lang="fi-FI" sz="1000" spc="300" dirty="0"/>
              <a:t>Taipei, June 13 – 14, 2023</a:t>
            </a:r>
            <a:endParaRPr lang="en-GB" sz="1000" spc="300" dirty="0">
              <a:solidFill>
                <a:schemeClr val="bg1"/>
              </a:solidFill>
            </a:endParaRPr>
          </a:p>
        </p:txBody>
      </p:sp>
      <p:sp>
        <p:nvSpPr>
          <p:cNvPr id="12" name="Oval 11">
            <a:extLst>
              <a:ext uri="{FF2B5EF4-FFF2-40B4-BE49-F238E27FC236}">
                <a16:creationId xmlns:a16="http://schemas.microsoft.com/office/drawing/2014/main" id="{49773661-2F87-4456-BE3A-674631874291}"/>
              </a:ext>
            </a:extLst>
          </p:cNvPr>
          <p:cNvSpPr/>
          <p:nvPr userDrawn="1"/>
        </p:nvSpPr>
        <p:spPr bwMode="auto">
          <a:xfrm>
            <a:off x="11091334" y="6383338"/>
            <a:ext cx="681567" cy="296862"/>
          </a:xfrm>
          <a:prstGeom prst="ellipse">
            <a:avLst/>
          </a:prstGeom>
          <a:solidFill>
            <a:schemeClr val="bg1">
              <a:alpha val="50000"/>
            </a:schemeClr>
          </a:solidFill>
          <a:ln w="9525" cap="flat" cmpd="sng" algn="ctr">
            <a:noFill/>
            <a:prstDash val="solid"/>
            <a:round/>
            <a:headEnd type="none" w="med" len="med"/>
            <a:tailEnd type="none" w="med" len="med"/>
          </a:ln>
          <a:effectLst/>
        </p:spPr>
        <p:txBody>
          <a:bodyPr/>
          <a:lstStyle>
            <a:lvl1pPr eaLnBrk="0" hangingPunct="0">
              <a:defRPr sz="1000">
                <a:solidFill>
                  <a:schemeClr val="tx1"/>
                </a:solidFill>
                <a:latin typeface="Arial" panose="020B0604020202020204" pitchFamily="34" charset="0"/>
                <a:cs typeface="Arial" panose="020B0604020202020204" pitchFamily="34" charset="0"/>
              </a:defRPr>
            </a:lvl1pPr>
            <a:lvl2pPr marL="742950" indent="-285750" eaLnBrk="0" hangingPunct="0">
              <a:defRPr sz="1000">
                <a:solidFill>
                  <a:schemeClr val="tx1"/>
                </a:solidFill>
                <a:latin typeface="Arial" panose="020B0604020202020204" pitchFamily="34" charset="0"/>
                <a:cs typeface="Arial" panose="020B0604020202020204" pitchFamily="34" charset="0"/>
              </a:defRPr>
            </a:lvl2pPr>
            <a:lvl3pPr marL="1143000" indent="-228600" eaLnBrk="0" hangingPunct="0">
              <a:defRPr sz="1000">
                <a:solidFill>
                  <a:schemeClr val="tx1"/>
                </a:solidFill>
                <a:latin typeface="Arial" panose="020B0604020202020204" pitchFamily="34" charset="0"/>
                <a:cs typeface="Arial" panose="020B0604020202020204" pitchFamily="34" charset="0"/>
              </a:defRPr>
            </a:lvl3pPr>
            <a:lvl4pPr marL="1600200" indent="-228600" eaLnBrk="0" hangingPunct="0">
              <a:defRPr sz="1000">
                <a:solidFill>
                  <a:schemeClr val="tx1"/>
                </a:solidFill>
                <a:latin typeface="Arial" panose="020B0604020202020204" pitchFamily="34" charset="0"/>
                <a:cs typeface="Arial" panose="020B0604020202020204" pitchFamily="34" charset="0"/>
              </a:defRPr>
            </a:lvl4pPr>
            <a:lvl5pPr marL="2057400" indent="-228600" eaLnBrk="0" hangingPunct="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algn="ctr">
              <a:defRPr/>
            </a:pPr>
            <a:fld id="{C840CD29-0815-49FF-A34C-B092584A5C36}" type="slidenum">
              <a:rPr lang="en-GB" altLang="en-US" sz="1000" b="1" smtClean="0"/>
              <a:pPr algn="ctr">
                <a:defRPr/>
              </a:pPr>
              <a:t>‹#›</a:t>
            </a:fld>
            <a:endParaRPr lang="en-GB" altLang="en-US" sz="1000" b="1" dirty="0"/>
          </a:p>
          <a:p>
            <a:pPr>
              <a:defRPr/>
            </a:pPr>
            <a:endParaRPr lang="en-GB" altLang="en-US" sz="1000" dirty="0"/>
          </a:p>
        </p:txBody>
      </p:sp>
      <p:sp>
        <p:nvSpPr>
          <p:cNvPr id="1031" name="Rectangle 15">
            <a:extLst>
              <a:ext uri="{FF2B5EF4-FFF2-40B4-BE49-F238E27FC236}">
                <a16:creationId xmlns:a16="http://schemas.microsoft.com/office/drawing/2014/main" id="{A6F55D34-226B-477C-A56F-A8513C89512F}"/>
              </a:ext>
            </a:extLst>
          </p:cNvPr>
          <p:cNvSpPr>
            <a:spLocks noChangeArrowheads="1"/>
          </p:cNvSpPr>
          <p:nvPr userDrawn="1"/>
        </p:nvSpPr>
        <p:spPr bwMode="auto">
          <a:xfrm>
            <a:off x="5448300" y="3303588"/>
            <a:ext cx="97174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000">
                <a:solidFill>
                  <a:schemeClr val="tx1"/>
                </a:solidFill>
                <a:latin typeface="Arial" panose="020B0604020202020204" pitchFamily="34" charset="0"/>
                <a:cs typeface="Arial" panose="020B0604020202020204" pitchFamily="34" charset="0"/>
              </a:defRPr>
            </a:lvl1pPr>
            <a:lvl2pPr marL="742950" indent="-285750">
              <a:defRPr sz="1000">
                <a:solidFill>
                  <a:schemeClr val="tx1"/>
                </a:solidFill>
                <a:latin typeface="Arial" panose="020B0604020202020204" pitchFamily="34" charset="0"/>
                <a:cs typeface="Arial" panose="020B0604020202020204" pitchFamily="34" charset="0"/>
              </a:defRPr>
            </a:lvl2pPr>
            <a:lvl3pPr marL="1143000" indent="-228600">
              <a:defRPr sz="1000">
                <a:solidFill>
                  <a:schemeClr val="tx1"/>
                </a:solidFill>
                <a:latin typeface="Arial" panose="020B0604020202020204" pitchFamily="34" charset="0"/>
                <a:cs typeface="Arial" panose="020B0604020202020204" pitchFamily="34" charset="0"/>
              </a:defRPr>
            </a:lvl3pPr>
            <a:lvl4pPr marL="1600200" indent="-228600">
              <a:defRPr sz="1000">
                <a:solidFill>
                  <a:schemeClr val="tx1"/>
                </a:solidFill>
                <a:latin typeface="Arial" panose="020B0604020202020204" pitchFamily="34" charset="0"/>
                <a:cs typeface="Arial" panose="020B0604020202020204" pitchFamily="34" charset="0"/>
              </a:defRPr>
            </a:lvl4pPr>
            <a:lvl5pPr marL="2057400" indent="-22860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eaLnBrk="1" hangingPunct="1">
              <a:defRPr/>
            </a:pPr>
            <a:r>
              <a:rPr lang="en-GB" altLang="en-US" sz="1000" dirty="0">
                <a:solidFill>
                  <a:schemeClr val="bg1"/>
                </a:solidFill>
              </a:rPr>
              <a:t>© 3GPP 2012</a:t>
            </a:r>
            <a:endParaRPr lang="en-GB" altLang="en-US" sz="1000" dirty="0"/>
          </a:p>
        </p:txBody>
      </p:sp>
      <p:sp>
        <p:nvSpPr>
          <p:cNvPr id="1032" name="Rectangle 16">
            <a:extLst>
              <a:ext uri="{FF2B5EF4-FFF2-40B4-BE49-F238E27FC236}">
                <a16:creationId xmlns:a16="http://schemas.microsoft.com/office/drawing/2014/main" id="{9FBAA978-A6A7-4DCB-B504-0D831B9DD84C}"/>
              </a:ext>
            </a:extLst>
          </p:cNvPr>
          <p:cNvSpPr>
            <a:spLocks noChangeArrowheads="1"/>
          </p:cNvSpPr>
          <p:nvPr userDrawn="1"/>
        </p:nvSpPr>
        <p:spPr bwMode="auto">
          <a:xfrm>
            <a:off x="9918701" y="6462713"/>
            <a:ext cx="8242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000">
                <a:solidFill>
                  <a:schemeClr val="tx1"/>
                </a:solidFill>
                <a:latin typeface="Arial" panose="020B0604020202020204" pitchFamily="34" charset="0"/>
                <a:cs typeface="Arial" panose="020B0604020202020204" pitchFamily="34" charset="0"/>
              </a:defRPr>
            </a:lvl1pPr>
            <a:lvl2pPr marL="742950" indent="-285750">
              <a:defRPr sz="1000">
                <a:solidFill>
                  <a:schemeClr val="tx1"/>
                </a:solidFill>
                <a:latin typeface="Arial" panose="020B0604020202020204" pitchFamily="34" charset="0"/>
                <a:cs typeface="Arial" panose="020B0604020202020204" pitchFamily="34" charset="0"/>
              </a:defRPr>
            </a:lvl2pPr>
            <a:lvl3pPr marL="1143000" indent="-228600">
              <a:defRPr sz="1000">
                <a:solidFill>
                  <a:schemeClr val="tx1"/>
                </a:solidFill>
                <a:latin typeface="Arial" panose="020B0604020202020204" pitchFamily="34" charset="0"/>
                <a:cs typeface="Arial" panose="020B0604020202020204" pitchFamily="34" charset="0"/>
              </a:defRPr>
            </a:lvl3pPr>
            <a:lvl4pPr marL="1600200" indent="-228600">
              <a:defRPr sz="1000">
                <a:solidFill>
                  <a:schemeClr val="tx1"/>
                </a:solidFill>
                <a:latin typeface="Arial" panose="020B0604020202020204" pitchFamily="34" charset="0"/>
                <a:cs typeface="Arial" panose="020B0604020202020204" pitchFamily="34" charset="0"/>
              </a:defRPr>
            </a:lvl4pPr>
            <a:lvl5pPr marL="2057400" indent="-228600">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eaLnBrk="1" hangingPunct="1">
              <a:defRPr/>
            </a:pPr>
            <a:r>
              <a:rPr lang="en-GB" altLang="en-US" sz="800" dirty="0"/>
              <a:t>© 3GPP 2023</a:t>
            </a:r>
          </a:p>
        </p:txBody>
      </p:sp>
      <p:pic>
        <p:nvPicPr>
          <p:cNvPr id="1033" name="Picture 10" descr="3GPP_TM_RD.jpg">
            <a:extLst>
              <a:ext uri="{FF2B5EF4-FFF2-40B4-BE49-F238E27FC236}">
                <a16:creationId xmlns:a16="http://schemas.microsoft.com/office/drawing/2014/main" id="{EA0CB296-0D11-483D-8C82-78C10FF5A30D}"/>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035118" y="415925"/>
            <a:ext cx="1744133"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84890872"/>
      </p:ext>
    </p:extLst>
  </p:cSld>
  <p:clrMap bg1="lt1" tx1="dk1" bg2="lt2" tx2="dk2" accent1="accent1" accent2="accent2" accent3="accent3" accent4="accent4" accent5="accent5" accent6="accent6" hlink="hlink" folHlink="folHlink"/>
  <p:sldLayoutIdLst>
    <p:sldLayoutId id="2147488336" r:id="rId1"/>
    <p:sldLayoutId id="2147488337" r:id="rId2"/>
    <p:sldLayoutId id="2147488338" r:id="rId3"/>
  </p:sldLayoutIdLst>
  <p:transition spd="slow"/>
  <p:hf hdr="0" dt="0"/>
  <p:txStyles>
    <p:titleStyle>
      <a:lvl1pPr algn="ctr" rtl="0" eaLnBrk="0" fontAlgn="base" hangingPunct="0">
        <a:spcBef>
          <a:spcPct val="0"/>
        </a:spcBef>
        <a:spcAft>
          <a:spcPct val="0"/>
        </a:spcAft>
        <a:defRPr sz="3200">
          <a:solidFill>
            <a:srgbClr val="FF0000"/>
          </a:solidFill>
          <a:latin typeface="+mj-lt"/>
          <a:ea typeface="+mj-ea"/>
          <a:cs typeface="+mj-cs"/>
        </a:defRPr>
      </a:lvl1pPr>
      <a:lvl2pPr algn="ctr" rtl="0" eaLnBrk="0" fontAlgn="base" hangingPunct="0">
        <a:spcBef>
          <a:spcPct val="0"/>
        </a:spcBef>
        <a:spcAft>
          <a:spcPct val="0"/>
        </a:spcAft>
        <a:defRPr sz="3200">
          <a:solidFill>
            <a:srgbClr val="FF0000"/>
          </a:solidFill>
          <a:latin typeface="Calibri" pitchFamily="34" charset="0"/>
        </a:defRPr>
      </a:lvl2pPr>
      <a:lvl3pPr algn="ctr" rtl="0" eaLnBrk="0" fontAlgn="base" hangingPunct="0">
        <a:spcBef>
          <a:spcPct val="0"/>
        </a:spcBef>
        <a:spcAft>
          <a:spcPct val="0"/>
        </a:spcAft>
        <a:defRPr sz="3200">
          <a:solidFill>
            <a:srgbClr val="FF0000"/>
          </a:solidFill>
          <a:latin typeface="Calibri" pitchFamily="34" charset="0"/>
        </a:defRPr>
      </a:lvl3pPr>
      <a:lvl4pPr algn="ctr" rtl="0" eaLnBrk="0" fontAlgn="base" hangingPunct="0">
        <a:spcBef>
          <a:spcPct val="0"/>
        </a:spcBef>
        <a:spcAft>
          <a:spcPct val="0"/>
        </a:spcAft>
        <a:defRPr sz="3200">
          <a:solidFill>
            <a:srgbClr val="FF0000"/>
          </a:solidFill>
          <a:latin typeface="Calibri" pitchFamily="34" charset="0"/>
        </a:defRPr>
      </a:lvl4pPr>
      <a:lvl5pPr algn="ctr" rtl="0" eaLnBrk="0" fontAlgn="base" hangingPunct="0">
        <a:spcBef>
          <a:spcPct val="0"/>
        </a:spcBef>
        <a:spcAft>
          <a:spcPct val="0"/>
        </a:spcAft>
        <a:defRPr sz="3200">
          <a:solidFill>
            <a:srgbClr val="FF0000"/>
          </a:solidFill>
          <a:latin typeface="Calibri" pitchFamily="34" charset="0"/>
        </a:defRPr>
      </a:lvl5pPr>
      <a:lvl6pPr marL="457200" algn="ctr" rtl="0" eaLnBrk="0" fontAlgn="base" hangingPunct="0">
        <a:spcBef>
          <a:spcPct val="0"/>
        </a:spcBef>
        <a:spcAft>
          <a:spcPct val="0"/>
        </a:spcAft>
        <a:defRPr sz="3200">
          <a:solidFill>
            <a:srgbClr val="FF0000"/>
          </a:solidFill>
          <a:latin typeface="Calibri" pitchFamily="34" charset="0"/>
        </a:defRPr>
      </a:lvl6pPr>
      <a:lvl7pPr marL="914400" algn="ctr" rtl="0" eaLnBrk="0" fontAlgn="base" hangingPunct="0">
        <a:spcBef>
          <a:spcPct val="0"/>
        </a:spcBef>
        <a:spcAft>
          <a:spcPct val="0"/>
        </a:spcAft>
        <a:defRPr sz="3200">
          <a:solidFill>
            <a:srgbClr val="FF0000"/>
          </a:solidFill>
          <a:latin typeface="Calibri" pitchFamily="34" charset="0"/>
        </a:defRPr>
      </a:lvl7pPr>
      <a:lvl8pPr marL="1371600" algn="ctr" rtl="0" eaLnBrk="0" fontAlgn="base" hangingPunct="0">
        <a:spcBef>
          <a:spcPct val="0"/>
        </a:spcBef>
        <a:spcAft>
          <a:spcPct val="0"/>
        </a:spcAft>
        <a:defRPr sz="3200">
          <a:solidFill>
            <a:srgbClr val="FF0000"/>
          </a:solidFill>
          <a:latin typeface="Calibri" pitchFamily="34" charset="0"/>
        </a:defRPr>
      </a:lvl8pPr>
      <a:lvl9pPr marL="1828800" algn="ctr" rtl="0" eaLnBrk="0" fontAlgn="base" hangingPunct="0">
        <a:spcBef>
          <a:spcPct val="0"/>
        </a:spcBef>
        <a:spcAft>
          <a:spcPct val="0"/>
        </a:spcAft>
        <a:defRPr sz="3200">
          <a:solidFill>
            <a:srgbClr val="FF0000"/>
          </a:solidFill>
          <a:latin typeface="Calibri" pitchFamily="34" charset="0"/>
        </a:defRPr>
      </a:lvl9pPr>
    </p:titleStyle>
    <p:bodyStyle>
      <a:lvl1pPr marL="342900" indent="-342900" algn="l" rtl="0" eaLnBrk="0" fontAlgn="base" hangingPunct="0">
        <a:spcBef>
          <a:spcPct val="20000"/>
        </a:spcBef>
        <a:spcAft>
          <a:spcPct val="0"/>
        </a:spcAft>
        <a:buBlip>
          <a:blip r:embed="rId6"/>
        </a:buBlip>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C00000"/>
        </a:buClr>
        <a:buFont typeface="Arial" panose="020B0604020202020204" pitchFamily="34" charset="0"/>
        <a:buChar char="•"/>
        <a:defRPr sz="2400">
          <a:solidFill>
            <a:schemeClr val="tx1"/>
          </a:solidFill>
          <a:latin typeface="+mn-lt"/>
        </a:defRPr>
      </a:lvl2pPr>
      <a:lvl3pPr marL="1143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defRPr>
      </a:lvl4pPr>
      <a:lvl5pPr marL="2057400" indent="-228600" algn="l" rtl="0" eaLnBrk="0" fontAlgn="base" hangingPunct="0">
        <a:spcBef>
          <a:spcPct val="20000"/>
        </a:spcBef>
        <a:spcAft>
          <a:spcPct val="0"/>
        </a:spcAft>
        <a:buFont typeface="Arial" panose="020B0604020202020204" pitchFamily="34" charset="0"/>
        <a:buChar char="»"/>
        <a:defRPr sz="1600">
          <a:solidFill>
            <a:schemeClr val="tx1"/>
          </a:solidFill>
          <a:latin typeface="+mn-lt"/>
        </a:defRPr>
      </a:lvl5pPr>
      <a:lvl6pPr marL="2514600" indent="-228600" algn="l" rtl="0" eaLnBrk="0" fontAlgn="base" hangingPunct="0">
        <a:spcBef>
          <a:spcPct val="20000"/>
        </a:spcBef>
        <a:spcAft>
          <a:spcPct val="0"/>
        </a:spcAft>
        <a:buFont typeface="Arial" charset="0"/>
        <a:buChar char="»"/>
        <a:defRPr sz="1600">
          <a:solidFill>
            <a:schemeClr val="tx1"/>
          </a:solidFill>
          <a:latin typeface="+mn-lt"/>
        </a:defRPr>
      </a:lvl6pPr>
      <a:lvl7pPr marL="2971800" indent="-228600" algn="l" rtl="0" eaLnBrk="0" fontAlgn="base" hangingPunct="0">
        <a:spcBef>
          <a:spcPct val="20000"/>
        </a:spcBef>
        <a:spcAft>
          <a:spcPct val="0"/>
        </a:spcAft>
        <a:buFont typeface="Arial" charset="0"/>
        <a:buChar char="»"/>
        <a:defRPr sz="1600">
          <a:solidFill>
            <a:schemeClr val="tx1"/>
          </a:solidFill>
          <a:latin typeface="+mn-lt"/>
        </a:defRPr>
      </a:lvl7pPr>
      <a:lvl8pPr marL="3429000" indent="-228600" algn="l" rtl="0" eaLnBrk="0" fontAlgn="base" hangingPunct="0">
        <a:spcBef>
          <a:spcPct val="20000"/>
        </a:spcBef>
        <a:spcAft>
          <a:spcPct val="0"/>
        </a:spcAft>
        <a:buFont typeface="Arial" charset="0"/>
        <a:buChar char="»"/>
        <a:defRPr sz="1600">
          <a:solidFill>
            <a:schemeClr val="tx1"/>
          </a:solidFill>
          <a:latin typeface="+mn-lt"/>
        </a:defRPr>
      </a:lvl8pPr>
      <a:lvl9pPr marL="3886200" indent="-228600" algn="l" rtl="0" eaLnBrk="0" fontAlgn="base" hangingPunct="0">
        <a:spcBef>
          <a:spcPct val="20000"/>
        </a:spcBef>
        <a:spcAft>
          <a:spcPct val="0"/>
        </a:spcAft>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3478972605"/>
      </p:ext>
    </p:extLst>
  </p:cSld>
  <p:clrMap bg1="lt1" tx1="dk1" bg2="lt2" tx2="dk2" accent1="accent1" accent2="accent2" accent3="accent3" accent4="accent4" accent5="accent5" accent6="accent6" hlink="hlink" folHlink="folHlink"/>
  <p:sldLayoutIdLst>
    <p:sldLayoutId id="2147485957" r:id="rId1"/>
    <p:sldLayoutId id="2147485958" r:id="rId2"/>
    <p:sldLayoutId id="2147485959" r:id="rId3"/>
    <p:sldLayoutId id="2147485960" r:id="rId4"/>
    <p:sldLayoutId id="2147485961" r:id="rId5"/>
    <p:sldLayoutId id="2147485962" r:id="rId6"/>
    <p:sldLayoutId id="2147485963" r:id="rId7"/>
    <p:sldLayoutId id="2147485964" r:id="rId8"/>
    <p:sldLayoutId id="2147485965" r:id="rId9"/>
    <p:sldLayoutId id="2147485966" r:id="rId10"/>
    <p:sldLayoutId id="2147485967" r:id="rId11"/>
    <p:sldLayoutId id="2147485968" r:id="rId12"/>
    <p:sldLayoutId id="2147485969" r:id="rId13"/>
    <p:sldLayoutId id="2147485970" r:id="rId14"/>
    <p:sldLayoutId id="2147485971" r:id="rId15"/>
    <p:sldLayoutId id="2147485972" r:id="rId16"/>
    <p:sldLayoutId id="2147485973" r:id="rId17"/>
    <p:sldLayoutId id="2147485974" r:id="rId18"/>
    <p:sldLayoutId id="2147485975" r:id="rId19"/>
    <p:sldLayoutId id="2147485976" r:id="rId20"/>
    <p:sldLayoutId id="2147485977" r:id="rId21"/>
    <p:sldLayoutId id="2147485978" r:id="rId22"/>
    <p:sldLayoutId id="2147485979" r:id="rId23"/>
    <p:sldLayoutId id="2147485980" r:id="rId24"/>
    <p:sldLayoutId id="2147485981" r:id="rId25"/>
    <p:sldLayoutId id="2147485982" r:id="rId26"/>
    <p:sldLayoutId id="2147485983" r:id="rId27"/>
    <p:sldLayoutId id="2147485984" r:id="rId28"/>
    <p:sldLayoutId id="2147485985" r:id="rId29"/>
    <p:sldLayoutId id="2147485986" r:id="rId30"/>
    <p:sldLayoutId id="2147485987" r:id="rId31"/>
    <p:sldLayoutId id="2147485988" r:id="rId32"/>
    <p:sldLayoutId id="2147485989" r:id="rId33"/>
    <p:sldLayoutId id="2147485990" r:id="rId34"/>
    <p:sldLayoutId id="2147485991" r:id="rId35"/>
    <p:sldLayoutId id="2147485992" r:id="rId36"/>
    <p:sldLayoutId id="2147485993" r:id="rId37"/>
    <p:sldLayoutId id="2147485994" r:id="rId38"/>
    <p:sldLayoutId id="2147485995" r:id="rId39"/>
    <p:sldLayoutId id="2147485996" r:id="rId40"/>
    <p:sldLayoutId id="2147485997" r:id="rId41"/>
    <p:sldLayoutId id="2147485998" r:id="rId42"/>
    <p:sldLayoutId id="2147485999" r:id="rId43"/>
    <p:sldLayoutId id="2147486000" r:id="rId44"/>
    <p:sldLayoutId id="2147486001" r:id="rId45"/>
    <p:sldLayoutId id="2147486002" r:id="rId46"/>
    <p:sldLayoutId id="2147486003" r:id="rId47"/>
    <p:sldLayoutId id="2147486004" r:id="rId48"/>
    <p:sldLayoutId id="2147486005" r:id="rId49"/>
    <p:sldLayoutId id="2147486006" r:id="rId50"/>
    <p:sldLayoutId id="2147486007" r:id="rId51"/>
    <p:sldLayoutId id="2147486008" r:id="rId52"/>
    <p:sldLayoutId id="2147486009" r:id="rId53"/>
    <p:sldLayoutId id="2147486010" r:id="rId54"/>
    <p:sldLayoutId id="2147486011" r:id="rId55"/>
    <p:sldLayoutId id="2147486012" r:id="rId56"/>
    <p:sldLayoutId id="2147486013" r:id="rId57"/>
    <p:sldLayoutId id="2147486014" r:id="rId58"/>
    <p:sldLayoutId id="2147486015" r:id="rId59"/>
    <p:sldLayoutId id="2147486016" r:id="rId60"/>
    <p:sldLayoutId id="2147486017" r:id="rId61"/>
    <p:sldLayoutId id="2147486018" r:id="rId62"/>
    <p:sldLayoutId id="2147486019" r:id="rId63"/>
    <p:sldLayoutId id="2147486020" r:id="rId64"/>
    <p:sldLayoutId id="2147486021" r:id="rId65"/>
    <p:sldLayoutId id="2147486022" r:id="rId66"/>
    <p:sldLayoutId id="2147486023" r:id="rId67"/>
    <p:sldLayoutId id="2147486024" r:id="rId68"/>
    <p:sldLayoutId id="2147486025" r:id="rId69"/>
    <p:sldLayoutId id="2147486026" r:id="rId70"/>
    <p:sldLayoutId id="2147486027" r:id="rId71"/>
    <p:sldLayoutId id="2147486028" r:id="rId72"/>
    <p:sldLayoutId id="2147486029" r:id="rId73"/>
    <p:sldLayoutId id="2147486030" r:id="rId74"/>
    <p:sldLayoutId id="2147486031" r:id="rId75"/>
    <p:sldLayoutId id="2147486032" r:id="rId76"/>
    <p:sldLayoutId id="2147486033" r:id="rId77"/>
    <p:sldLayoutId id="2147486034" r:id="rId78"/>
    <p:sldLayoutId id="2147486035" r:id="rId79"/>
    <p:sldLayoutId id="2147486036" r:id="rId80"/>
    <p:sldLayoutId id="2147486037" r:id="rId81"/>
    <p:sldLayoutId id="2147486038" r:id="rId82"/>
    <p:sldLayoutId id="2147486039" r:id="rId83"/>
    <p:sldLayoutId id="2147486040" r:id="rId84"/>
    <p:sldLayoutId id="2147486041" r:id="rId85"/>
    <p:sldLayoutId id="2147486042" r:id="rId86"/>
    <p:sldLayoutId id="2147486043" r:id="rId87"/>
    <p:sldLayoutId id="2147486044" r:id="rId88"/>
    <p:sldLayoutId id="2147486045" r:id="rId89"/>
    <p:sldLayoutId id="2147486046" r:id="rId90"/>
    <p:sldLayoutId id="2147486047" r:id="rId91"/>
    <p:sldLayoutId id="2147486048" r:id="rId92"/>
    <p:sldLayoutId id="2147486049" r:id="rId93"/>
    <p:sldLayoutId id="2147486050" r:id="rId94"/>
    <p:sldLayoutId id="2147486051" r:id="rId95"/>
    <p:sldLayoutId id="2147486052" r:id="rId96"/>
    <p:sldLayoutId id="2147486053" r:id="rId97"/>
    <p:sldLayoutId id="2147486054" r:id="rId9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1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21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8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None/>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482159839"/>
      </p:ext>
    </p:extLst>
  </p:cSld>
  <p:clrMap bg1="lt1" tx1="dk1" bg2="lt2" tx2="dk2" accent1="accent1" accent2="accent2" accent3="accent3" accent4="accent4" accent5="accent5" accent6="accent6" hlink="hlink" folHlink="folHlink"/>
  <p:sldLayoutIdLst>
    <p:sldLayoutId id="2147486551" r:id="rId1"/>
    <p:sldLayoutId id="2147486552" r:id="rId2"/>
    <p:sldLayoutId id="2147486553" r:id="rId3"/>
    <p:sldLayoutId id="2147486554" r:id="rId4"/>
    <p:sldLayoutId id="2147486555" r:id="rId5"/>
    <p:sldLayoutId id="2147486556" r:id="rId6"/>
    <p:sldLayoutId id="2147486557" r:id="rId7"/>
    <p:sldLayoutId id="2147486558" r:id="rId8"/>
    <p:sldLayoutId id="2147486559" r:id="rId9"/>
    <p:sldLayoutId id="2147486560" r:id="rId10"/>
    <p:sldLayoutId id="2147486561" r:id="rId11"/>
    <p:sldLayoutId id="2147486562" r:id="rId12"/>
    <p:sldLayoutId id="2147486563" r:id="rId13"/>
    <p:sldLayoutId id="2147486564" r:id="rId14"/>
    <p:sldLayoutId id="2147486565" r:id="rId15"/>
    <p:sldLayoutId id="2147486566" r:id="rId16"/>
    <p:sldLayoutId id="2147486567" r:id="rId17"/>
    <p:sldLayoutId id="2147486568" r:id="rId18"/>
    <p:sldLayoutId id="2147486569" r:id="rId19"/>
    <p:sldLayoutId id="2147486570" r:id="rId20"/>
    <p:sldLayoutId id="2147486571" r:id="rId21"/>
    <p:sldLayoutId id="2147486572" r:id="rId22"/>
    <p:sldLayoutId id="2147486573" r:id="rId23"/>
    <p:sldLayoutId id="2147486574" r:id="rId24"/>
    <p:sldLayoutId id="2147486575" r:id="rId25"/>
    <p:sldLayoutId id="2147486576" r:id="rId26"/>
    <p:sldLayoutId id="2147486577" r:id="rId27"/>
    <p:sldLayoutId id="2147486578" r:id="rId28"/>
    <p:sldLayoutId id="2147486579" r:id="rId29"/>
    <p:sldLayoutId id="2147486580" r:id="rId30"/>
    <p:sldLayoutId id="2147486581" r:id="rId31"/>
    <p:sldLayoutId id="2147486582" r:id="rId32"/>
    <p:sldLayoutId id="2147486583" r:id="rId33"/>
    <p:sldLayoutId id="2147486584" r:id="rId34"/>
    <p:sldLayoutId id="2147486585" r:id="rId35"/>
    <p:sldLayoutId id="2147486586" r:id="rId36"/>
    <p:sldLayoutId id="2147486587" r:id="rId37"/>
    <p:sldLayoutId id="2147486588" r:id="rId38"/>
    <p:sldLayoutId id="2147486589" r:id="rId39"/>
    <p:sldLayoutId id="2147486590" r:id="rId40"/>
    <p:sldLayoutId id="2147486591" r:id="rId41"/>
    <p:sldLayoutId id="2147486592" r:id="rId42"/>
    <p:sldLayoutId id="2147486593" r:id="rId43"/>
    <p:sldLayoutId id="2147486594" r:id="rId44"/>
    <p:sldLayoutId id="2147486595" r:id="rId45"/>
    <p:sldLayoutId id="2147486596" r:id="rId46"/>
    <p:sldLayoutId id="2147486597" r:id="rId47"/>
    <p:sldLayoutId id="2147486598" r:id="rId48"/>
    <p:sldLayoutId id="2147486599" r:id="rId49"/>
    <p:sldLayoutId id="2147486600" r:id="rId50"/>
    <p:sldLayoutId id="2147486601" r:id="rId51"/>
    <p:sldLayoutId id="2147486602" r:id="rId52"/>
    <p:sldLayoutId id="2147486603" r:id="rId53"/>
    <p:sldLayoutId id="2147486604" r:id="rId54"/>
    <p:sldLayoutId id="2147486605" r:id="rId55"/>
    <p:sldLayoutId id="2147486606" r:id="rId56"/>
    <p:sldLayoutId id="2147486607" r:id="rId57"/>
    <p:sldLayoutId id="2147486608" r:id="rId58"/>
    <p:sldLayoutId id="2147486609" r:id="rId59"/>
    <p:sldLayoutId id="2147486610" r:id="rId60"/>
    <p:sldLayoutId id="2147486611" r:id="rId61"/>
    <p:sldLayoutId id="2147486612" r:id="rId62"/>
    <p:sldLayoutId id="2147486613" r:id="rId63"/>
    <p:sldLayoutId id="2147486614" r:id="rId64"/>
    <p:sldLayoutId id="2147486615" r:id="rId65"/>
    <p:sldLayoutId id="2147486616" r:id="rId66"/>
    <p:sldLayoutId id="2147486617" r:id="rId67"/>
    <p:sldLayoutId id="2147486618" r:id="rId68"/>
    <p:sldLayoutId id="2147486619" r:id="rId69"/>
    <p:sldLayoutId id="2147486620" r:id="rId70"/>
    <p:sldLayoutId id="2147486621" r:id="rId71"/>
    <p:sldLayoutId id="2147486622" r:id="rId72"/>
    <p:sldLayoutId id="2147486623" r:id="rId73"/>
    <p:sldLayoutId id="2147486624" r:id="rId74"/>
    <p:sldLayoutId id="2147486625" r:id="rId75"/>
    <p:sldLayoutId id="2147486626" r:id="rId76"/>
    <p:sldLayoutId id="2147486627" r:id="rId77"/>
    <p:sldLayoutId id="2147486628" r:id="rId78"/>
    <p:sldLayoutId id="2147486629" r:id="rId79"/>
    <p:sldLayoutId id="2147486630" r:id="rId80"/>
    <p:sldLayoutId id="2147486631" r:id="rId81"/>
    <p:sldLayoutId id="2147486632" r:id="rId82"/>
    <p:sldLayoutId id="2147486633" r:id="rId83"/>
    <p:sldLayoutId id="2147486634" r:id="rId84"/>
    <p:sldLayoutId id="2147486635" r:id="rId85"/>
    <p:sldLayoutId id="2147486639" r:id="rId86"/>
    <p:sldLayoutId id="2147486640" r:id="rId87"/>
    <p:sldLayoutId id="2147487288" r:id="rId88"/>
    <p:sldLayoutId id="2147488339" r:id="rId89"/>
    <p:sldLayoutId id="2147488340" r:id="rId90"/>
    <p:sldLayoutId id="2147488341" r:id="rId91"/>
    <p:sldLayoutId id="2147488342" r:id="rId92"/>
    <p:sldLayoutId id="2147488343"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1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21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8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575576"/>
            <a:ext cx="11201400" cy="429028"/>
          </a:xfrm>
          <a:prstGeom prst="rect">
            <a:avLst/>
          </a:prstGeom>
        </p:spPr>
        <p:txBody>
          <a:bodyPr vert="horz" wrap="square" lIns="0" tIns="0" rIns="0" bIns="0" rtlCol="0" anchor="b">
            <a:noAutofit/>
          </a:bodyPr>
          <a:lstStyle/>
          <a:p>
            <a:r>
              <a:rPr lang="en-US"/>
              <a:t>Click to edit Master title style</a:t>
            </a:r>
          </a:p>
        </p:txBody>
      </p:sp>
      <p:sp>
        <p:nvSpPr>
          <p:cNvPr id="12" name="Text Placeholder 11"/>
          <p:cNvSpPr>
            <a:spLocks noGrp="1"/>
          </p:cNvSpPr>
          <p:nvPr>
            <p:ph type="body" idx="1"/>
          </p:nvPr>
        </p:nvSpPr>
        <p:spPr>
          <a:xfrm>
            <a:off x="495300" y="1719071"/>
            <a:ext cx="11201400" cy="468172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98" name="TextBox 97"/>
          <p:cNvSpPr txBox="1"/>
          <p:nvPr userDrawn="1"/>
        </p:nvSpPr>
        <p:spPr>
          <a:xfrm>
            <a:off x="11571666" y="6498186"/>
            <a:ext cx="125034" cy="15388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Tree>
    <p:extLst>
      <p:ext uri="{BB962C8B-B14F-4D97-AF65-F5344CB8AC3E}">
        <p14:creationId xmlns:p14="http://schemas.microsoft.com/office/powerpoint/2010/main" val="2003200247"/>
      </p:ext>
    </p:extLst>
  </p:cSld>
  <p:clrMap bg1="lt1" tx1="dk1" bg2="lt2" tx2="dk2" accent1="accent1" accent2="accent2" accent3="accent3" accent4="accent4" accent5="accent5" accent6="accent6" hlink="hlink" folHlink="folHlink"/>
  <p:sldLayoutIdLst>
    <p:sldLayoutId id="2147486754" r:id="rId1"/>
    <p:sldLayoutId id="2147486755" r:id="rId2"/>
    <p:sldLayoutId id="2147486756" r:id="rId3"/>
    <p:sldLayoutId id="2147486757" r:id="rId4"/>
    <p:sldLayoutId id="2147486758" r:id="rId5"/>
    <p:sldLayoutId id="2147486759" r:id="rId6"/>
    <p:sldLayoutId id="2147486760" r:id="rId7"/>
    <p:sldLayoutId id="2147486761" r:id="rId8"/>
    <p:sldLayoutId id="2147486762" r:id="rId9"/>
    <p:sldLayoutId id="2147486763" r:id="rId10"/>
    <p:sldLayoutId id="2147486764" r:id="rId11"/>
    <p:sldLayoutId id="2147486765" r:id="rId12"/>
    <p:sldLayoutId id="2147486766" r:id="rId13"/>
    <p:sldLayoutId id="2147486767" r:id="rId14"/>
    <p:sldLayoutId id="2147486768" r:id="rId15"/>
    <p:sldLayoutId id="2147486769" r:id="rId16"/>
    <p:sldLayoutId id="2147486770" r:id="rId17"/>
    <p:sldLayoutId id="2147486771" r:id="rId18"/>
    <p:sldLayoutId id="2147486772" r:id="rId19"/>
    <p:sldLayoutId id="2147486773" r:id="rId20"/>
    <p:sldLayoutId id="2147486774" r:id="rId21"/>
    <p:sldLayoutId id="2147486775" r:id="rId22"/>
    <p:sldLayoutId id="2147486776" r:id="rId23"/>
    <p:sldLayoutId id="2147486777" r:id="rId24"/>
    <p:sldLayoutId id="2147486778" r:id="rId25"/>
    <p:sldLayoutId id="2147486779" r:id="rId26"/>
    <p:sldLayoutId id="2147486780" r:id="rId27"/>
    <p:sldLayoutId id="2147486781" r:id="rId28"/>
    <p:sldLayoutId id="2147486782" r:id="rId29"/>
    <p:sldLayoutId id="2147486783" r:id="rId30"/>
    <p:sldLayoutId id="2147486784" r:id="rId31"/>
    <p:sldLayoutId id="2147486785" r:id="rId32"/>
    <p:sldLayoutId id="2147486786" r:id="rId33"/>
    <p:sldLayoutId id="2147486787" r:id="rId34"/>
    <p:sldLayoutId id="2147486788" r:id="rId35"/>
    <p:sldLayoutId id="2147486789" r:id="rId36"/>
    <p:sldLayoutId id="2147486790" r:id="rId37"/>
    <p:sldLayoutId id="2147486791" r:id="rId38"/>
    <p:sldLayoutId id="2147486792" r:id="rId39"/>
    <p:sldLayoutId id="2147486793" r:id="rId40"/>
    <p:sldLayoutId id="2147486794" r:id="rId41"/>
    <p:sldLayoutId id="2147486795" r:id="rId42"/>
    <p:sldLayoutId id="2147486796" r:id="rId43"/>
    <p:sldLayoutId id="2147486797" r:id="rId44"/>
    <p:sldLayoutId id="2147486798" r:id="rId45"/>
    <p:sldLayoutId id="2147486799" r:id="rId46"/>
    <p:sldLayoutId id="2147486800" r:id="rId47"/>
    <p:sldLayoutId id="2147486801" r:id="rId48"/>
    <p:sldLayoutId id="2147486802" r:id="rId4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4266456821"/>
      </p:ext>
    </p:extLst>
  </p:cSld>
  <p:clrMap bg1="lt1" tx1="dk1" bg2="lt2" tx2="dk2" accent1="accent1" accent2="accent2" accent3="accent3" accent4="accent4" accent5="accent5" accent6="accent6" hlink="hlink" folHlink="folHlink"/>
  <p:sldLayoutIdLst>
    <p:sldLayoutId id="2147487021" r:id="rId1"/>
    <p:sldLayoutId id="2147487022" r:id="rId2"/>
    <p:sldLayoutId id="2147487023" r:id="rId3"/>
    <p:sldLayoutId id="2147487024" r:id="rId4"/>
    <p:sldLayoutId id="2147487025" r:id="rId5"/>
    <p:sldLayoutId id="2147487026" r:id="rId6"/>
    <p:sldLayoutId id="2147487027" r:id="rId7"/>
    <p:sldLayoutId id="2147487028" r:id="rId8"/>
    <p:sldLayoutId id="2147487029" r:id="rId9"/>
    <p:sldLayoutId id="2147487030" r:id="rId10"/>
    <p:sldLayoutId id="2147487031" r:id="rId11"/>
    <p:sldLayoutId id="2147487032" r:id="rId12"/>
    <p:sldLayoutId id="2147487033" r:id="rId13"/>
    <p:sldLayoutId id="2147487034" r:id="rId14"/>
    <p:sldLayoutId id="2147487035" r:id="rId15"/>
    <p:sldLayoutId id="2147487036" r:id="rId16"/>
    <p:sldLayoutId id="2147487037" r:id="rId17"/>
    <p:sldLayoutId id="2147487038" r:id="rId18"/>
    <p:sldLayoutId id="2147487039" r:id="rId19"/>
    <p:sldLayoutId id="2147487040" r:id="rId20"/>
    <p:sldLayoutId id="2147487041" r:id="rId21"/>
    <p:sldLayoutId id="2147487042" r:id="rId22"/>
    <p:sldLayoutId id="2147487043" r:id="rId23"/>
    <p:sldLayoutId id="2147487044" r:id="rId24"/>
    <p:sldLayoutId id="2147487045" r:id="rId25"/>
    <p:sldLayoutId id="2147487046" r:id="rId26"/>
    <p:sldLayoutId id="2147487047" r:id="rId27"/>
    <p:sldLayoutId id="2147487048" r:id="rId28"/>
    <p:sldLayoutId id="2147487049" r:id="rId29"/>
    <p:sldLayoutId id="2147487050" r:id="rId30"/>
    <p:sldLayoutId id="2147487051" r:id="rId31"/>
    <p:sldLayoutId id="2147487052" r:id="rId32"/>
    <p:sldLayoutId id="2147487053" r:id="rId33"/>
    <p:sldLayoutId id="2147487054" r:id="rId34"/>
    <p:sldLayoutId id="2147487055" r:id="rId35"/>
    <p:sldLayoutId id="2147487056" r:id="rId36"/>
    <p:sldLayoutId id="2147487057" r:id="rId37"/>
    <p:sldLayoutId id="2147487058" r:id="rId38"/>
    <p:sldLayoutId id="2147487059" r:id="rId39"/>
    <p:sldLayoutId id="2147487060" r:id="rId40"/>
    <p:sldLayoutId id="2147487061" r:id="rId41"/>
    <p:sldLayoutId id="2147487062" r:id="rId42"/>
    <p:sldLayoutId id="214748706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6" pos="7359">
          <p15:clr>
            <a:srgbClr val="F26B43"/>
          </p15:clr>
        </p15:guide>
        <p15:guide id="7" orient="horz" pos="4181">
          <p15:clr>
            <a:srgbClr val="F26B43"/>
          </p15:clr>
        </p15:guide>
        <p15:guide id="8" orient="horz" pos="571">
          <p15:clr>
            <a:srgbClr val="F26B43"/>
          </p15:clr>
        </p15:guide>
        <p15:guide id="9" pos="33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233868645"/>
      </p:ext>
    </p:extLst>
  </p:cSld>
  <p:clrMap bg1="lt1" tx1="dk1" bg2="lt2" tx2="dk2" accent1="accent1" accent2="accent2" accent3="accent3" accent4="accent4" accent5="accent5" accent6="accent6" hlink="hlink" folHlink="folHlink"/>
  <p:sldLayoutIdLst>
    <p:sldLayoutId id="2147487179" r:id="rId1"/>
    <p:sldLayoutId id="2147487180" r:id="rId2"/>
    <p:sldLayoutId id="2147487181" r:id="rId3"/>
    <p:sldLayoutId id="2147487182" r:id="rId4"/>
    <p:sldLayoutId id="2147487183" r:id="rId5"/>
    <p:sldLayoutId id="2147487184" r:id="rId6"/>
    <p:sldLayoutId id="2147487185" r:id="rId7"/>
    <p:sldLayoutId id="2147487186" r:id="rId8"/>
    <p:sldLayoutId id="2147487187" r:id="rId9"/>
    <p:sldLayoutId id="2147487188" r:id="rId10"/>
    <p:sldLayoutId id="2147487189" r:id="rId11"/>
    <p:sldLayoutId id="2147487190" r:id="rId12"/>
    <p:sldLayoutId id="2147487191" r:id="rId13"/>
    <p:sldLayoutId id="2147487192" r:id="rId14"/>
    <p:sldLayoutId id="2147487193" r:id="rId15"/>
    <p:sldLayoutId id="2147487194" r:id="rId16"/>
    <p:sldLayoutId id="2147487195" r:id="rId17"/>
    <p:sldLayoutId id="2147487196" r:id="rId18"/>
    <p:sldLayoutId id="2147487197" r:id="rId19"/>
    <p:sldLayoutId id="2147487198" r:id="rId20"/>
    <p:sldLayoutId id="2147487199" r:id="rId21"/>
    <p:sldLayoutId id="2147487200" r:id="rId22"/>
    <p:sldLayoutId id="2147487201" r:id="rId23"/>
    <p:sldLayoutId id="2147487202" r:id="rId24"/>
    <p:sldLayoutId id="2147487203" r:id="rId25"/>
    <p:sldLayoutId id="2147487204" r:id="rId26"/>
    <p:sldLayoutId id="2147487205" r:id="rId27"/>
    <p:sldLayoutId id="2147487206" r:id="rId28"/>
    <p:sldLayoutId id="2147487207" r:id="rId29"/>
    <p:sldLayoutId id="2147487208" r:id="rId30"/>
    <p:sldLayoutId id="2147487209" r:id="rId31"/>
    <p:sldLayoutId id="2147487210" r:id="rId32"/>
    <p:sldLayoutId id="2147487211" r:id="rId33"/>
    <p:sldLayoutId id="2147487212" r:id="rId34"/>
    <p:sldLayoutId id="2147487213" r:id="rId35"/>
    <p:sldLayoutId id="2147487214" r:id="rId36"/>
    <p:sldLayoutId id="2147487215" r:id="rId37"/>
    <p:sldLayoutId id="2147487216" r:id="rId38"/>
    <p:sldLayoutId id="2147487217" r:id="rId39"/>
    <p:sldLayoutId id="2147487218" r:id="rId40"/>
    <p:sldLayoutId id="2147487219" r:id="rId41"/>
    <p:sldLayoutId id="2147487220" r:id="rId42"/>
    <p:sldLayoutId id="2147487221" r:id="rId43"/>
    <p:sldLayoutId id="2147487222" r:id="rId44"/>
    <p:sldLayoutId id="2147487223" r:id="rId45"/>
    <p:sldLayoutId id="2147487224" r:id="rId46"/>
    <p:sldLayoutId id="2147487225" r:id="rId47"/>
    <p:sldLayoutId id="2147487226" r:id="rId48"/>
    <p:sldLayoutId id="2147487227" r:id="rId49"/>
    <p:sldLayoutId id="2147487228" r:id="rId50"/>
    <p:sldLayoutId id="2147487229" r:id="rId51"/>
    <p:sldLayoutId id="2147487230" r:id="rId52"/>
    <p:sldLayoutId id="2147487231" r:id="rId53"/>
    <p:sldLayoutId id="2147487232" r:id="rId54"/>
    <p:sldLayoutId id="2147487233" r:id="rId55"/>
    <p:sldLayoutId id="2147487234" r:id="rId56"/>
    <p:sldLayoutId id="2147487235" r:id="rId57"/>
    <p:sldLayoutId id="2147487236" r:id="rId58"/>
    <p:sldLayoutId id="2147487237" r:id="rId59"/>
    <p:sldLayoutId id="2147487238" r:id="rId60"/>
    <p:sldLayoutId id="2147487239" r:id="rId61"/>
    <p:sldLayoutId id="2147487240" r:id="rId62"/>
    <p:sldLayoutId id="2147487241" r:id="rId63"/>
    <p:sldLayoutId id="2147487242" r:id="rId64"/>
    <p:sldLayoutId id="2147487243" r:id="rId65"/>
    <p:sldLayoutId id="2147487244" r:id="rId66"/>
    <p:sldLayoutId id="2147487245" r:id="rId67"/>
    <p:sldLayoutId id="2147487246" r:id="rId68"/>
    <p:sldLayoutId id="2147487247" r:id="rId69"/>
    <p:sldLayoutId id="2147487248" r:id="rId70"/>
    <p:sldLayoutId id="2147487249" r:id="rId71"/>
    <p:sldLayoutId id="2147487250" r:id="rId72"/>
    <p:sldLayoutId id="2147487251" r:id="rId73"/>
    <p:sldLayoutId id="2147487252" r:id="rId74"/>
    <p:sldLayoutId id="2147487253" r:id="rId75"/>
    <p:sldLayoutId id="2147487254" r:id="rId76"/>
    <p:sldLayoutId id="2147487255" r:id="rId77"/>
    <p:sldLayoutId id="2147487256" r:id="rId78"/>
    <p:sldLayoutId id="2147487257" r:id="rId79"/>
    <p:sldLayoutId id="2147487258" r:id="rId80"/>
    <p:sldLayoutId id="2147487259" r:id="rId81"/>
    <p:sldLayoutId id="2147487260" r:id="rId82"/>
    <p:sldLayoutId id="2147487261" r:id="rId83"/>
    <p:sldLayoutId id="2147487262" r:id="rId84"/>
    <p:sldLayoutId id="2147487264" r:id="rId85"/>
    <p:sldLayoutId id="2147487266" r:id="rId86"/>
    <p:sldLayoutId id="2147487267" r:id="rId8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Media Web Symposium 2023</a:t>
            </a:r>
          </a:p>
        </p:txBody>
      </p:sp>
    </p:spTree>
    <p:extLst>
      <p:ext uri="{BB962C8B-B14F-4D97-AF65-F5344CB8AC3E}">
        <p14:creationId xmlns:p14="http://schemas.microsoft.com/office/powerpoint/2010/main" val="3479264877"/>
      </p:ext>
    </p:extLst>
  </p:cSld>
  <p:clrMap bg1="lt1" tx1="dk1" bg2="lt2" tx2="dk2" accent1="accent1" accent2="accent2" accent3="accent3" accent4="accent4" accent5="accent5" accent6="accent6" hlink="hlink" folHlink="folHlink"/>
  <p:sldLayoutIdLst>
    <p:sldLayoutId id="2147487475" r:id="rId1"/>
    <p:sldLayoutId id="2147487476" r:id="rId2"/>
    <p:sldLayoutId id="2147487477" r:id="rId3"/>
    <p:sldLayoutId id="2147487478" r:id="rId4"/>
    <p:sldLayoutId id="2147487479" r:id="rId5"/>
    <p:sldLayoutId id="2147487480" r:id="rId6"/>
    <p:sldLayoutId id="2147487481" r:id="rId7"/>
    <p:sldLayoutId id="2147487482" r:id="rId8"/>
    <p:sldLayoutId id="2147487483" r:id="rId9"/>
    <p:sldLayoutId id="2147487484" r:id="rId10"/>
    <p:sldLayoutId id="2147487485" r:id="rId11"/>
    <p:sldLayoutId id="2147487486" r:id="rId12"/>
    <p:sldLayoutId id="2147487487" r:id="rId13"/>
    <p:sldLayoutId id="2147487488" r:id="rId14"/>
    <p:sldLayoutId id="2147487489" r:id="rId15"/>
    <p:sldLayoutId id="2147487490" r:id="rId16"/>
    <p:sldLayoutId id="2147487491" r:id="rId17"/>
    <p:sldLayoutId id="2147487492" r:id="rId18"/>
    <p:sldLayoutId id="2147487493" r:id="rId19"/>
    <p:sldLayoutId id="2147487494" r:id="rId20"/>
    <p:sldLayoutId id="2147487495" r:id="rId21"/>
    <p:sldLayoutId id="2147487496" r:id="rId22"/>
    <p:sldLayoutId id="2147487497" r:id="rId23"/>
    <p:sldLayoutId id="2147487498" r:id="rId24"/>
    <p:sldLayoutId id="2147487499" r:id="rId25"/>
    <p:sldLayoutId id="2147487500" r:id="rId26"/>
    <p:sldLayoutId id="2147487501" r:id="rId27"/>
    <p:sldLayoutId id="2147487502" r:id="rId28"/>
    <p:sldLayoutId id="2147487503" r:id="rId29"/>
    <p:sldLayoutId id="2147487504" r:id="rId30"/>
    <p:sldLayoutId id="2147487505" r:id="rId31"/>
    <p:sldLayoutId id="2147487506" r:id="rId32"/>
    <p:sldLayoutId id="2147487507" r:id="rId33"/>
    <p:sldLayoutId id="2147487508" r:id="rId34"/>
    <p:sldLayoutId id="2147487509" r:id="rId35"/>
    <p:sldLayoutId id="2147487510" r:id="rId36"/>
    <p:sldLayoutId id="2147487511" r:id="rId37"/>
    <p:sldLayoutId id="2147487512" r:id="rId38"/>
    <p:sldLayoutId id="2147487513" r:id="rId39"/>
    <p:sldLayoutId id="2147487514" r:id="rId40"/>
    <p:sldLayoutId id="2147487515" r:id="rId41"/>
    <p:sldLayoutId id="2147487516" r:id="rId42"/>
    <p:sldLayoutId id="2147487517" r:id="rId43"/>
    <p:sldLayoutId id="2147487518" r:id="rId44"/>
    <p:sldLayoutId id="2147487519" r:id="rId45"/>
    <p:sldLayoutId id="2147487520" r:id="rId46"/>
    <p:sldLayoutId id="2147487521" r:id="rId47"/>
    <p:sldLayoutId id="2147487522" r:id="rId48"/>
    <p:sldLayoutId id="2147487523" r:id="rId49"/>
    <p:sldLayoutId id="2147487524" r:id="rId50"/>
    <p:sldLayoutId id="2147487525" r:id="rId51"/>
    <p:sldLayoutId id="2147487526" r:id="rId52"/>
    <p:sldLayoutId id="2147487527" r:id="rId53"/>
    <p:sldLayoutId id="2147487528" r:id="rId54"/>
    <p:sldLayoutId id="2147487529" r:id="rId55"/>
    <p:sldLayoutId id="2147487530" r:id="rId56"/>
    <p:sldLayoutId id="2147487531" r:id="rId57"/>
    <p:sldLayoutId id="2147487532" r:id="rId58"/>
    <p:sldLayoutId id="2147487533" r:id="rId59"/>
    <p:sldLayoutId id="2147487534" r:id="rId60"/>
    <p:sldLayoutId id="2147487535" r:id="rId61"/>
    <p:sldLayoutId id="2147487536" r:id="rId62"/>
    <p:sldLayoutId id="2147487537" r:id="rId63"/>
    <p:sldLayoutId id="2147487538" r:id="rId64"/>
    <p:sldLayoutId id="2147487539" r:id="rId65"/>
    <p:sldLayoutId id="2147487540" r:id="rId66"/>
    <p:sldLayoutId id="2147487541" r:id="rId67"/>
    <p:sldLayoutId id="2147487542" r:id="rId68"/>
    <p:sldLayoutId id="2147487543" r:id="rId69"/>
    <p:sldLayoutId id="2147487544" r:id="rId70"/>
    <p:sldLayoutId id="2147487545" r:id="rId71"/>
    <p:sldLayoutId id="2147487546" r:id="rId72"/>
    <p:sldLayoutId id="2147487547" r:id="rId73"/>
    <p:sldLayoutId id="2147487548" r:id="rId74"/>
    <p:sldLayoutId id="2147487549" r:id="rId75"/>
    <p:sldLayoutId id="2147487550" r:id="rId76"/>
    <p:sldLayoutId id="2147487551" r:id="rId77"/>
    <p:sldLayoutId id="2147487552" r:id="rId78"/>
    <p:sldLayoutId id="2147487553" r:id="rId79"/>
    <p:sldLayoutId id="2147487554" r:id="rId80"/>
    <p:sldLayoutId id="2147487555" r:id="rId81"/>
    <p:sldLayoutId id="2147487556" r:id="rId8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Qualcomm Next" pitchFamily="50" charset="0"/>
                <a:ea typeface="+mn-ea"/>
                <a:cs typeface="+mn-cs"/>
              </a:defRPr>
            </a:lvl1pPr>
          </a:lstStyle>
          <a:p>
            <a:r>
              <a:rPr lang="en-US"/>
              <a:t>Media Web Symposium 2023</a:t>
            </a:r>
          </a:p>
        </p:txBody>
      </p:sp>
    </p:spTree>
    <p:extLst>
      <p:ext uri="{BB962C8B-B14F-4D97-AF65-F5344CB8AC3E}">
        <p14:creationId xmlns:p14="http://schemas.microsoft.com/office/powerpoint/2010/main" val="2217652565"/>
      </p:ext>
    </p:extLst>
  </p:cSld>
  <p:clrMap bg1="lt1" tx1="dk1" bg2="lt2" tx2="dk2" accent1="accent1" accent2="accent2" accent3="accent3" accent4="accent4" accent5="accent5" accent6="accent6" hlink="hlink" folHlink="folHlink"/>
  <p:sldLayoutIdLst>
    <p:sldLayoutId id="2147487558" r:id="rId1"/>
    <p:sldLayoutId id="2147487559" r:id="rId2"/>
    <p:sldLayoutId id="2147487560" r:id="rId3"/>
    <p:sldLayoutId id="2147487561" r:id="rId4"/>
    <p:sldLayoutId id="2147487562" r:id="rId5"/>
    <p:sldLayoutId id="2147487563" r:id="rId6"/>
    <p:sldLayoutId id="2147487564" r:id="rId7"/>
    <p:sldLayoutId id="2147487565" r:id="rId8"/>
    <p:sldLayoutId id="2147487566" r:id="rId9"/>
    <p:sldLayoutId id="2147487567" r:id="rId10"/>
    <p:sldLayoutId id="2147487568" r:id="rId11"/>
    <p:sldLayoutId id="2147487569" r:id="rId12"/>
    <p:sldLayoutId id="2147487570" r:id="rId13"/>
    <p:sldLayoutId id="2147487571" r:id="rId14"/>
    <p:sldLayoutId id="2147487572" r:id="rId15"/>
    <p:sldLayoutId id="2147487573" r:id="rId16"/>
    <p:sldLayoutId id="2147487574" r:id="rId17"/>
    <p:sldLayoutId id="2147487575" r:id="rId18"/>
    <p:sldLayoutId id="2147487576" r:id="rId19"/>
    <p:sldLayoutId id="2147487577" r:id="rId20"/>
    <p:sldLayoutId id="2147487578" r:id="rId21"/>
    <p:sldLayoutId id="2147487579" r:id="rId22"/>
    <p:sldLayoutId id="2147487580" r:id="rId23"/>
    <p:sldLayoutId id="2147487581" r:id="rId24"/>
    <p:sldLayoutId id="2147487582" r:id="rId25"/>
    <p:sldLayoutId id="2147487583" r:id="rId26"/>
    <p:sldLayoutId id="2147487584" r:id="rId27"/>
    <p:sldLayoutId id="2147487585" r:id="rId28"/>
    <p:sldLayoutId id="2147487586" r:id="rId29"/>
    <p:sldLayoutId id="2147487587" r:id="rId30"/>
    <p:sldLayoutId id="2147487588" r:id="rId31"/>
    <p:sldLayoutId id="2147487589" r:id="rId32"/>
    <p:sldLayoutId id="2147487590" r:id="rId33"/>
    <p:sldLayoutId id="2147487591" r:id="rId34"/>
    <p:sldLayoutId id="2147487592" r:id="rId35"/>
    <p:sldLayoutId id="2147487593" r:id="rId36"/>
    <p:sldLayoutId id="2147487594" r:id="rId37"/>
    <p:sldLayoutId id="2147487595" r:id="rId38"/>
    <p:sldLayoutId id="2147487596" r:id="rId39"/>
    <p:sldLayoutId id="2147487597" r:id="rId40"/>
    <p:sldLayoutId id="2147487598" r:id="rId41"/>
    <p:sldLayoutId id="2147487599" r:id="rId42"/>
    <p:sldLayoutId id="2147487600" r:id="rId43"/>
    <p:sldLayoutId id="2147487601" r:id="rId44"/>
    <p:sldLayoutId id="2147487602" r:id="rId45"/>
    <p:sldLayoutId id="2147487603" r:id="rId46"/>
    <p:sldLayoutId id="2147487604" r:id="rId47"/>
    <p:sldLayoutId id="2147487605" r:id="rId48"/>
    <p:sldLayoutId id="2147487606" r:id="rId49"/>
    <p:sldLayoutId id="2147487607" r:id="rId50"/>
    <p:sldLayoutId id="2147487608" r:id="rId51"/>
    <p:sldLayoutId id="2147487609" r:id="rId52"/>
    <p:sldLayoutId id="2147487610" r:id="rId53"/>
    <p:sldLayoutId id="2147487611" r:id="rId54"/>
    <p:sldLayoutId id="2147487612" r:id="rId55"/>
    <p:sldLayoutId id="2147487613" r:id="rId56"/>
    <p:sldLayoutId id="2147487614" r:id="rId57"/>
    <p:sldLayoutId id="2147487615" r:id="rId58"/>
    <p:sldLayoutId id="2147487616" r:id="rId59"/>
    <p:sldLayoutId id="2147487617" r:id="rId60"/>
    <p:sldLayoutId id="2147487618" r:id="rId61"/>
    <p:sldLayoutId id="2147487619" r:id="rId62"/>
    <p:sldLayoutId id="2147487620" r:id="rId63"/>
    <p:sldLayoutId id="2147487621" r:id="rId64"/>
    <p:sldLayoutId id="2147487622" r:id="rId65"/>
    <p:sldLayoutId id="2147487623" r:id="rId66"/>
    <p:sldLayoutId id="2147487624" r:id="rId67"/>
    <p:sldLayoutId id="2147487625" r:id="rId68"/>
    <p:sldLayoutId id="2147487626" r:id="rId69"/>
    <p:sldLayoutId id="2147487627" r:id="rId70"/>
    <p:sldLayoutId id="2147487628" r:id="rId71"/>
    <p:sldLayoutId id="2147487629" r:id="rId72"/>
    <p:sldLayoutId id="2147487630" r:id="rId73"/>
    <p:sldLayoutId id="2147487631" r:id="rId74"/>
    <p:sldLayoutId id="2147487632" r:id="rId75"/>
    <p:sldLayoutId id="2147487633" r:id="rId76"/>
    <p:sldLayoutId id="2147487634" r:id="rId77"/>
    <p:sldLayoutId id="2147487635" r:id="rId78"/>
    <p:sldLayoutId id="2147487636" r:id="rId79"/>
    <p:sldLayoutId id="2147487637" r:id="rId80"/>
    <p:sldLayoutId id="2147487638" r:id="rId81"/>
    <p:sldLayoutId id="2147487639" r:id="rId8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4000"/>
        </a:lnSpc>
        <a:spcBef>
          <a:spcPct val="0"/>
        </a:spcBef>
        <a:buNone/>
        <a:defRPr sz="3400" b="0" kern="1200" baseline="0">
          <a:solidFill>
            <a:schemeClr val="tx1"/>
          </a:solidFill>
          <a:latin typeface="Qualcomm Next" pitchFamily="2" charset="0"/>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Qualcomm Next" pitchFamily="2" charset="0"/>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Qualcomm Next" pitchFamily="2" charset="0"/>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Qualcomm Next" pitchFamily="2" charset="0"/>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Qualcomm Next" pitchFamily="2" charset="0"/>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Qualcomm Next" pitchFamily="2" charset="0"/>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979133528"/>
      </p:ext>
    </p:extLst>
  </p:cSld>
  <p:clrMap bg1="lt1" tx1="dk1" bg2="lt2" tx2="dk2" accent1="accent1" accent2="accent2" accent3="accent3" accent4="accent4" accent5="accent5" accent6="accent6" hlink="hlink" folHlink="folHlink"/>
  <p:sldLayoutIdLst>
    <p:sldLayoutId id="2147487641" r:id="rId1"/>
    <p:sldLayoutId id="2147487642" r:id="rId2"/>
    <p:sldLayoutId id="2147487643" r:id="rId3"/>
    <p:sldLayoutId id="2147487644" r:id="rId4"/>
    <p:sldLayoutId id="2147487645" r:id="rId5"/>
    <p:sldLayoutId id="2147487646" r:id="rId6"/>
    <p:sldLayoutId id="2147487647" r:id="rId7"/>
    <p:sldLayoutId id="2147487648" r:id="rId8"/>
    <p:sldLayoutId id="2147487649" r:id="rId9"/>
    <p:sldLayoutId id="2147487650" r:id="rId10"/>
    <p:sldLayoutId id="2147487651" r:id="rId11"/>
    <p:sldLayoutId id="2147487652" r:id="rId12"/>
    <p:sldLayoutId id="2147487653" r:id="rId13"/>
    <p:sldLayoutId id="2147487654" r:id="rId14"/>
    <p:sldLayoutId id="2147487655" r:id="rId15"/>
    <p:sldLayoutId id="2147487656" r:id="rId16"/>
    <p:sldLayoutId id="2147487657" r:id="rId17"/>
    <p:sldLayoutId id="2147487658" r:id="rId18"/>
    <p:sldLayoutId id="2147487659" r:id="rId19"/>
    <p:sldLayoutId id="2147487660" r:id="rId20"/>
    <p:sldLayoutId id="2147487661" r:id="rId21"/>
    <p:sldLayoutId id="2147487662" r:id="rId22"/>
    <p:sldLayoutId id="2147487663" r:id="rId23"/>
    <p:sldLayoutId id="2147487664" r:id="rId24"/>
    <p:sldLayoutId id="2147487665" r:id="rId25"/>
    <p:sldLayoutId id="2147487666" r:id="rId26"/>
    <p:sldLayoutId id="2147487667" r:id="rId27"/>
    <p:sldLayoutId id="2147487668" r:id="rId28"/>
    <p:sldLayoutId id="2147487669" r:id="rId29"/>
    <p:sldLayoutId id="2147487670" r:id="rId30"/>
    <p:sldLayoutId id="2147487671" r:id="rId31"/>
    <p:sldLayoutId id="2147487672" r:id="rId32"/>
    <p:sldLayoutId id="2147487673" r:id="rId33"/>
    <p:sldLayoutId id="2147487674" r:id="rId34"/>
    <p:sldLayoutId id="2147487675" r:id="rId35"/>
    <p:sldLayoutId id="2147487676" r:id="rId36"/>
    <p:sldLayoutId id="2147487677" r:id="rId37"/>
    <p:sldLayoutId id="2147487678" r:id="rId38"/>
    <p:sldLayoutId id="2147487679" r:id="rId39"/>
    <p:sldLayoutId id="2147487680" r:id="rId40"/>
    <p:sldLayoutId id="2147487681" r:id="rId41"/>
    <p:sldLayoutId id="2147487682" r:id="rId42"/>
    <p:sldLayoutId id="2147487683" r:id="rId43"/>
    <p:sldLayoutId id="2147487684"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6" pos="7359">
          <p15:clr>
            <a:srgbClr val="F26B43"/>
          </p15:clr>
        </p15:guide>
        <p15:guide id="7" orient="horz" pos="4181">
          <p15:clr>
            <a:srgbClr val="F26B43"/>
          </p15:clr>
        </p15:guide>
        <p15:guide id="8" orient="horz" pos="571">
          <p15:clr>
            <a:srgbClr val="F26B43"/>
          </p15:clr>
        </p15:guide>
        <p15:guide id="9" pos="33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2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11.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Layout" Target="../slideLayouts/slideLayout162.xml"/></Relationships>
</file>

<file path=ppt/slides/_rels/slide12.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2.png"/><Relationship Id="rId7" Type="http://schemas.openxmlformats.org/officeDocument/2006/relationships/image" Target="../media/image64.png"/><Relationship Id="rId2" Type="http://schemas.openxmlformats.org/officeDocument/2006/relationships/notesSlide" Target="../notesSlides/notesSlide6.xml"/><Relationship Id="rId1" Type="http://schemas.openxmlformats.org/officeDocument/2006/relationships/slideLayout" Target="../slideLayouts/slideLayout230.xml"/><Relationship Id="rId6" Type="http://schemas.openxmlformats.org/officeDocument/2006/relationships/hyperlink" Target="http://www.malaysianwireless.com/2016/01/viu-malaysia-free-streaming-korean-dramas/" TargetMode="External"/><Relationship Id="rId5" Type="http://schemas.openxmlformats.org/officeDocument/2006/relationships/image" Target="../media/image63.jpg"/><Relationship Id="rId10" Type="http://schemas.openxmlformats.org/officeDocument/2006/relationships/hyperlink" Target="https://freesvg.org/network-server-vector-image" TargetMode="External"/><Relationship Id="rId4" Type="http://schemas.openxmlformats.org/officeDocument/2006/relationships/hyperlink" Target="https://www.freepngimg.com/png/77733-mobile-phones-youtube-streaming-live-facebook-home" TargetMode="External"/><Relationship Id="rId9" Type="http://schemas.openxmlformats.org/officeDocument/2006/relationships/image" Target="../media/image66.png"/></Relationships>
</file>

<file path=ppt/slides/_rels/slide13.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Layout" Target="../slideLayouts/slideLayout16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15.xml.rels><?xml version="1.0" encoding="UTF-8" standalone="yes"?>
<Relationships xmlns="http://schemas.openxmlformats.org/package/2006/relationships"><Relationship Id="rId3" Type="http://schemas.openxmlformats.org/officeDocument/2006/relationships/package" Target="../embeddings/Microsoft_Visio_Drawing6.vsdx"/><Relationship Id="rId2" Type="http://schemas.openxmlformats.org/officeDocument/2006/relationships/notesSlide" Target="../notesSlides/notesSlide7.xml"/><Relationship Id="rId1" Type="http://schemas.openxmlformats.org/officeDocument/2006/relationships/slideLayout" Target="../slideLayouts/slideLayout163.xml"/><Relationship Id="rId4" Type="http://schemas.openxmlformats.org/officeDocument/2006/relationships/image" Target="../media/image68.emf"/></Relationships>
</file>

<file path=ppt/slides/_rels/slide1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6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1.xml"/></Relationships>
</file>

<file path=ppt/slides/_rels/slide18.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6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6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8" Type="http://schemas.openxmlformats.org/officeDocument/2006/relationships/hyperlink" Target="https://github.com/haudiobe" TargetMode="External"/><Relationship Id="rId3" Type="http://schemas.openxmlformats.org/officeDocument/2006/relationships/image" Target="../media/image30.jpg"/><Relationship Id="rId7"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160.xml"/><Relationship Id="rId6" Type="http://schemas.openxmlformats.org/officeDocument/2006/relationships/hyperlink" Target="https://www.facebook.com/tstockhammer" TargetMode="External"/><Relationship Id="rId11" Type="http://schemas.openxmlformats.org/officeDocument/2006/relationships/image" Target="../media/image34.png"/><Relationship Id="rId5" Type="http://schemas.openxmlformats.org/officeDocument/2006/relationships/image" Target="../media/image31.png"/><Relationship Id="rId10" Type="http://schemas.openxmlformats.org/officeDocument/2006/relationships/hyperlink" Target="https://discord.com/channels/thomassto#6183" TargetMode="External"/><Relationship Id="rId4" Type="http://schemas.openxmlformats.org/officeDocument/2006/relationships/hyperlink" Target="http://www.linkedin.com/in/stockhammer" TargetMode="External"/><Relationship Id="rId9" Type="http://schemas.openxmlformats.org/officeDocument/2006/relationships/image" Target="../media/image33.png"/></Relationships>
</file>

<file path=ppt/slides/_rels/slide20.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161.xml"/></Relationships>
</file>

<file path=ppt/slides/_rels/slide21.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Layout" Target="../slideLayouts/slideLayout161.xml"/></Relationships>
</file>

<file path=ppt/slides/_rels/slide22.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package" Target="../embeddings/Microsoft_Visio_Drawing7.vsdx"/><Relationship Id="rId1" Type="http://schemas.openxmlformats.org/officeDocument/2006/relationships/slideLayout" Target="../slideLayouts/slideLayout162.xml"/></Relationships>
</file>

<file path=ppt/slides/_rels/slide23.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package" Target="../embeddings/Microsoft_Visio_Drawing8.vsdx"/><Relationship Id="rId1" Type="http://schemas.openxmlformats.org/officeDocument/2006/relationships/slideLayout" Target="../slideLayouts/slideLayout162.xml"/></Relationships>
</file>

<file path=ppt/slides/_rels/slide24.xml.rels><?xml version="1.0" encoding="UTF-8" standalone="yes"?>
<Relationships xmlns="http://schemas.openxmlformats.org/package/2006/relationships"><Relationship Id="rId3" Type="http://schemas.openxmlformats.org/officeDocument/2006/relationships/image" Target="../media/image74.wmf"/><Relationship Id="rId2" Type="http://schemas.openxmlformats.org/officeDocument/2006/relationships/oleObject" Target="../embeddings/oleObject2.bin"/><Relationship Id="rId1" Type="http://schemas.openxmlformats.org/officeDocument/2006/relationships/slideLayout" Target="../slideLayouts/slideLayout16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2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32.xml"/></Relationships>
</file>

<file path=ppt/slides/_rels/slide27.xml.rels><?xml version="1.0" encoding="UTF-8" standalone="yes"?>
<Relationships xmlns="http://schemas.openxmlformats.org/package/2006/relationships"><Relationship Id="rId3" Type="http://schemas.openxmlformats.org/officeDocument/2006/relationships/hyperlink" Target="https://developer.5g-mag.com/" TargetMode="External"/><Relationship Id="rId7" Type="http://schemas.openxmlformats.org/officeDocument/2006/relationships/image" Target="../media/image80.png"/><Relationship Id="rId2" Type="http://schemas.openxmlformats.org/officeDocument/2006/relationships/image" Target="../media/image76.png"/><Relationship Id="rId1" Type="http://schemas.openxmlformats.org/officeDocument/2006/relationships/slideLayout" Target="../slideLayouts/slideLayout233.xml"/><Relationship Id="rId6" Type="http://schemas.openxmlformats.org/officeDocument/2006/relationships/image" Target="../media/image79.jpg"/><Relationship Id="rId5" Type="http://schemas.openxmlformats.org/officeDocument/2006/relationships/image" Target="../media/image78.svg"/><Relationship Id="rId4" Type="http://schemas.openxmlformats.org/officeDocument/2006/relationships/image" Target="../media/image77.png"/></Relationships>
</file>

<file path=ppt/slides/_rels/slide2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34.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9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hyperlink" Target="https://www.sandvine.com/global-internet-phenomena-report-2023-download" TargetMode="External"/><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image" Target="../media/image35.png"/><Relationship Id="rId16" Type="http://schemas.openxmlformats.org/officeDocument/2006/relationships/image" Target="../media/image47.jpeg"/><Relationship Id="rId1" Type="http://schemas.openxmlformats.org/officeDocument/2006/relationships/slideLayout" Target="../slideLayouts/slideLayout162.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hyperlink" Target="https://bitmovin.com/video-developer-report/#pdf" TargetMode="External"/><Relationship Id="rId15" Type="http://schemas.openxmlformats.org/officeDocument/2006/relationships/image" Target="../media/image46.jpeg"/><Relationship Id="rId10" Type="http://schemas.openxmlformats.org/officeDocument/2006/relationships/image" Target="../media/image41.png"/><Relationship Id="rId4" Type="http://schemas.openxmlformats.org/officeDocument/2006/relationships/image" Target="../media/image36.png"/><Relationship Id="rId9" Type="http://schemas.openxmlformats.org/officeDocument/2006/relationships/image" Target="../media/image40.png"/><Relationship Id="rId14" Type="http://schemas.openxmlformats.org/officeDocument/2006/relationships/image" Target="../media/image45.png"/></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2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86.xml"/></Relationships>
</file>

<file path=ppt/slides/_rels/slide4.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package" Target="../embeddings/Microsoft_Visio_Drawing.vsdx"/><Relationship Id="rId1" Type="http://schemas.openxmlformats.org/officeDocument/2006/relationships/slideLayout" Target="../slideLayouts/slideLayout162.xml"/><Relationship Id="rId5" Type="http://schemas.openxmlformats.org/officeDocument/2006/relationships/image" Target="../media/image50.w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3.xml"/><Relationship Id="rId1" Type="http://schemas.openxmlformats.org/officeDocument/2006/relationships/slideLayout" Target="../slideLayouts/slideLayout16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60.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52.png"/><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54.png"/><Relationship Id="rId3" Type="http://schemas.microsoft.com/office/2007/relationships/media" Target="../media/media3.mp4"/><Relationship Id="rId7" Type="http://schemas.openxmlformats.org/officeDocument/2006/relationships/image" Target="../media/image53.png"/><Relationship Id="rId2" Type="http://schemas.microsoft.com/office/2007/relationships/media" Target="../media/media2.mp4"/><Relationship Id="rId1" Type="http://schemas.openxmlformats.org/officeDocument/2006/relationships/video" Target="NULL" TargetMode="External"/><Relationship Id="rId6" Type="http://schemas.openxmlformats.org/officeDocument/2006/relationships/notesSlide" Target="../notesSlides/notesSlide5.xml"/><Relationship Id="rId5" Type="http://schemas.openxmlformats.org/officeDocument/2006/relationships/slideLayout" Target="../slideLayouts/slideLayout160.xml"/><Relationship Id="rId4" Type="http://schemas.openxmlformats.org/officeDocument/2006/relationships/video" Target="../media/media3.mp4"/></Relationships>
</file>

<file path=ppt/slides/_rels/slide8.xml.rels><?xml version="1.0" encoding="UTF-8" standalone="yes"?>
<Relationships xmlns="http://schemas.openxmlformats.org/package/2006/relationships"><Relationship Id="rId8" Type="http://schemas.openxmlformats.org/officeDocument/2006/relationships/package" Target="../embeddings/Microsoft_Visio_Drawing4.vsdx"/><Relationship Id="rId3" Type="http://schemas.openxmlformats.org/officeDocument/2006/relationships/image" Target="../media/image55.emf"/><Relationship Id="rId7" Type="http://schemas.openxmlformats.org/officeDocument/2006/relationships/image" Target="../media/image57.emf"/><Relationship Id="rId2" Type="http://schemas.openxmlformats.org/officeDocument/2006/relationships/package" Target="../embeddings/Microsoft_Visio_Drawing1.vsdx"/><Relationship Id="rId1" Type="http://schemas.openxmlformats.org/officeDocument/2006/relationships/slideLayout" Target="../slideLayouts/slideLayout162.xml"/><Relationship Id="rId6" Type="http://schemas.openxmlformats.org/officeDocument/2006/relationships/package" Target="../embeddings/Microsoft_Visio_Drawing3.vsdx"/><Relationship Id="rId11" Type="http://schemas.openxmlformats.org/officeDocument/2006/relationships/image" Target="../media/image59.emf"/><Relationship Id="rId5" Type="http://schemas.openxmlformats.org/officeDocument/2006/relationships/image" Target="../media/image56.emf"/><Relationship Id="rId10" Type="http://schemas.openxmlformats.org/officeDocument/2006/relationships/package" Target="../embeddings/Microsoft_Visio_Drawing5.vsdx"/><Relationship Id="rId4" Type="http://schemas.openxmlformats.org/officeDocument/2006/relationships/package" Target="../embeddings/Microsoft_Visio_Drawing2.vsdx"/><Relationship Id="rId9" Type="http://schemas.openxmlformats.org/officeDocument/2006/relationships/image" Target="../media/image58.emf"/></Relationships>
</file>

<file path=ppt/slides/_rels/slide9.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49DD38F-15E5-4926-9A6E-F50C71118940}"/>
              </a:ext>
            </a:extLst>
          </p:cNvPr>
          <p:cNvPicPr>
            <a:picLocks noChangeAspect="1"/>
          </p:cNvPicPr>
          <p:nvPr/>
        </p:nvPicPr>
        <p:blipFill>
          <a:blip r:embed="rId3"/>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CD0A6C69-DC25-46B3-83FE-D668C146E2A2}"/>
              </a:ext>
            </a:extLst>
          </p:cNvPr>
          <p:cNvSpPr/>
          <p:nvPr/>
        </p:nvSpPr>
        <p:spPr>
          <a:xfrm>
            <a:off x="1" y="0"/>
            <a:ext cx="12191999" cy="6858000"/>
          </a:xfrm>
          <a:prstGeom prst="rect">
            <a:avLst/>
          </a:prstGeom>
          <a:gradFill>
            <a:gsLst>
              <a:gs pos="17000">
                <a:srgbClr val="151831">
                  <a:alpha val="70000"/>
                </a:srgbClr>
              </a:gs>
              <a:gs pos="36000">
                <a:srgbClr val="222346">
                  <a:alpha val="38824"/>
                </a:srgbClr>
              </a:gs>
              <a:gs pos="92000">
                <a:schemeClr val="bg1">
                  <a:alpha val="0"/>
                </a:schemeClr>
              </a:gs>
              <a:gs pos="58000">
                <a:srgbClr val="3B223E">
                  <a:alpha val="11765"/>
                </a:srgb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ext Placeholder 5">
            <a:extLst>
              <a:ext uri="{FF2B5EF4-FFF2-40B4-BE49-F238E27FC236}">
                <a16:creationId xmlns:a16="http://schemas.microsoft.com/office/drawing/2014/main" id="{779D1A01-EBAB-4C36-8881-4DFDF7CC3D24}"/>
              </a:ext>
            </a:extLst>
          </p:cNvPr>
          <p:cNvSpPr>
            <a:spLocks noGrp="1"/>
          </p:cNvSpPr>
          <p:nvPr>
            <p:ph type="body" sz="quarter" idx="13" hasCustomPrompt="1"/>
          </p:nvPr>
        </p:nvSpPr>
        <p:spPr>
          <a:xfrm>
            <a:off x="3350218" y="366133"/>
            <a:ext cx="2608489" cy="241285"/>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June 12, 2023</a:t>
            </a:r>
          </a:p>
        </p:txBody>
      </p:sp>
      <p:sp>
        <p:nvSpPr>
          <p:cNvPr id="12" name="Text Placeholder 48">
            <a:extLst>
              <a:ext uri="{FF2B5EF4-FFF2-40B4-BE49-F238E27FC236}">
                <a16:creationId xmlns:a16="http://schemas.microsoft.com/office/drawing/2014/main" id="{07F1BC89-21D6-4CEE-AEB7-D5406EF3BE2B}"/>
              </a:ext>
            </a:extLst>
          </p:cNvPr>
          <p:cNvSpPr>
            <a:spLocks noGrp="1"/>
          </p:cNvSpPr>
          <p:nvPr>
            <p:ph type="body" sz="quarter" idx="14" hasCustomPrompt="1"/>
          </p:nvPr>
        </p:nvSpPr>
        <p:spPr>
          <a:xfrm>
            <a:off x="5958707" y="386990"/>
            <a:ext cx="3985393" cy="241285"/>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Media Web Symposium 2023</a:t>
            </a:r>
          </a:p>
        </p:txBody>
      </p:sp>
      <p:sp>
        <p:nvSpPr>
          <p:cNvPr id="3" name="Title 2">
            <a:extLst>
              <a:ext uri="{FF2B5EF4-FFF2-40B4-BE49-F238E27FC236}">
                <a16:creationId xmlns:a16="http://schemas.microsoft.com/office/drawing/2014/main" id="{2584845F-75C2-415A-8317-9BE337A0A649}"/>
              </a:ext>
            </a:extLst>
          </p:cNvPr>
          <p:cNvSpPr>
            <a:spLocks noGrp="1"/>
          </p:cNvSpPr>
          <p:nvPr>
            <p:ph type="title"/>
          </p:nvPr>
        </p:nvSpPr>
        <p:spPr>
          <a:xfrm>
            <a:off x="431636" y="1685758"/>
            <a:ext cx="10033164" cy="2168863"/>
          </a:xfrm>
        </p:spPr>
        <p:txBody>
          <a:bodyPr anchor="ctr"/>
          <a:lstStyle/>
          <a:p>
            <a:r>
              <a:rPr lang="en-US" sz="5400" dirty="0"/>
              <a:t>5G Media Streaming Advances:  </a:t>
            </a:r>
            <a:br>
              <a:rPr lang="en-US" sz="5400" dirty="0"/>
            </a:br>
            <a:r>
              <a:rPr lang="en-US" sz="5400" dirty="0"/>
              <a:t>towards a universal Media Distribution Platform</a:t>
            </a:r>
            <a:endParaRPr lang="en-US" sz="1600" dirty="0"/>
          </a:p>
        </p:txBody>
      </p:sp>
      <p:sp>
        <p:nvSpPr>
          <p:cNvPr id="16" name="Freeform 5">
            <a:extLst>
              <a:ext uri="{FF2B5EF4-FFF2-40B4-BE49-F238E27FC236}">
                <a16:creationId xmlns:a16="http://schemas.microsoft.com/office/drawing/2014/main" id="{06C7F0AE-140D-4634-92AC-2929EC1FBE2C}"/>
              </a:ext>
            </a:extLst>
          </p:cNvPr>
          <p:cNvSpPr>
            <a:spLocks noChangeAspect="1" noEditPoints="1"/>
          </p:cNvSpPr>
          <p:nvPr/>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7" name="Text Placeholder 7">
            <a:extLst>
              <a:ext uri="{FF2B5EF4-FFF2-40B4-BE49-F238E27FC236}">
                <a16:creationId xmlns:a16="http://schemas.microsoft.com/office/drawing/2014/main" id="{BE281CEE-A427-9343-B066-3987258CBC3E}"/>
              </a:ext>
            </a:extLst>
          </p:cNvPr>
          <p:cNvSpPr txBox="1">
            <a:spLocks/>
          </p:cNvSpPr>
          <p:nvPr/>
        </p:nvSpPr>
        <p:spPr bwMode="black">
          <a:xfrm>
            <a:off x="9076177" y="366133"/>
            <a:ext cx="2620523" cy="443198"/>
          </a:xfrm>
          <a:prstGeom prst="rect">
            <a:avLst/>
          </a:prstGeom>
        </p:spPr>
        <p:txBody>
          <a:bodyPr vert="horz" wrap="square" lIns="0" tIns="0" rIns="0" bIns="0" rtlCol="0" anchor="b">
            <a:spAutoFit/>
          </a:bodyPr>
          <a:lstStyle>
            <a:lvl1pPr marL="0" marR="0" indent="0" algn="r" defTabSz="914400" rtl="0" eaLnBrk="1" fontAlgn="auto" latinLnBrk="0" hangingPunct="1">
              <a:lnSpc>
                <a:spcPct val="90000"/>
              </a:lnSpc>
              <a:spcBef>
                <a:spcPts val="0"/>
              </a:spcBef>
              <a:spcAft>
                <a:spcPts val="0"/>
              </a:spcAft>
              <a:buClr>
                <a:srgbClr val="3253DC"/>
              </a:buClr>
              <a:buSzTx/>
              <a:buFont typeface="Arial" panose="020B0604020202020204" pitchFamily="34" charset="0"/>
              <a:buNone/>
              <a:tabLst/>
              <a:defRPr sz="1600" b="1" kern="1200" baseline="0">
                <a:solidFill>
                  <a:schemeClr val="bg1"/>
                </a:solidFill>
                <a:latin typeface="+mn-lt"/>
                <a:ea typeface="+mn-ea"/>
                <a:cs typeface="+mn-cs"/>
              </a:defRPr>
            </a:lvl1pPr>
            <a:lvl2pPr marL="0" indent="0" algn="r" defTabSz="914400" rtl="0" eaLnBrk="1" latinLnBrk="0" hangingPunct="1">
              <a:lnSpc>
                <a:spcPct val="90000"/>
              </a:lnSpc>
              <a:spcBef>
                <a:spcPts val="0"/>
              </a:spcBef>
              <a:buClr>
                <a:schemeClr val="tx1">
                  <a:lumMod val="85000"/>
                  <a:lumOff val="15000"/>
                </a:schemeClr>
              </a:buClr>
              <a:buFont typeface="Arial" panose="020B0604020202020204" pitchFamily="34" charset="0"/>
              <a:buNone/>
              <a:defRPr sz="1600" kern="1200" baseline="0">
                <a:solidFill>
                  <a:schemeClr val="bg1"/>
                </a:solidFill>
                <a:latin typeface="+mn-lt"/>
                <a:ea typeface="+mn-ea"/>
                <a:cs typeface="+mn-cs"/>
              </a:defRPr>
            </a:lvl2pPr>
            <a:lvl3pPr marL="0" indent="0" algn="r" defTabSz="914400" rtl="0" eaLnBrk="1" latinLnBrk="0" hangingPunct="1">
              <a:lnSpc>
                <a:spcPct val="90000"/>
              </a:lnSpc>
              <a:spcBef>
                <a:spcPts val="0"/>
              </a:spcBef>
              <a:buClr>
                <a:schemeClr val="tx1">
                  <a:lumMod val="85000"/>
                  <a:lumOff val="15000"/>
                </a:schemeClr>
              </a:buClr>
              <a:buFont typeface="Microsoft Sans Serif" panose="020B0604020202020204" pitchFamily="34" charset="0"/>
              <a:buNone/>
              <a:defRPr lang="en-US" sz="1600" kern="1200">
                <a:solidFill>
                  <a:schemeClr val="bg1"/>
                </a:solidFill>
                <a:latin typeface="+mn-lt"/>
                <a:ea typeface="+mn-ea"/>
                <a:cs typeface="+mn-cs"/>
              </a:defRPr>
            </a:lvl3pPr>
            <a:lvl4pPr marL="0" indent="0" algn="r" defTabSz="914400" rtl="0" eaLnBrk="1" latinLnBrk="0" hangingPunct="1">
              <a:lnSpc>
                <a:spcPct val="90000"/>
              </a:lnSpc>
              <a:spcBef>
                <a:spcPts val="0"/>
              </a:spcBef>
              <a:buClr>
                <a:schemeClr val="tx1">
                  <a:lumMod val="85000"/>
                  <a:lumOff val="15000"/>
                </a:schemeClr>
              </a:buClr>
              <a:buFont typeface="Arial" panose="020B0604020202020204" pitchFamily="34" charset="0"/>
              <a:buNone/>
              <a:defRPr sz="1600" kern="1200">
                <a:solidFill>
                  <a:schemeClr val="bg1"/>
                </a:solidFill>
                <a:latin typeface="+mn-lt"/>
                <a:ea typeface="+mn-ea"/>
                <a:cs typeface="+mn-cs"/>
              </a:defRPr>
            </a:lvl4pPr>
            <a:lvl5pPr marL="0" indent="0" algn="r" defTabSz="914400" rtl="0" eaLnBrk="1" latinLnBrk="0" hangingPunct="1">
              <a:lnSpc>
                <a:spcPct val="90000"/>
              </a:lnSpc>
              <a:spcBef>
                <a:spcPts val="0"/>
              </a:spcBef>
              <a:buClr>
                <a:srgbClr val="595959"/>
              </a:buClr>
              <a:buFont typeface="Microsoft Sans Serif" panose="020B0604020202020204" pitchFamily="34" charset="0"/>
              <a:buNone/>
              <a:tabLst/>
              <a:defRPr sz="1600" kern="1200" baseline="0">
                <a:solidFill>
                  <a:schemeClr val="bg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
                <a:srgbClr val="3253DC"/>
              </a:buClr>
              <a:buSzTx/>
              <a:buFont typeface="Arial" panose="020B0604020202020204" pitchFamily="34" charset="0"/>
              <a:buNone/>
              <a:tabLst/>
              <a:defRPr/>
            </a:pPr>
            <a:r>
              <a:rPr kumimoji="0" lang="en-US" sz="1600" b="1" i="0" u="none" strike="noStrike" kern="1200" cap="none" spc="0" normalizeH="0" baseline="0" noProof="0">
                <a:ln>
                  <a:noFill/>
                </a:ln>
                <a:solidFill>
                  <a:srgbClr val="F7F8FA"/>
                </a:solidFill>
                <a:effectLst/>
                <a:uLnTx/>
                <a:uFillTx/>
                <a:latin typeface="Microsoft Sans Serif"/>
                <a:ea typeface="+mn-ea"/>
                <a:cs typeface="+mn-cs"/>
              </a:rPr>
              <a:t>@</a:t>
            </a:r>
            <a:r>
              <a:rPr kumimoji="0" lang="en-US" sz="1600" b="1" i="0" u="none" strike="noStrike" kern="1200" cap="none" spc="0" normalizeH="0" baseline="0" noProof="0" err="1">
                <a:ln>
                  <a:noFill/>
                </a:ln>
                <a:solidFill>
                  <a:srgbClr val="F7F8FA"/>
                </a:solidFill>
                <a:effectLst/>
                <a:uLnTx/>
                <a:uFillTx/>
                <a:latin typeface="Microsoft Sans Serif"/>
                <a:ea typeface="+mn-ea"/>
                <a:cs typeface="+mn-cs"/>
              </a:rPr>
              <a:t>qualcomm</a:t>
            </a:r>
            <a:r>
              <a:rPr kumimoji="0" lang="en-US" sz="1600" b="1" i="0" u="none" strike="noStrike" kern="1200" cap="none" spc="0" normalizeH="0" baseline="0" noProof="0">
                <a:ln>
                  <a:noFill/>
                </a:ln>
                <a:solidFill>
                  <a:srgbClr val="F7F8FA"/>
                </a:solidFill>
                <a:effectLst/>
                <a:uLnTx/>
                <a:uFillTx/>
                <a:latin typeface="Microsoft Sans Serif"/>
                <a:ea typeface="+mn-ea"/>
                <a:cs typeface="+mn-cs"/>
              </a:rPr>
              <a:t>_tech</a:t>
            </a:r>
          </a:p>
          <a:p>
            <a:pPr marL="0" marR="0" lvl="0" indent="0" algn="r" defTabSz="914400" rtl="0" eaLnBrk="1" fontAlgn="auto" latinLnBrk="0" hangingPunct="1">
              <a:lnSpc>
                <a:spcPct val="90000"/>
              </a:lnSpc>
              <a:spcBef>
                <a:spcPts val="0"/>
              </a:spcBef>
              <a:spcAft>
                <a:spcPts val="0"/>
              </a:spcAft>
              <a:buClr>
                <a:srgbClr val="3253DC"/>
              </a:buClr>
              <a:buSzTx/>
              <a:buFont typeface="Arial" panose="020B0604020202020204" pitchFamily="34" charset="0"/>
              <a:buNone/>
              <a:tabLst/>
              <a:defRPr/>
            </a:pPr>
            <a:endParaRPr kumimoji="0" lang="en-US" sz="1600" b="1" i="0" u="none" strike="noStrike" kern="1200" cap="none" spc="0" normalizeH="0" baseline="0" noProof="0">
              <a:ln>
                <a:noFill/>
              </a:ln>
              <a:solidFill>
                <a:srgbClr val="F7F8FA"/>
              </a:solidFill>
              <a:effectLst/>
              <a:uLnTx/>
              <a:uFillTx/>
              <a:latin typeface="Microsoft Sans Serif"/>
              <a:ea typeface="+mn-ea"/>
              <a:cs typeface="+mn-cs"/>
            </a:endParaRPr>
          </a:p>
        </p:txBody>
      </p:sp>
      <p:sp>
        <p:nvSpPr>
          <p:cNvPr id="10" name="Text Placeholder 7">
            <a:extLst>
              <a:ext uri="{FF2B5EF4-FFF2-40B4-BE49-F238E27FC236}">
                <a16:creationId xmlns:a16="http://schemas.microsoft.com/office/drawing/2014/main" id="{6DA8A551-B5C8-40AD-8A71-D58C6F83DACC}"/>
              </a:ext>
            </a:extLst>
          </p:cNvPr>
          <p:cNvSpPr>
            <a:spLocks noGrp="1"/>
          </p:cNvSpPr>
          <p:nvPr>
            <p:ph type="body" sz="quarter" idx="10"/>
          </p:nvPr>
        </p:nvSpPr>
        <p:spPr>
          <a:xfrm>
            <a:off x="495299" y="4944712"/>
            <a:ext cx="8580878" cy="1342830"/>
          </a:xfrm>
        </p:spPr>
        <p:txBody>
          <a:bodyPr/>
          <a:lstStyle/>
          <a:p>
            <a:r>
              <a:rPr lang="en-US" dirty="0"/>
              <a:t>Dr. Thomas Stockhammer</a:t>
            </a:r>
          </a:p>
          <a:p>
            <a:r>
              <a:rPr lang="en-US" dirty="0"/>
              <a:t>Senior Director Technical Standards</a:t>
            </a:r>
          </a:p>
          <a:p>
            <a:r>
              <a:rPr lang="en-US" dirty="0"/>
              <a:t>Qualcomm Technologies</a:t>
            </a:r>
          </a:p>
        </p:txBody>
      </p:sp>
    </p:spTree>
    <p:extLst>
      <p:ext uri="{BB962C8B-B14F-4D97-AF65-F5344CB8AC3E}">
        <p14:creationId xmlns:p14="http://schemas.microsoft.com/office/powerpoint/2010/main" val="3478403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EA31D70-A693-654E-9FED-A0079B100A62}"/>
              </a:ext>
            </a:extLst>
          </p:cNvPr>
          <p:cNvSpPr>
            <a:spLocks noGrp="1"/>
          </p:cNvSpPr>
          <p:nvPr>
            <p:ph type="ftr" sz="quarter" idx="10"/>
          </p:nvPr>
        </p:nvSpPr>
        <p:spPr/>
        <p:txBody>
          <a:bodyPr/>
          <a:lstStyle/>
          <a:p>
            <a:r>
              <a:rPr lang="en-US"/>
              <a:t>Media Web Symposium 2023</a:t>
            </a:r>
            <a:endParaRPr lang="en-US" dirty="0"/>
          </a:p>
        </p:txBody>
      </p:sp>
      <p:sp>
        <p:nvSpPr>
          <p:cNvPr id="3" name="Title 2">
            <a:extLst>
              <a:ext uri="{FF2B5EF4-FFF2-40B4-BE49-F238E27FC236}">
                <a16:creationId xmlns:a16="http://schemas.microsoft.com/office/drawing/2014/main" id="{CC763D3D-F8E2-D539-EC3D-04138570715C}"/>
              </a:ext>
            </a:extLst>
          </p:cNvPr>
          <p:cNvSpPr>
            <a:spLocks noGrp="1"/>
          </p:cNvSpPr>
          <p:nvPr>
            <p:ph type="title"/>
          </p:nvPr>
        </p:nvSpPr>
        <p:spPr>
          <a:xfrm>
            <a:off x="495300" y="642644"/>
            <a:ext cx="11187112" cy="361959"/>
          </a:xfrm>
        </p:spPr>
        <p:txBody>
          <a:bodyPr/>
          <a:lstStyle/>
          <a:p>
            <a:r>
              <a:rPr lang="de-DE" dirty="0"/>
              <a:t>3GPP Specifications for Edge Enablers</a:t>
            </a:r>
            <a:endParaRPr lang="en-US" dirty="0"/>
          </a:p>
        </p:txBody>
      </p:sp>
      <p:sp>
        <p:nvSpPr>
          <p:cNvPr id="6" name="Content Placeholder 8">
            <a:extLst>
              <a:ext uri="{FF2B5EF4-FFF2-40B4-BE49-F238E27FC236}">
                <a16:creationId xmlns:a16="http://schemas.microsoft.com/office/drawing/2014/main" id="{8CEF34B2-FEF0-79B9-00DB-E81680169D4A}"/>
              </a:ext>
            </a:extLst>
          </p:cNvPr>
          <p:cNvSpPr>
            <a:spLocks noGrp="1"/>
          </p:cNvSpPr>
          <p:nvPr>
            <p:ph sz="quarter" idx="14"/>
          </p:nvPr>
        </p:nvSpPr>
        <p:spPr>
          <a:xfrm>
            <a:off x="495300" y="1209675"/>
            <a:ext cx="11187113" cy="5191125"/>
          </a:xfrm>
        </p:spPr>
        <p:txBody>
          <a:bodyPr>
            <a:normAutofit/>
          </a:bodyPr>
          <a:lstStyle/>
          <a:p>
            <a:pPr marL="0" indent="0">
              <a:buClr>
                <a:srgbClr val="00A0D2"/>
              </a:buClr>
              <a:buNone/>
            </a:pPr>
            <a:r>
              <a:rPr lang="en-US" sz="1800" b="1" dirty="0">
                <a:solidFill>
                  <a:schemeClr val="tx1"/>
                </a:solidFill>
              </a:rPr>
              <a:t>SA6:</a:t>
            </a:r>
          </a:p>
          <a:p>
            <a:pPr>
              <a:buClr>
                <a:srgbClr val="00A0D2"/>
              </a:buClr>
            </a:pPr>
            <a:r>
              <a:rPr lang="en-US" sz="1800" dirty="0">
                <a:solidFill>
                  <a:srgbClr val="00A0D2"/>
                </a:solidFill>
              </a:rPr>
              <a:t>TS 23.558: </a:t>
            </a:r>
            <a:r>
              <a:rPr lang="en-US" sz="1800" dirty="0">
                <a:solidFill>
                  <a:schemeClr val="tx1"/>
                </a:solidFill>
              </a:rPr>
              <a:t>Architecture for enabling Edge Applications</a:t>
            </a:r>
          </a:p>
          <a:p>
            <a:pPr marL="0" indent="0">
              <a:buClr>
                <a:srgbClr val="00A0D2"/>
              </a:buClr>
              <a:buNone/>
            </a:pPr>
            <a:r>
              <a:rPr lang="en-US" sz="1800" b="1" dirty="0">
                <a:solidFill>
                  <a:schemeClr val="tx1"/>
                </a:solidFill>
              </a:rPr>
              <a:t>SA2:</a:t>
            </a:r>
          </a:p>
          <a:p>
            <a:pPr>
              <a:buClr>
                <a:srgbClr val="00A0D2"/>
              </a:buClr>
            </a:pPr>
            <a:r>
              <a:rPr lang="en-US" sz="1800" dirty="0">
                <a:solidFill>
                  <a:srgbClr val="00A0D2"/>
                </a:solidFill>
              </a:rPr>
              <a:t>TS 23.501:</a:t>
            </a:r>
            <a:r>
              <a:rPr lang="en-US" sz="1800" dirty="0">
                <a:solidFill>
                  <a:schemeClr val="tx1"/>
                </a:solidFill>
              </a:rPr>
              <a:t> Policy and charging control framework for the 5G System (5GS); Stage 2</a:t>
            </a:r>
          </a:p>
          <a:p>
            <a:pPr>
              <a:buClr>
                <a:srgbClr val="00A0D2"/>
              </a:buClr>
            </a:pPr>
            <a:r>
              <a:rPr lang="en-US" sz="1800" dirty="0">
                <a:solidFill>
                  <a:srgbClr val="00A0D2"/>
                </a:solidFill>
              </a:rPr>
              <a:t>TS 23.548: </a:t>
            </a:r>
            <a:r>
              <a:rPr lang="en-US" sz="1800" dirty="0">
                <a:solidFill>
                  <a:schemeClr val="tx1"/>
                </a:solidFill>
              </a:rPr>
              <a:t>5G System Enhancements for Edge Computing; Stage 2</a:t>
            </a:r>
          </a:p>
          <a:p>
            <a:pPr marL="0" indent="0">
              <a:buClr>
                <a:srgbClr val="00A0D2"/>
              </a:buClr>
              <a:buNone/>
            </a:pPr>
            <a:r>
              <a:rPr lang="en-US" sz="1800" b="1" dirty="0">
                <a:solidFill>
                  <a:schemeClr val="tx1"/>
                </a:solidFill>
              </a:rPr>
              <a:t>SA4:</a:t>
            </a:r>
          </a:p>
          <a:p>
            <a:pPr>
              <a:buClr>
                <a:srgbClr val="00A0D2"/>
              </a:buClr>
            </a:pPr>
            <a:r>
              <a:rPr lang="en-US" sz="1800" dirty="0">
                <a:solidFill>
                  <a:srgbClr val="00A0D2"/>
                </a:solidFill>
              </a:rPr>
              <a:t>TS 26.501:</a:t>
            </a:r>
            <a:r>
              <a:rPr lang="en-US" sz="1800" dirty="0"/>
              <a:t> </a:t>
            </a:r>
            <a:r>
              <a:rPr lang="en-US" sz="1800" dirty="0">
                <a:solidFill>
                  <a:schemeClr val="tx1"/>
                </a:solidFill>
              </a:rPr>
              <a:t>5G Media Streaming (5GMS): General description and architecture</a:t>
            </a:r>
          </a:p>
          <a:p>
            <a:pPr>
              <a:buClr>
                <a:srgbClr val="00A0D2"/>
              </a:buClr>
            </a:pPr>
            <a:r>
              <a:rPr lang="en-US" sz="1800" dirty="0">
                <a:solidFill>
                  <a:srgbClr val="00A0D2"/>
                </a:solidFill>
              </a:rPr>
              <a:t>TS 26.512:</a:t>
            </a:r>
            <a:r>
              <a:rPr lang="en-US" sz="1800" dirty="0">
                <a:solidFill>
                  <a:schemeClr val="tx1"/>
                </a:solidFill>
              </a:rPr>
              <a:t> 5G Media Streaming (5GMS): Protocols</a:t>
            </a:r>
          </a:p>
          <a:p>
            <a:pPr marL="0" indent="0">
              <a:buClr>
                <a:srgbClr val="00A0D2"/>
              </a:buClr>
              <a:buNone/>
            </a:pPr>
            <a:r>
              <a:rPr lang="en-US" sz="1800" b="1" dirty="0">
                <a:solidFill>
                  <a:schemeClr val="tx1"/>
                </a:solidFill>
              </a:rPr>
              <a:t>CT1:</a:t>
            </a:r>
          </a:p>
          <a:p>
            <a:pPr>
              <a:buClr>
                <a:srgbClr val="00A0D2"/>
              </a:buClr>
            </a:pPr>
            <a:r>
              <a:rPr lang="en-US" sz="1800" dirty="0">
                <a:solidFill>
                  <a:srgbClr val="00A0D2"/>
                </a:solidFill>
              </a:rPr>
              <a:t>TS 24.558: </a:t>
            </a:r>
            <a:r>
              <a:rPr lang="en-US" sz="1800" dirty="0">
                <a:solidFill>
                  <a:schemeClr val="tx1"/>
                </a:solidFill>
              </a:rPr>
              <a:t>Enabling Edge Applications: Protocol specification</a:t>
            </a:r>
          </a:p>
          <a:p>
            <a:pPr marL="0" indent="0">
              <a:buClr>
                <a:srgbClr val="00A0D2"/>
              </a:buClr>
              <a:buNone/>
            </a:pPr>
            <a:r>
              <a:rPr lang="en-US" sz="1800" b="1" dirty="0">
                <a:solidFill>
                  <a:schemeClr val="tx1"/>
                </a:solidFill>
              </a:rPr>
              <a:t>CT3:</a:t>
            </a:r>
          </a:p>
          <a:p>
            <a:pPr>
              <a:buClr>
                <a:srgbClr val="00A0D2"/>
              </a:buClr>
            </a:pPr>
            <a:r>
              <a:rPr lang="en-US" sz="1800" dirty="0">
                <a:solidFill>
                  <a:srgbClr val="00A0D2"/>
                </a:solidFill>
              </a:rPr>
              <a:t>TS 29.558: </a:t>
            </a:r>
            <a:r>
              <a:rPr lang="en-US" sz="1800" dirty="0">
                <a:solidFill>
                  <a:schemeClr val="tx1"/>
                </a:solidFill>
              </a:rPr>
              <a:t>Enabling Edge Applications; Application Programming Interface (API) specification; Stage 3</a:t>
            </a:r>
          </a:p>
        </p:txBody>
      </p:sp>
    </p:spTree>
    <p:extLst>
      <p:ext uri="{BB962C8B-B14F-4D97-AF65-F5344CB8AC3E}">
        <p14:creationId xmlns:p14="http://schemas.microsoft.com/office/powerpoint/2010/main" val="11512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18CFC41-F5AB-C497-C180-2954A66D5E6C}"/>
              </a:ext>
            </a:extLst>
          </p:cNvPr>
          <p:cNvSpPr>
            <a:spLocks noGrp="1"/>
          </p:cNvSpPr>
          <p:nvPr>
            <p:ph type="ftr" sz="quarter" idx="10"/>
          </p:nvPr>
        </p:nvSpPr>
        <p:spPr/>
        <p:txBody>
          <a:bodyPr/>
          <a:lstStyle/>
          <a:p>
            <a:r>
              <a:rPr lang="en-US"/>
              <a:t>Media Web Symposium 2023</a:t>
            </a:r>
            <a:endParaRPr lang="en-US" dirty="0"/>
          </a:p>
        </p:txBody>
      </p:sp>
      <p:sp>
        <p:nvSpPr>
          <p:cNvPr id="2" name="Title 1">
            <a:extLst>
              <a:ext uri="{FF2B5EF4-FFF2-40B4-BE49-F238E27FC236}">
                <a16:creationId xmlns:a16="http://schemas.microsoft.com/office/drawing/2014/main" id="{28C720FF-636B-448E-0C1F-E0180088AB6D}"/>
              </a:ext>
            </a:extLst>
          </p:cNvPr>
          <p:cNvSpPr>
            <a:spLocks noGrp="1"/>
          </p:cNvSpPr>
          <p:nvPr>
            <p:ph type="title"/>
          </p:nvPr>
        </p:nvSpPr>
        <p:spPr/>
        <p:txBody>
          <a:bodyPr/>
          <a:lstStyle/>
          <a:p>
            <a:r>
              <a:rPr lang="de-DE" dirty="0"/>
              <a:t>Rel-17 5GMS and Edge</a:t>
            </a:r>
            <a:endParaRPr lang="en-US" dirty="0"/>
          </a:p>
        </p:txBody>
      </p:sp>
      <p:sp>
        <p:nvSpPr>
          <p:cNvPr id="17" name="Content Placeholder 16">
            <a:extLst>
              <a:ext uri="{FF2B5EF4-FFF2-40B4-BE49-F238E27FC236}">
                <a16:creationId xmlns:a16="http://schemas.microsoft.com/office/drawing/2014/main" id="{5CDA4D86-0678-10B8-D2E6-DC727AE740A6}"/>
              </a:ext>
            </a:extLst>
          </p:cNvPr>
          <p:cNvSpPr>
            <a:spLocks noGrp="1"/>
          </p:cNvSpPr>
          <p:nvPr>
            <p:ph sz="quarter" idx="14"/>
          </p:nvPr>
        </p:nvSpPr>
        <p:spPr>
          <a:xfrm>
            <a:off x="495300" y="1719072"/>
            <a:ext cx="5085085" cy="4681727"/>
          </a:xfrm>
        </p:spPr>
        <p:txBody>
          <a:bodyPr/>
          <a:lstStyle/>
          <a:p>
            <a:r>
              <a:rPr lang="en-US" sz="2400" dirty="0"/>
              <a:t>Building on EDGEAPP and other 3GPP work on edge</a:t>
            </a:r>
          </a:p>
          <a:p>
            <a:r>
              <a:rPr lang="en-US" sz="2400" dirty="0"/>
              <a:t>Application Provider Provisioning</a:t>
            </a:r>
          </a:p>
          <a:p>
            <a:pPr lvl="1"/>
            <a:r>
              <a:rPr lang="en-US" sz="1400" dirty="0"/>
              <a:t>Define application needs for edge resource and QoS requirement templates</a:t>
            </a:r>
          </a:p>
          <a:p>
            <a:r>
              <a:rPr lang="en-US" sz="2400" dirty="0"/>
              <a:t>Network Assistance</a:t>
            </a:r>
          </a:p>
          <a:p>
            <a:pPr lvl="1"/>
            <a:r>
              <a:rPr lang="en-US" sz="1400" dirty="0"/>
              <a:t>5GMS AF works with the MSH (in UE) to translate templates into actual allocations for a media session</a:t>
            </a:r>
          </a:p>
          <a:p>
            <a:pPr lvl="1"/>
            <a:r>
              <a:rPr lang="en-US" sz="1400" dirty="0"/>
              <a:t>UE discovers Edge Server that meets the requirements and can server the application</a:t>
            </a:r>
          </a:p>
          <a:p>
            <a:r>
              <a:rPr lang="en-US" sz="2400" dirty="0"/>
              <a:t>Core Application: XR Split Rendering</a:t>
            </a:r>
          </a:p>
          <a:p>
            <a:endParaRPr lang="en-US" sz="1800" dirty="0"/>
          </a:p>
          <a:p>
            <a:endParaRPr lang="en-US" sz="2400" dirty="0"/>
          </a:p>
        </p:txBody>
      </p:sp>
      <p:sp>
        <p:nvSpPr>
          <p:cNvPr id="16" name="Subtitle 15">
            <a:extLst>
              <a:ext uri="{FF2B5EF4-FFF2-40B4-BE49-F238E27FC236}">
                <a16:creationId xmlns:a16="http://schemas.microsoft.com/office/drawing/2014/main" id="{A3F6E1BD-3E4D-6744-82BD-1B6DE5621084}"/>
              </a:ext>
            </a:extLst>
          </p:cNvPr>
          <p:cNvSpPr>
            <a:spLocks noGrp="1"/>
          </p:cNvSpPr>
          <p:nvPr>
            <p:ph type="subTitle" idx="1"/>
          </p:nvPr>
        </p:nvSpPr>
        <p:spPr>
          <a:xfrm>
            <a:off x="494189" y="1088135"/>
            <a:ext cx="11188223" cy="236347"/>
          </a:xfrm>
        </p:spPr>
        <p:txBody>
          <a:bodyPr/>
          <a:lstStyle/>
          <a:p>
            <a:r>
              <a:rPr lang="en-US" dirty="0"/>
              <a:t>Enabling MM services with stringent requirements</a:t>
            </a:r>
          </a:p>
        </p:txBody>
      </p:sp>
      <p:pic>
        <p:nvPicPr>
          <p:cNvPr id="6" name="Content Placeholder 4">
            <a:extLst>
              <a:ext uri="{FF2B5EF4-FFF2-40B4-BE49-F238E27FC236}">
                <a16:creationId xmlns:a16="http://schemas.microsoft.com/office/drawing/2014/main" id="{4093F05E-F373-87BB-D88E-770687371728}"/>
              </a:ext>
            </a:extLst>
          </p:cNvPr>
          <p:cNvPicPr>
            <a:picLocks/>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2852" y="1569025"/>
            <a:ext cx="5123848" cy="3740454"/>
          </a:xfrm>
          <a:prstGeom prst="rect">
            <a:avLst/>
          </a:prstGeom>
          <a:noFill/>
          <a:ln>
            <a:noFill/>
          </a:ln>
        </p:spPr>
      </p:pic>
      <p:grpSp>
        <p:nvGrpSpPr>
          <p:cNvPr id="7" name="Group 6">
            <a:extLst>
              <a:ext uri="{FF2B5EF4-FFF2-40B4-BE49-F238E27FC236}">
                <a16:creationId xmlns:a16="http://schemas.microsoft.com/office/drawing/2014/main" id="{DA5EBCEC-D56A-1991-97DE-B51195D2644A}"/>
              </a:ext>
            </a:extLst>
          </p:cNvPr>
          <p:cNvGrpSpPr/>
          <p:nvPr/>
        </p:nvGrpSpPr>
        <p:grpSpPr>
          <a:xfrm>
            <a:off x="5864307" y="5412129"/>
            <a:ext cx="6112525" cy="799100"/>
            <a:chOff x="2991798" y="4281933"/>
            <a:chExt cx="6112525" cy="799100"/>
          </a:xfrm>
        </p:grpSpPr>
        <p:sp>
          <p:nvSpPr>
            <p:cNvPr id="8" name="Arrow: Pentagon 7">
              <a:extLst>
                <a:ext uri="{FF2B5EF4-FFF2-40B4-BE49-F238E27FC236}">
                  <a16:creationId xmlns:a16="http://schemas.microsoft.com/office/drawing/2014/main" id="{0046CAFF-3039-86D2-52F4-A5983A757916}"/>
                </a:ext>
              </a:extLst>
            </p:cNvPr>
            <p:cNvSpPr/>
            <p:nvPr/>
          </p:nvSpPr>
          <p:spPr>
            <a:xfrm>
              <a:off x="2991798" y="4778063"/>
              <a:ext cx="1029622" cy="302970"/>
            </a:xfrm>
            <a:prstGeom prst="homePlat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1200" b="1" dirty="0">
                  <a:solidFill>
                    <a:srgbClr val="000000"/>
                  </a:solidFill>
                  <a:latin typeface="Microsoft Sans Serif"/>
                  <a:cs typeface="Microsoft Sans Serif" panose="020B0604020202020204" pitchFamily="34" charset="0"/>
                </a:rPr>
                <a:t>FS_EMSA</a:t>
              </a:r>
            </a:p>
          </p:txBody>
        </p:sp>
        <p:sp>
          <p:nvSpPr>
            <p:cNvPr id="9" name="Arrow: Chevron 8">
              <a:extLst>
                <a:ext uri="{FF2B5EF4-FFF2-40B4-BE49-F238E27FC236}">
                  <a16:creationId xmlns:a16="http://schemas.microsoft.com/office/drawing/2014/main" id="{11C8B0FB-0E77-4012-E0D4-3041A51DBC1A}"/>
                </a:ext>
              </a:extLst>
            </p:cNvPr>
            <p:cNvSpPr/>
            <p:nvPr/>
          </p:nvSpPr>
          <p:spPr>
            <a:xfrm>
              <a:off x="3910344" y="4768319"/>
              <a:ext cx="1573929" cy="302970"/>
            </a:xfrm>
            <a:prstGeom prst="chevron">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1200" b="1" dirty="0">
                  <a:solidFill>
                    <a:srgbClr val="000000"/>
                  </a:solidFill>
                  <a:latin typeface="Microsoft Sans Serif"/>
                  <a:cs typeface="Microsoft Sans Serif" panose="020B0604020202020204" pitchFamily="34" charset="0"/>
                </a:rPr>
                <a:t>5GMS_EDGE</a:t>
              </a:r>
            </a:p>
          </p:txBody>
        </p:sp>
        <p:sp>
          <p:nvSpPr>
            <p:cNvPr id="10" name="Arrow: Chevron 9">
              <a:extLst>
                <a:ext uri="{FF2B5EF4-FFF2-40B4-BE49-F238E27FC236}">
                  <a16:creationId xmlns:a16="http://schemas.microsoft.com/office/drawing/2014/main" id="{956C2AD0-CD95-6507-1F49-8E9B562D7C59}"/>
                </a:ext>
              </a:extLst>
            </p:cNvPr>
            <p:cNvSpPr/>
            <p:nvPr/>
          </p:nvSpPr>
          <p:spPr>
            <a:xfrm>
              <a:off x="5389090" y="4768319"/>
              <a:ext cx="1828119" cy="302970"/>
            </a:xfrm>
            <a:prstGeom prst="chevron">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1350" dirty="0">
                  <a:solidFill>
                    <a:srgbClr val="000000"/>
                  </a:solidFill>
                  <a:latin typeface="Microsoft Sans Serif"/>
                  <a:cs typeface="Microsoft Sans Serif" panose="020B0604020202020204" pitchFamily="34" charset="0"/>
                </a:rPr>
                <a:t>5GMS_EDGE_3</a:t>
              </a:r>
            </a:p>
          </p:txBody>
        </p:sp>
        <p:sp>
          <p:nvSpPr>
            <p:cNvPr id="11" name="Left Brace 10">
              <a:extLst>
                <a:ext uri="{FF2B5EF4-FFF2-40B4-BE49-F238E27FC236}">
                  <a16:creationId xmlns:a16="http://schemas.microsoft.com/office/drawing/2014/main" id="{9C5A32D5-A7C7-16CA-5E4F-06E29E5CB115}"/>
                </a:ext>
              </a:extLst>
            </p:cNvPr>
            <p:cNvSpPr/>
            <p:nvPr/>
          </p:nvSpPr>
          <p:spPr>
            <a:xfrm rot="5400000">
              <a:off x="4953019" y="2507750"/>
              <a:ext cx="302970" cy="4225411"/>
            </a:xfrm>
            <a:prstGeom prst="leftBrace">
              <a:avLst/>
            </a:prstGeom>
            <a:ln w="28575">
              <a:headEnd type="none" w="sm" len="sm"/>
              <a:tailEnd type="none" w="sm" len="sm"/>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p>
          </p:txBody>
        </p:sp>
        <p:sp>
          <p:nvSpPr>
            <p:cNvPr id="12" name="TextBox 11">
              <a:extLst>
                <a:ext uri="{FF2B5EF4-FFF2-40B4-BE49-F238E27FC236}">
                  <a16:creationId xmlns:a16="http://schemas.microsoft.com/office/drawing/2014/main" id="{8421A0FE-3785-1C1F-F2A1-AF45A252CCF9}"/>
                </a:ext>
              </a:extLst>
            </p:cNvPr>
            <p:cNvSpPr txBox="1"/>
            <p:nvPr/>
          </p:nvSpPr>
          <p:spPr>
            <a:xfrm>
              <a:off x="4491355" y="4281933"/>
              <a:ext cx="1226298" cy="177293"/>
            </a:xfrm>
            <a:prstGeom prst="rect">
              <a:avLst/>
            </a:prstGeom>
          </p:spPr>
          <p:txBody>
            <a:bodyPr wrap="none" lIns="0" tIns="0" rIns="0" bIns="0" rtlCol="0">
              <a:spAutoFit/>
            </a:bodyPr>
            <a:lstStyle/>
            <a:p>
              <a:pPr algn="l">
                <a:lnSpc>
                  <a:spcPct val="96000"/>
                </a:lnSpc>
              </a:pPr>
              <a:r>
                <a:rPr lang="en-US" sz="1200" dirty="0">
                  <a:solidFill>
                    <a:schemeClr val="tx2"/>
                  </a:solidFill>
                  <a:latin typeface="Microsoft Sans Serif"/>
                  <a:cs typeface="Microsoft Sans Serif" panose="020B0604020202020204" pitchFamily="34" charset="0"/>
                </a:rPr>
                <a:t>3GPP Release 17</a:t>
              </a:r>
            </a:p>
          </p:txBody>
        </p:sp>
        <p:sp>
          <p:nvSpPr>
            <p:cNvPr id="13" name="Arrow: Chevron 12">
              <a:extLst>
                <a:ext uri="{FF2B5EF4-FFF2-40B4-BE49-F238E27FC236}">
                  <a16:creationId xmlns:a16="http://schemas.microsoft.com/office/drawing/2014/main" id="{AAC3B424-F296-97F2-2A79-D99ECABC56C8}"/>
                </a:ext>
              </a:extLst>
            </p:cNvPr>
            <p:cNvSpPr/>
            <p:nvPr/>
          </p:nvSpPr>
          <p:spPr>
            <a:xfrm>
              <a:off x="7276204" y="4778063"/>
              <a:ext cx="1828119" cy="302970"/>
            </a:xfrm>
            <a:prstGeom prst="chevr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1200" b="1" dirty="0">
                  <a:solidFill>
                    <a:srgbClr val="000000"/>
                  </a:solidFill>
                  <a:latin typeface="Microsoft Sans Serif"/>
                  <a:cs typeface="Microsoft Sans Serif" panose="020B0604020202020204" pitchFamily="34" charset="0"/>
                </a:rPr>
                <a:t>EDGE_ENH?</a:t>
              </a:r>
            </a:p>
          </p:txBody>
        </p:sp>
        <p:sp>
          <p:nvSpPr>
            <p:cNvPr id="14" name="Left Brace 13">
              <a:extLst>
                <a:ext uri="{FF2B5EF4-FFF2-40B4-BE49-F238E27FC236}">
                  <a16:creationId xmlns:a16="http://schemas.microsoft.com/office/drawing/2014/main" id="{0704B7E8-512E-A273-0D6F-386BBD862169}"/>
                </a:ext>
              </a:extLst>
            </p:cNvPr>
            <p:cNvSpPr/>
            <p:nvPr/>
          </p:nvSpPr>
          <p:spPr>
            <a:xfrm rot="5400000">
              <a:off x="8038778" y="3681558"/>
              <a:ext cx="302970" cy="1828119"/>
            </a:xfrm>
            <a:prstGeom prst="leftBrace">
              <a:avLst/>
            </a:prstGeom>
            <a:ln w="28575">
              <a:headEnd type="none" w="sm" len="sm"/>
              <a:tailEnd type="none" w="sm" len="sm"/>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p>
          </p:txBody>
        </p:sp>
        <p:sp>
          <p:nvSpPr>
            <p:cNvPr id="15" name="TextBox 14">
              <a:extLst>
                <a:ext uri="{FF2B5EF4-FFF2-40B4-BE49-F238E27FC236}">
                  <a16:creationId xmlns:a16="http://schemas.microsoft.com/office/drawing/2014/main" id="{DE6A32F5-6653-8E90-9246-BDBC28CADBC2}"/>
                </a:ext>
              </a:extLst>
            </p:cNvPr>
            <p:cNvSpPr txBox="1"/>
            <p:nvPr/>
          </p:nvSpPr>
          <p:spPr>
            <a:xfrm>
              <a:off x="7577114" y="4281933"/>
              <a:ext cx="1316066" cy="177293"/>
            </a:xfrm>
            <a:prstGeom prst="rect">
              <a:avLst/>
            </a:prstGeom>
          </p:spPr>
          <p:txBody>
            <a:bodyPr wrap="none" lIns="0" tIns="0" rIns="0" bIns="0" rtlCol="0">
              <a:spAutoFit/>
            </a:bodyPr>
            <a:lstStyle/>
            <a:p>
              <a:pPr algn="l">
                <a:lnSpc>
                  <a:spcPct val="96000"/>
                </a:lnSpc>
              </a:pPr>
              <a:r>
                <a:rPr lang="en-US" sz="1200" dirty="0">
                  <a:solidFill>
                    <a:schemeClr val="tx2"/>
                  </a:solidFill>
                  <a:latin typeface="Microsoft Sans Serif"/>
                  <a:cs typeface="Microsoft Sans Serif" panose="020B0604020202020204" pitchFamily="34" charset="0"/>
                </a:rPr>
                <a:t>3GPP Release 18+</a:t>
              </a:r>
            </a:p>
          </p:txBody>
        </p:sp>
      </p:grpSp>
    </p:spTree>
    <p:extLst>
      <p:ext uri="{BB962C8B-B14F-4D97-AF65-F5344CB8AC3E}">
        <p14:creationId xmlns:p14="http://schemas.microsoft.com/office/powerpoint/2010/main" val="184249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GRID" hidden="1">
            <a:extLst>
              <a:ext uri="{FF2B5EF4-FFF2-40B4-BE49-F238E27FC236}">
                <a16:creationId xmlns:a16="http://schemas.microsoft.com/office/drawing/2014/main" id="{A22E8CD6-DA75-442A-8196-DB2C7707FC75}"/>
              </a:ext>
            </a:extLst>
          </p:cNvPr>
          <p:cNvGrpSpPr/>
          <p:nvPr/>
        </p:nvGrpSpPr>
        <p:grpSpPr>
          <a:xfrm>
            <a:off x="1524" y="-4574"/>
            <a:ext cx="12188952" cy="6862574"/>
            <a:chOff x="1524" y="0"/>
            <a:chExt cx="12188952" cy="6862574"/>
          </a:xfrm>
        </p:grpSpPr>
        <p:grpSp>
          <p:nvGrpSpPr>
            <p:cNvPr id="88" name="baselines">
              <a:extLst>
                <a:ext uri="{FF2B5EF4-FFF2-40B4-BE49-F238E27FC236}">
                  <a16:creationId xmlns:a16="http://schemas.microsoft.com/office/drawing/2014/main" id="{D7E1710C-AC4B-446C-B55A-ADAB4AD453BD}"/>
                </a:ext>
              </a:extLst>
            </p:cNvPr>
            <p:cNvGrpSpPr/>
            <p:nvPr/>
          </p:nvGrpSpPr>
          <p:grpSpPr>
            <a:xfrm>
              <a:off x="1524" y="0"/>
              <a:ext cx="12188952" cy="6858000"/>
              <a:chOff x="1524" y="0"/>
              <a:chExt cx="12188952" cy="6858000"/>
            </a:xfrm>
          </p:grpSpPr>
          <p:cxnSp>
            <p:nvCxnSpPr>
              <p:cNvPr id="123" name="Straight Connector 122">
                <a:extLst>
                  <a:ext uri="{FF2B5EF4-FFF2-40B4-BE49-F238E27FC236}">
                    <a16:creationId xmlns:a16="http://schemas.microsoft.com/office/drawing/2014/main" id="{46CF5C02-0AC3-461B-887B-09AFF3930C53}"/>
                  </a:ext>
                </a:extLst>
              </p:cNvPr>
              <p:cNvCxnSpPr/>
              <p:nvPr/>
            </p:nvCxnSpPr>
            <p:spPr>
              <a:xfrm>
                <a:off x="1524" y="13716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6F4C67C-AFB0-4BD8-9C59-74C9773D9CA9}"/>
                  </a:ext>
                </a:extLst>
              </p:cNvPr>
              <p:cNvCxnSpPr/>
              <p:nvPr/>
            </p:nvCxnSpPr>
            <p:spPr>
              <a:xfrm>
                <a:off x="1524" y="17145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99D0A0C5-6FFB-42E1-80ED-C686B91FFFAC}"/>
                  </a:ext>
                </a:extLst>
              </p:cNvPr>
              <p:cNvCxnSpPr/>
              <p:nvPr/>
            </p:nvCxnSpPr>
            <p:spPr>
              <a:xfrm>
                <a:off x="1524" y="10287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D730468B-2A19-45A4-BFF2-B8A6E892452D}"/>
                  </a:ext>
                </a:extLst>
              </p:cNvPr>
              <p:cNvCxnSpPr/>
              <p:nvPr/>
            </p:nvCxnSpPr>
            <p:spPr>
              <a:xfrm>
                <a:off x="1524" y="6858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E5FB007-1366-41B0-9C05-D8C8A572911D}"/>
                  </a:ext>
                </a:extLst>
              </p:cNvPr>
              <p:cNvCxnSpPr/>
              <p:nvPr/>
            </p:nvCxnSpPr>
            <p:spPr>
              <a:xfrm>
                <a:off x="1524" y="3429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97B70891-B9C7-4042-8E24-8BF7A2FF6FE8}"/>
                  </a:ext>
                </a:extLst>
              </p:cNvPr>
              <p:cNvCxnSpPr/>
              <p:nvPr/>
            </p:nvCxnSpPr>
            <p:spPr>
              <a:xfrm>
                <a:off x="1524" y="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3C28A43-0EDC-452F-AD77-9F47A5081B4F}"/>
                  </a:ext>
                </a:extLst>
              </p:cNvPr>
              <p:cNvCxnSpPr/>
              <p:nvPr/>
            </p:nvCxnSpPr>
            <p:spPr>
              <a:xfrm>
                <a:off x="1524" y="30861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12FF68FA-1B4C-4B17-8AE4-061C51AE8281}"/>
                  </a:ext>
                </a:extLst>
              </p:cNvPr>
              <p:cNvCxnSpPr/>
              <p:nvPr/>
            </p:nvCxnSpPr>
            <p:spPr>
              <a:xfrm>
                <a:off x="1524" y="34290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7E3D607-2B78-4ADA-BBBB-2D13423444E2}"/>
                  </a:ext>
                </a:extLst>
              </p:cNvPr>
              <p:cNvCxnSpPr/>
              <p:nvPr/>
            </p:nvCxnSpPr>
            <p:spPr>
              <a:xfrm>
                <a:off x="1524" y="27432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5C333F3-33A5-4A1F-898B-9F9B45C5E3F6}"/>
                  </a:ext>
                </a:extLst>
              </p:cNvPr>
              <p:cNvCxnSpPr/>
              <p:nvPr/>
            </p:nvCxnSpPr>
            <p:spPr>
              <a:xfrm>
                <a:off x="1524" y="24003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E601861A-264E-404E-9A7D-7F50D1BA14FA}"/>
                  </a:ext>
                </a:extLst>
              </p:cNvPr>
              <p:cNvCxnSpPr/>
              <p:nvPr/>
            </p:nvCxnSpPr>
            <p:spPr>
              <a:xfrm>
                <a:off x="1524" y="20574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088E6865-7593-48EB-941B-A78325FA701B}"/>
                  </a:ext>
                </a:extLst>
              </p:cNvPr>
              <p:cNvCxnSpPr/>
              <p:nvPr/>
            </p:nvCxnSpPr>
            <p:spPr>
              <a:xfrm>
                <a:off x="1524" y="48006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18C624E8-ABD8-4995-AB33-8594E9F5022A}"/>
                  </a:ext>
                </a:extLst>
              </p:cNvPr>
              <p:cNvCxnSpPr/>
              <p:nvPr/>
            </p:nvCxnSpPr>
            <p:spPr>
              <a:xfrm>
                <a:off x="1524" y="51435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5890715-1E0A-4703-954C-A8FD4DEE5BDE}"/>
                  </a:ext>
                </a:extLst>
              </p:cNvPr>
              <p:cNvCxnSpPr/>
              <p:nvPr/>
            </p:nvCxnSpPr>
            <p:spPr>
              <a:xfrm>
                <a:off x="1524" y="44577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D40753-8763-424F-9284-D3191A761F7F}"/>
                  </a:ext>
                </a:extLst>
              </p:cNvPr>
              <p:cNvCxnSpPr/>
              <p:nvPr/>
            </p:nvCxnSpPr>
            <p:spPr>
              <a:xfrm>
                <a:off x="1524" y="4114800"/>
                <a:ext cx="12188952" cy="0"/>
              </a:xfrm>
              <a:prstGeom prst="line">
                <a:avLst/>
              </a:prstGeom>
              <a:ln w="3175" cap="rnd">
                <a:solidFill>
                  <a:srgbClr val="F816D8">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F85B2803-254F-4D10-9A39-CE42F56B4AF3}"/>
                  </a:ext>
                </a:extLst>
              </p:cNvPr>
              <p:cNvCxnSpPr/>
              <p:nvPr/>
            </p:nvCxnSpPr>
            <p:spPr>
              <a:xfrm>
                <a:off x="1524" y="37719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41CFFBB6-94C2-4C1D-987B-6D5AD0797FB0}"/>
                  </a:ext>
                </a:extLst>
              </p:cNvPr>
              <p:cNvCxnSpPr/>
              <p:nvPr/>
            </p:nvCxnSpPr>
            <p:spPr>
              <a:xfrm>
                <a:off x="1524" y="65151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43E1058-B3BA-4095-9643-A9384DE93C03}"/>
                  </a:ext>
                </a:extLst>
              </p:cNvPr>
              <p:cNvCxnSpPr/>
              <p:nvPr/>
            </p:nvCxnSpPr>
            <p:spPr>
              <a:xfrm>
                <a:off x="1524" y="68580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707CF6DE-2082-4E28-8951-E42181632710}"/>
                  </a:ext>
                </a:extLst>
              </p:cNvPr>
              <p:cNvCxnSpPr/>
              <p:nvPr/>
            </p:nvCxnSpPr>
            <p:spPr>
              <a:xfrm>
                <a:off x="1524" y="61722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9E2A0CFC-CDF9-4101-84CD-D6E13B9F26B8}"/>
                  </a:ext>
                </a:extLst>
              </p:cNvPr>
              <p:cNvCxnSpPr/>
              <p:nvPr/>
            </p:nvCxnSpPr>
            <p:spPr>
              <a:xfrm>
                <a:off x="1524" y="58293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CA5AEA84-1AD0-4C78-B420-B96349A87436}"/>
                  </a:ext>
                </a:extLst>
              </p:cNvPr>
              <p:cNvCxnSpPr/>
              <p:nvPr/>
            </p:nvCxnSpPr>
            <p:spPr>
              <a:xfrm>
                <a:off x="1524" y="5486400"/>
                <a:ext cx="12188952" cy="0"/>
              </a:xfrm>
              <a:prstGeom prst="line">
                <a:avLst/>
              </a:prstGeom>
              <a:ln w="3175" cap="rnd">
                <a:solidFill>
                  <a:srgbClr val="EF3DD6">
                    <a:alpha val="81000"/>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C1C1D546-7F20-4FE9-A28B-CD57B92B8DF5}"/>
                  </a:ext>
                </a:extLst>
              </p:cNvPr>
              <p:cNvCxnSpPr/>
              <p:nvPr/>
            </p:nvCxnSpPr>
            <p:spPr>
              <a:xfrm>
                <a:off x="1524" y="14859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BD8F63AD-3CA7-4CA0-A06A-BFCFA185F36B}"/>
                  </a:ext>
                </a:extLst>
              </p:cNvPr>
              <p:cNvCxnSpPr/>
              <p:nvPr/>
            </p:nvCxnSpPr>
            <p:spPr>
              <a:xfrm>
                <a:off x="1524" y="18288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A81EB121-951D-4209-A9DB-EFBD74E6AB31}"/>
                  </a:ext>
                </a:extLst>
              </p:cNvPr>
              <p:cNvCxnSpPr/>
              <p:nvPr/>
            </p:nvCxnSpPr>
            <p:spPr>
              <a:xfrm>
                <a:off x="1524" y="11430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8E922A20-F582-44F9-9E27-BB9FCF1B66E2}"/>
                  </a:ext>
                </a:extLst>
              </p:cNvPr>
              <p:cNvCxnSpPr/>
              <p:nvPr/>
            </p:nvCxnSpPr>
            <p:spPr>
              <a:xfrm>
                <a:off x="1524" y="8001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F34DB3C6-6AF8-42F0-B010-B112EF719642}"/>
                  </a:ext>
                </a:extLst>
              </p:cNvPr>
              <p:cNvCxnSpPr/>
              <p:nvPr/>
            </p:nvCxnSpPr>
            <p:spPr>
              <a:xfrm>
                <a:off x="1524" y="457200"/>
                <a:ext cx="12188952" cy="0"/>
              </a:xfrm>
              <a:prstGeom prst="line">
                <a:avLst/>
              </a:prstGeom>
              <a:ln w="635" cap="rnd">
                <a:solidFill>
                  <a:schemeClr val="accent6">
                    <a:lumMod val="75000"/>
                    <a:alpha val="7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B28A4CF5-C840-4D4F-9BAB-AD1AE226A972}"/>
                  </a:ext>
                </a:extLst>
              </p:cNvPr>
              <p:cNvCxnSpPr/>
              <p:nvPr/>
            </p:nvCxnSpPr>
            <p:spPr>
              <a:xfrm>
                <a:off x="1524" y="114300"/>
                <a:ext cx="12188952" cy="0"/>
              </a:xfrm>
              <a:prstGeom prst="line">
                <a:avLst/>
              </a:prstGeom>
              <a:ln w="635" cap="rnd">
                <a:solidFill>
                  <a:srgbClr val="7B8199">
                    <a:alpha val="69804"/>
                  </a:srgb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7DC764FC-0843-4218-9448-7A1F9040335D}"/>
                  </a:ext>
                </a:extLst>
              </p:cNvPr>
              <p:cNvCxnSpPr/>
              <p:nvPr/>
            </p:nvCxnSpPr>
            <p:spPr>
              <a:xfrm>
                <a:off x="1524" y="32004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A374BB21-8DE1-489C-B974-8A3AA6785EB3}"/>
                  </a:ext>
                </a:extLst>
              </p:cNvPr>
              <p:cNvCxnSpPr/>
              <p:nvPr/>
            </p:nvCxnSpPr>
            <p:spPr>
              <a:xfrm>
                <a:off x="1524" y="35433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B2ADC358-0809-4FC0-B462-A8E2C7879CFE}"/>
                  </a:ext>
                </a:extLst>
              </p:cNvPr>
              <p:cNvCxnSpPr/>
              <p:nvPr/>
            </p:nvCxnSpPr>
            <p:spPr>
              <a:xfrm>
                <a:off x="1524" y="28575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A2EDCBD2-716C-4C98-B070-C70B198723D4}"/>
                  </a:ext>
                </a:extLst>
              </p:cNvPr>
              <p:cNvCxnSpPr/>
              <p:nvPr/>
            </p:nvCxnSpPr>
            <p:spPr>
              <a:xfrm>
                <a:off x="1524" y="25146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D99955A-8EA8-4E80-BC91-9D7BD97843D2}"/>
                  </a:ext>
                </a:extLst>
              </p:cNvPr>
              <p:cNvCxnSpPr/>
              <p:nvPr/>
            </p:nvCxnSpPr>
            <p:spPr>
              <a:xfrm>
                <a:off x="1524" y="21717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8D43B320-3DA9-4264-86A3-E1906A52C349}"/>
                  </a:ext>
                </a:extLst>
              </p:cNvPr>
              <p:cNvCxnSpPr/>
              <p:nvPr/>
            </p:nvCxnSpPr>
            <p:spPr>
              <a:xfrm>
                <a:off x="1524" y="49149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76CBB9B9-8300-405C-8E33-D5E429644134}"/>
                  </a:ext>
                </a:extLst>
              </p:cNvPr>
              <p:cNvCxnSpPr/>
              <p:nvPr/>
            </p:nvCxnSpPr>
            <p:spPr>
              <a:xfrm>
                <a:off x="1524" y="52578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9FFDCC3B-FF4C-47C6-9E87-D42B938E615A}"/>
                  </a:ext>
                </a:extLst>
              </p:cNvPr>
              <p:cNvCxnSpPr/>
              <p:nvPr/>
            </p:nvCxnSpPr>
            <p:spPr>
              <a:xfrm>
                <a:off x="1524" y="45720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463029C0-B160-4369-BE4F-7E6243540230}"/>
                  </a:ext>
                </a:extLst>
              </p:cNvPr>
              <p:cNvCxnSpPr/>
              <p:nvPr/>
            </p:nvCxnSpPr>
            <p:spPr>
              <a:xfrm>
                <a:off x="1524" y="42291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E0DE4E6C-AE18-480B-ADB7-E8E6220F3F10}"/>
                  </a:ext>
                </a:extLst>
              </p:cNvPr>
              <p:cNvCxnSpPr/>
              <p:nvPr/>
            </p:nvCxnSpPr>
            <p:spPr>
              <a:xfrm>
                <a:off x="1524" y="38862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F41AB85A-565F-47B5-8A95-3F10B78DB750}"/>
                  </a:ext>
                </a:extLst>
              </p:cNvPr>
              <p:cNvCxnSpPr/>
              <p:nvPr/>
            </p:nvCxnSpPr>
            <p:spPr>
              <a:xfrm>
                <a:off x="1524" y="66294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C4292DCC-383D-43F3-9B0E-67087C41505D}"/>
                  </a:ext>
                </a:extLst>
              </p:cNvPr>
              <p:cNvCxnSpPr/>
              <p:nvPr/>
            </p:nvCxnSpPr>
            <p:spPr>
              <a:xfrm>
                <a:off x="1524" y="62865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F90742C-263F-4634-9A54-F1E88D4B6590}"/>
                  </a:ext>
                </a:extLst>
              </p:cNvPr>
              <p:cNvCxnSpPr/>
              <p:nvPr/>
            </p:nvCxnSpPr>
            <p:spPr>
              <a:xfrm>
                <a:off x="1524" y="59436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9F271052-CBAE-488A-80E5-B0E061932D98}"/>
                  </a:ext>
                </a:extLst>
              </p:cNvPr>
              <p:cNvCxnSpPr/>
              <p:nvPr/>
            </p:nvCxnSpPr>
            <p:spPr>
              <a:xfrm>
                <a:off x="1524" y="56007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9BB73825-EA00-46D2-B247-D694E3D7C2EF}"/>
                  </a:ext>
                </a:extLst>
              </p:cNvPr>
              <p:cNvCxnSpPr/>
              <p:nvPr/>
            </p:nvCxnSpPr>
            <p:spPr>
              <a:xfrm>
                <a:off x="1524" y="16002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3D120466-868D-4FE7-9FEB-A6ABF7BACC58}"/>
                  </a:ext>
                </a:extLst>
              </p:cNvPr>
              <p:cNvCxnSpPr/>
              <p:nvPr/>
            </p:nvCxnSpPr>
            <p:spPr>
              <a:xfrm>
                <a:off x="1524" y="19431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D55B472B-D0E9-4F59-BF7C-461165039832}"/>
                  </a:ext>
                </a:extLst>
              </p:cNvPr>
              <p:cNvCxnSpPr/>
              <p:nvPr/>
            </p:nvCxnSpPr>
            <p:spPr>
              <a:xfrm>
                <a:off x="1524" y="12573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824AD073-497E-43C2-B7F2-8B678EC0BEC7}"/>
                  </a:ext>
                </a:extLst>
              </p:cNvPr>
              <p:cNvCxnSpPr/>
              <p:nvPr/>
            </p:nvCxnSpPr>
            <p:spPr>
              <a:xfrm>
                <a:off x="1524" y="9144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E99C4186-AE21-4E45-826A-D876F4EC0D3B}"/>
                  </a:ext>
                </a:extLst>
              </p:cNvPr>
              <p:cNvCxnSpPr/>
              <p:nvPr/>
            </p:nvCxnSpPr>
            <p:spPr>
              <a:xfrm>
                <a:off x="1524" y="571500"/>
                <a:ext cx="12188952" cy="0"/>
              </a:xfrm>
              <a:prstGeom prst="line">
                <a:avLst/>
              </a:prstGeom>
              <a:ln w="635" cap="rnd">
                <a:solidFill>
                  <a:schemeClr val="accent6">
                    <a:lumMod val="75000"/>
                    <a:alpha val="7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554267C6-D781-4590-B964-D091F6336D23}"/>
                  </a:ext>
                </a:extLst>
              </p:cNvPr>
              <p:cNvCxnSpPr/>
              <p:nvPr/>
            </p:nvCxnSpPr>
            <p:spPr>
              <a:xfrm>
                <a:off x="1524" y="228600"/>
                <a:ext cx="12188952" cy="0"/>
              </a:xfrm>
              <a:prstGeom prst="line">
                <a:avLst/>
              </a:prstGeom>
              <a:ln w="635" cap="rnd">
                <a:solidFill>
                  <a:srgbClr val="7B8199">
                    <a:alpha val="69804"/>
                  </a:srgb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EA340296-7B9B-4E1D-A948-88CDDD347D34}"/>
                  </a:ext>
                </a:extLst>
              </p:cNvPr>
              <p:cNvCxnSpPr/>
              <p:nvPr/>
            </p:nvCxnSpPr>
            <p:spPr>
              <a:xfrm>
                <a:off x="1524" y="33147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A0B87E14-BE83-4C68-9109-68BF4F7F3E12}"/>
                  </a:ext>
                </a:extLst>
              </p:cNvPr>
              <p:cNvCxnSpPr/>
              <p:nvPr/>
            </p:nvCxnSpPr>
            <p:spPr>
              <a:xfrm>
                <a:off x="1524" y="36576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949F612A-CF3D-4395-B44B-4646B09F084B}"/>
                  </a:ext>
                </a:extLst>
              </p:cNvPr>
              <p:cNvCxnSpPr/>
              <p:nvPr/>
            </p:nvCxnSpPr>
            <p:spPr>
              <a:xfrm>
                <a:off x="1524" y="29718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235851B9-5852-47CB-8474-1544C7B0C708}"/>
                  </a:ext>
                </a:extLst>
              </p:cNvPr>
              <p:cNvCxnSpPr/>
              <p:nvPr/>
            </p:nvCxnSpPr>
            <p:spPr>
              <a:xfrm>
                <a:off x="1524" y="26289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CFF9C373-5456-4854-9973-6A4080442AFF}"/>
                  </a:ext>
                </a:extLst>
              </p:cNvPr>
              <p:cNvCxnSpPr/>
              <p:nvPr/>
            </p:nvCxnSpPr>
            <p:spPr>
              <a:xfrm>
                <a:off x="1524" y="22860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687210A3-4FCF-4D40-A745-32AC18DF226F}"/>
                  </a:ext>
                </a:extLst>
              </p:cNvPr>
              <p:cNvCxnSpPr/>
              <p:nvPr/>
            </p:nvCxnSpPr>
            <p:spPr>
              <a:xfrm>
                <a:off x="1524" y="50292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42AA5CDB-4BCC-4694-B1A8-A3872B9AF569}"/>
                  </a:ext>
                </a:extLst>
              </p:cNvPr>
              <p:cNvCxnSpPr/>
              <p:nvPr/>
            </p:nvCxnSpPr>
            <p:spPr>
              <a:xfrm>
                <a:off x="1524" y="53721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EEC7D77B-62E3-451B-BE07-29146F010D0A}"/>
                  </a:ext>
                </a:extLst>
              </p:cNvPr>
              <p:cNvCxnSpPr/>
              <p:nvPr/>
            </p:nvCxnSpPr>
            <p:spPr>
              <a:xfrm>
                <a:off x="1524" y="46863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766EED6F-A345-4CDD-99F4-D1DFC4D2EE98}"/>
                  </a:ext>
                </a:extLst>
              </p:cNvPr>
              <p:cNvCxnSpPr/>
              <p:nvPr/>
            </p:nvCxnSpPr>
            <p:spPr>
              <a:xfrm>
                <a:off x="1524" y="43434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4F28733D-A90E-4FB8-971B-AE602B3CAB43}"/>
                  </a:ext>
                </a:extLst>
              </p:cNvPr>
              <p:cNvCxnSpPr/>
              <p:nvPr/>
            </p:nvCxnSpPr>
            <p:spPr>
              <a:xfrm>
                <a:off x="1524" y="40005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28DBA16A-1D01-4A5A-B4F5-14265FEFF145}"/>
                  </a:ext>
                </a:extLst>
              </p:cNvPr>
              <p:cNvCxnSpPr/>
              <p:nvPr/>
            </p:nvCxnSpPr>
            <p:spPr>
              <a:xfrm>
                <a:off x="1524" y="67437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C26EAFAC-FDF3-4A8E-9B19-98E79F53EFE0}"/>
                  </a:ext>
                </a:extLst>
              </p:cNvPr>
              <p:cNvCxnSpPr/>
              <p:nvPr/>
            </p:nvCxnSpPr>
            <p:spPr>
              <a:xfrm>
                <a:off x="1524" y="64008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378F3EE5-D5A8-4E9C-9DFE-04EB2007B9B4}"/>
                  </a:ext>
                </a:extLst>
              </p:cNvPr>
              <p:cNvCxnSpPr/>
              <p:nvPr/>
            </p:nvCxnSpPr>
            <p:spPr>
              <a:xfrm>
                <a:off x="1524" y="60579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650C9A0-1757-4526-BB9D-8D9F72ECEABB}"/>
                  </a:ext>
                </a:extLst>
              </p:cNvPr>
              <p:cNvCxnSpPr/>
              <p:nvPr/>
            </p:nvCxnSpPr>
            <p:spPr>
              <a:xfrm>
                <a:off x="1524" y="5715000"/>
                <a:ext cx="12188952" cy="0"/>
              </a:xfrm>
              <a:prstGeom prst="line">
                <a:avLst/>
              </a:prstGeom>
              <a:ln w="635" cap="rnd">
                <a:solidFill>
                  <a:schemeClr val="accent6">
                    <a:lumMod val="75000"/>
                    <a:alpha val="60000"/>
                  </a:schemeClr>
                </a:solidFill>
                <a:prstDash val="sysDash"/>
                <a:round/>
              </a:ln>
            </p:spPr>
            <p:style>
              <a:lnRef idx="1">
                <a:schemeClr val="accent1"/>
              </a:lnRef>
              <a:fillRef idx="0">
                <a:schemeClr val="accent1"/>
              </a:fillRef>
              <a:effectRef idx="0">
                <a:schemeClr val="accent1"/>
              </a:effectRef>
              <a:fontRef idx="minor">
                <a:schemeClr val="tx1"/>
              </a:fontRef>
            </p:style>
          </p:cxnSp>
        </p:grpSp>
        <p:grpSp>
          <p:nvGrpSpPr>
            <p:cNvPr id="89" name="columns and LR margins">
              <a:extLst>
                <a:ext uri="{FF2B5EF4-FFF2-40B4-BE49-F238E27FC236}">
                  <a16:creationId xmlns:a16="http://schemas.microsoft.com/office/drawing/2014/main" id="{CBA163F7-618F-4008-9B9D-ED3292500128}"/>
                </a:ext>
              </a:extLst>
            </p:cNvPr>
            <p:cNvGrpSpPr/>
            <p:nvPr/>
          </p:nvGrpSpPr>
          <p:grpSpPr>
            <a:xfrm>
              <a:off x="493776" y="457200"/>
              <a:ext cx="11204448" cy="5943600"/>
              <a:chOff x="493776" y="502920"/>
              <a:chExt cx="11204448" cy="5943600"/>
            </a:xfrm>
          </p:grpSpPr>
          <p:sp>
            <p:nvSpPr>
              <p:cNvPr id="103" name="Rectangle 102">
                <a:extLst>
                  <a:ext uri="{FF2B5EF4-FFF2-40B4-BE49-F238E27FC236}">
                    <a16:creationId xmlns:a16="http://schemas.microsoft.com/office/drawing/2014/main" id="{F527CC27-6970-43DF-8BCC-3AB803FBC3F3}"/>
                  </a:ext>
                </a:extLst>
              </p:cNvPr>
              <p:cNvSpPr>
                <a:spLocks/>
              </p:cNvSpPr>
              <p:nvPr/>
            </p:nvSpPr>
            <p:spPr>
              <a:xfrm>
                <a:off x="10984992" y="502920"/>
                <a:ext cx="713232" cy="5943600"/>
              </a:xfrm>
              <a:prstGeom prst="rect">
                <a:avLst/>
              </a:prstGeom>
              <a:solidFill>
                <a:srgbClr val="EE68D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latin typeface="Microsoft Sans Serif"/>
                </a:endParaRPr>
              </a:p>
            </p:txBody>
          </p:sp>
          <p:sp>
            <p:nvSpPr>
              <p:cNvPr id="104" name="Rectangle 103">
                <a:extLst>
                  <a:ext uri="{FF2B5EF4-FFF2-40B4-BE49-F238E27FC236}">
                    <a16:creationId xmlns:a16="http://schemas.microsoft.com/office/drawing/2014/main" id="{7E099AC6-5F53-4438-A634-603C6D4F2B47}"/>
                  </a:ext>
                </a:extLst>
              </p:cNvPr>
              <p:cNvSpPr>
                <a:spLocks/>
              </p:cNvSpPr>
              <p:nvPr/>
            </p:nvSpPr>
            <p:spPr>
              <a:xfrm flipH="1">
                <a:off x="493776" y="502920"/>
                <a:ext cx="713232" cy="5943600"/>
              </a:xfrm>
              <a:prstGeom prst="rect">
                <a:avLst/>
              </a:prstGeom>
              <a:solidFill>
                <a:srgbClr val="EE68D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Microsoft Sans Serif"/>
                  <a:ea typeface="+mn-ea"/>
                  <a:cs typeface="+mn-cs"/>
                </a:endParaRPr>
              </a:p>
            </p:txBody>
          </p:sp>
          <p:sp>
            <p:nvSpPr>
              <p:cNvPr id="105" name="Rectangle 104">
                <a:extLst>
                  <a:ext uri="{FF2B5EF4-FFF2-40B4-BE49-F238E27FC236}">
                    <a16:creationId xmlns:a16="http://schemas.microsoft.com/office/drawing/2014/main" id="{BA69F39A-1DD2-4BE6-AFFD-BA9AFC838FE7}"/>
                  </a:ext>
                </a:extLst>
              </p:cNvPr>
              <p:cNvSpPr>
                <a:spLocks/>
              </p:cNvSpPr>
              <p:nvPr/>
            </p:nvSpPr>
            <p:spPr>
              <a:xfrm flipH="1">
                <a:off x="1447523" y="502920"/>
                <a:ext cx="713232" cy="5943600"/>
              </a:xfrm>
              <a:prstGeom prst="rect">
                <a:avLst/>
              </a:prstGeom>
              <a:solidFill>
                <a:srgbClr val="EE68D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latin typeface="Microsoft Sans Serif"/>
                </a:endParaRPr>
              </a:p>
            </p:txBody>
          </p:sp>
          <p:sp>
            <p:nvSpPr>
              <p:cNvPr id="106" name="Rectangle 105">
                <a:extLst>
                  <a:ext uri="{FF2B5EF4-FFF2-40B4-BE49-F238E27FC236}">
                    <a16:creationId xmlns:a16="http://schemas.microsoft.com/office/drawing/2014/main" id="{2ED488BB-2236-4DE0-B7BA-042E009155F0}"/>
                  </a:ext>
                </a:extLst>
              </p:cNvPr>
              <p:cNvSpPr>
                <a:spLocks/>
              </p:cNvSpPr>
              <p:nvPr/>
            </p:nvSpPr>
            <p:spPr>
              <a:xfrm flipH="1">
                <a:off x="2401270" y="502920"/>
                <a:ext cx="713232" cy="5943600"/>
              </a:xfrm>
              <a:prstGeom prst="rect">
                <a:avLst/>
              </a:prstGeom>
              <a:solidFill>
                <a:srgbClr val="EE68D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latin typeface="Microsoft Sans Serif"/>
                </a:endParaRPr>
              </a:p>
            </p:txBody>
          </p:sp>
          <p:sp>
            <p:nvSpPr>
              <p:cNvPr id="107" name="Rectangle 106">
                <a:extLst>
                  <a:ext uri="{FF2B5EF4-FFF2-40B4-BE49-F238E27FC236}">
                    <a16:creationId xmlns:a16="http://schemas.microsoft.com/office/drawing/2014/main" id="{F77E0DAA-BC12-46F3-A685-CC41C002F651}"/>
                  </a:ext>
                </a:extLst>
              </p:cNvPr>
              <p:cNvSpPr>
                <a:spLocks/>
              </p:cNvSpPr>
              <p:nvPr/>
            </p:nvSpPr>
            <p:spPr>
              <a:xfrm flipH="1">
                <a:off x="3355017" y="502920"/>
                <a:ext cx="713232" cy="5943600"/>
              </a:xfrm>
              <a:prstGeom prst="rect">
                <a:avLst/>
              </a:prstGeom>
              <a:solidFill>
                <a:srgbClr val="EE68D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latin typeface="Microsoft Sans Serif"/>
                </a:endParaRPr>
              </a:p>
            </p:txBody>
          </p:sp>
          <p:sp>
            <p:nvSpPr>
              <p:cNvPr id="108" name="Rectangle 107">
                <a:extLst>
                  <a:ext uri="{FF2B5EF4-FFF2-40B4-BE49-F238E27FC236}">
                    <a16:creationId xmlns:a16="http://schemas.microsoft.com/office/drawing/2014/main" id="{2F1777EF-B717-40DB-95F7-0A76E9093011}"/>
                  </a:ext>
                </a:extLst>
              </p:cNvPr>
              <p:cNvSpPr>
                <a:spLocks/>
              </p:cNvSpPr>
              <p:nvPr/>
            </p:nvSpPr>
            <p:spPr>
              <a:xfrm flipH="1">
                <a:off x="4308764" y="502920"/>
                <a:ext cx="713232" cy="5943600"/>
              </a:xfrm>
              <a:prstGeom prst="rect">
                <a:avLst/>
              </a:prstGeom>
              <a:solidFill>
                <a:srgbClr val="EE68D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latin typeface="Microsoft Sans Serif"/>
                </a:endParaRPr>
              </a:p>
            </p:txBody>
          </p:sp>
          <p:sp>
            <p:nvSpPr>
              <p:cNvPr id="109" name="Rectangle 108">
                <a:extLst>
                  <a:ext uri="{FF2B5EF4-FFF2-40B4-BE49-F238E27FC236}">
                    <a16:creationId xmlns:a16="http://schemas.microsoft.com/office/drawing/2014/main" id="{2F08E7BD-FE54-4E30-B8C1-57B29DA38091}"/>
                  </a:ext>
                </a:extLst>
              </p:cNvPr>
              <p:cNvSpPr>
                <a:spLocks/>
              </p:cNvSpPr>
              <p:nvPr/>
            </p:nvSpPr>
            <p:spPr>
              <a:xfrm flipH="1">
                <a:off x="5262511" y="502920"/>
                <a:ext cx="713232" cy="5943600"/>
              </a:xfrm>
              <a:prstGeom prst="rect">
                <a:avLst/>
              </a:prstGeom>
              <a:solidFill>
                <a:srgbClr val="EE68D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latin typeface="Microsoft Sans Serif"/>
                </a:endParaRPr>
              </a:p>
            </p:txBody>
          </p:sp>
          <p:sp>
            <p:nvSpPr>
              <p:cNvPr id="110" name="Rectangle 109">
                <a:extLst>
                  <a:ext uri="{FF2B5EF4-FFF2-40B4-BE49-F238E27FC236}">
                    <a16:creationId xmlns:a16="http://schemas.microsoft.com/office/drawing/2014/main" id="{075A8009-902E-440F-883B-E9DB414E0CF5}"/>
                  </a:ext>
                </a:extLst>
              </p:cNvPr>
              <p:cNvSpPr>
                <a:spLocks/>
              </p:cNvSpPr>
              <p:nvPr/>
            </p:nvSpPr>
            <p:spPr>
              <a:xfrm flipH="1">
                <a:off x="6216258" y="502920"/>
                <a:ext cx="713232" cy="5943600"/>
              </a:xfrm>
              <a:prstGeom prst="rect">
                <a:avLst/>
              </a:prstGeom>
              <a:solidFill>
                <a:srgbClr val="EE68D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latin typeface="Microsoft Sans Serif"/>
                </a:endParaRPr>
              </a:p>
            </p:txBody>
          </p:sp>
          <p:sp>
            <p:nvSpPr>
              <p:cNvPr id="111" name="Rectangle 110">
                <a:extLst>
                  <a:ext uri="{FF2B5EF4-FFF2-40B4-BE49-F238E27FC236}">
                    <a16:creationId xmlns:a16="http://schemas.microsoft.com/office/drawing/2014/main" id="{F1EC7D53-B47E-4272-B1B8-5140C4EC977B}"/>
                  </a:ext>
                </a:extLst>
              </p:cNvPr>
              <p:cNvSpPr>
                <a:spLocks/>
              </p:cNvSpPr>
              <p:nvPr/>
            </p:nvSpPr>
            <p:spPr>
              <a:xfrm flipH="1">
                <a:off x="7170005" y="502920"/>
                <a:ext cx="713232" cy="5943600"/>
              </a:xfrm>
              <a:prstGeom prst="rect">
                <a:avLst/>
              </a:prstGeom>
              <a:solidFill>
                <a:srgbClr val="EE68D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latin typeface="Microsoft Sans Serif"/>
                </a:endParaRPr>
              </a:p>
            </p:txBody>
          </p:sp>
          <p:sp>
            <p:nvSpPr>
              <p:cNvPr id="115" name="Rectangle 114">
                <a:extLst>
                  <a:ext uri="{FF2B5EF4-FFF2-40B4-BE49-F238E27FC236}">
                    <a16:creationId xmlns:a16="http://schemas.microsoft.com/office/drawing/2014/main" id="{2C1AE388-CE68-492A-AC08-7A35DCD93A11}"/>
                  </a:ext>
                </a:extLst>
              </p:cNvPr>
              <p:cNvSpPr>
                <a:spLocks/>
              </p:cNvSpPr>
              <p:nvPr/>
            </p:nvSpPr>
            <p:spPr>
              <a:xfrm flipH="1">
                <a:off x="8123752" y="502920"/>
                <a:ext cx="713232" cy="5943600"/>
              </a:xfrm>
              <a:prstGeom prst="rect">
                <a:avLst/>
              </a:prstGeom>
              <a:solidFill>
                <a:srgbClr val="EE68D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latin typeface="Microsoft Sans Serif"/>
                </a:endParaRPr>
              </a:p>
            </p:txBody>
          </p:sp>
          <p:sp>
            <p:nvSpPr>
              <p:cNvPr id="118" name="Rectangle 117">
                <a:extLst>
                  <a:ext uri="{FF2B5EF4-FFF2-40B4-BE49-F238E27FC236}">
                    <a16:creationId xmlns:a16="http://schemas.microsoft.com/office/drawing/2014/main" id="{14CC94D5-DB0A-4241-9C0A-F74565F36DB1}"/>
                  </a:ext>
                </a:extLst>
              </p:cNvPr>
              <p:cNvSpPr>
                <a:spLocks/>
              </p:cNvSpPr>
              <p:nvPr/>
            </p:nvSpPr>
            <p:spPr>
              <a:xfrm flipH="1">
                <a:off x="9077499" y="502920"/>
                <a:ext cx="713232" cy="5943600"/>
              </a:xfrm>
              <a:prstGeom prst="rect">
                <a:avLst/>
              </a:prstGeom>
              <a:solidFill>
                <a:srgbClr val="EE68D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latin typeface="Microsoft Sans Serif"/>
                </a:endParaRPr>
              </a:p>
            </p:txBody>
          </p:sp>
          <p:sp>
            <p:nvSpPr>
              <p:cNvPr id="122" name="Rectangle 121">
                <a:extLst>
                  <a:ext uri="{FF2B5EF4-FFF2-40B4-BE49-F238E27FC236}">
                    <a16:creationId xmlns:a16="http://schemas.microsoft.com/office/drawing/2014/main" id="{EFF04B39-8346-4523-B4B2-7230AB03B9EB}"/>
                  </a:ext>
                </a:extLst>
              </p:cNvPr>
              <p:cNvSpPr>
                <a:spLocks/>
              </p:cNvSpPr>
              <p:nvPr/>
            </p:nvSpPr>
            <p:spPr>
              <a:xfrm flipH="1">
                <a:off x="10031246" y="502920"/>
                <a:ext cx="713232" cy="5943600"/>
              </a:xfrm>
              <a:prstGeom prst="rect">
                <a:avLst/>
              </a:prstGeom>
              <a:solidFill>
                <a:srgbClr val="EE68D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latin typeface="Microsoft Sans Serif"/>
                </a:endParaRPr>
              </a:p>
            </p:txBody>
          </p:sp>
        </p:grpSp>
        <p:grpSp>
          <p:nvGrpSpPr>
            <p:cNvPr id="90" name="column bisection">
              <a:extLst>
                <a:ext uri="{FF2B5EF4-FFF2-40B4-BE49-F238E27FC236}">
                  <a16:creationId xmlns:a16="http://schemas.microsoft.com/office/drawing/2014/main" id="{51AF5C9C-A978-4F29-A3E3-B3313710F865}"/>
                </a:ext>
              </a:extLst>
            </p:cNvPr>
            <p:cNvGrpSpPr/>
            <p:nvPr/>
          </p:nvGrpSpPr>
          <p:grpSpPr>
            <a:xfrm>
              <a:off x="850392" y="4574"/>
              <a:ext cx="10491216" cy="6858000"/>
              <a:chOff x="850392" y="4574"/>
              <a:chExt cx="10491216" cy="6858000"/>
            </a:xfrm>
          </p:grpSpPr>
          <p:cxnSp>
            <p:nvCxnSpPr>
              <p:cNvPr id="91" name="Straight Connector 90">
                <a:extLst>
                  <a:ext uri="{FF2B5EF4-FFF2-40B4-BE49-F238E27FC236}">
                    <a16:creationId xmlns:a16="http://schemas.microsoft.com/office/drawing/2014/main" id="{5E4E0BEC-EACD-4885-B06A-413B17B40954}"/>
                  </a:ext>
                </a:extLst>
              </p:cNvPr>
              <p:cNvCxnSpPr>
                <a:cxnSpLocks/>
              </p:cNvCxnSpPr>
              <p:nvPr/>
            </p:nvCxnSpPr>
            <p:spPr>
              <a:xfrm>
                <a:off x="11341608" y="4574"/>
                <a:ext cx="0" cy="6858000"/>
              </a:xfrm>
              <a:prstGeom prst="line">
                <a:avLst/>
              </a:prstGeom>
              <a:ln w="6350" cap="rnd">
                <a:solidFill>
                  <a:srgbClr val="EF3DD6">
                    <a:alpha val="80784"/>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41A10B80-7427-439E-9A46-620F86A28D35}"/>
                  </a:ext>
                </a:extLst>
              </p:cNvPr>
              <p:cNvCxnSpPr>
                <a:cxnSpLocks/>
              </p:cNvCxnSpPr>
              <p:nvPr/>
            </p:nvCxnSpPr>
            <p:spPr>
              <a:xfrm flipH="1">
                <a:off x="850392" y="4574"/>
                <a:ext cx="0" cy="6858000"/>
              </a:xfrm>
              <a:prstGeom prst="line">
                <a:avLst/>
              </a:prstGeom>
              <a:ln w="6350" cap="rnd">
                <a:solidFill>
                  <a:srgbClr val="EF3DD6">
                    <a:alpha val="80784"/>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336E93E8-D8DE-4204-8EFF-86500676E750}"/>
                  </a:ext>
                </a:extLst>
              </p:cNvPr>
              <p:cNvCxnSpPr>
                <a:cxnSpLocks/>
              </p:cNvCxnSpPr>
              <p:nvPr/>
            </p:nvCxnSpPr>
            <p:spPr>
              <a:xfrm flipH="1">
                <a:off x="1804139" y="4574"/>
                <a:ext cx="0" cy="6858000"/>
              </a:xfrm>
              <a:prstGeom prst="line">
                <a:avLst/>
              </a:prstGeom>
              <a:ln w="6350" cap="rnd">
                <a:solidFill>
                  <a:srgbClr val="EF3DD6">
                    <a:alpha val="80784"/>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66517D32-DFB5-452B-B303-DBCECBFDC425}"/>
                  </a:ext>
                </a:extLst>
              </p:cNvPr>
              <p:cNvCxnSpPr>
                <a:cxnSpLocks/>
              </p:cNvCxnSpPr>
              <p:nvPr/>
            </p:nvCxnSpPr>
            <p:spPr>
              <a:xfrm flipH="1">
                <a:off x="2757886" y="4574"/>
                <a:ext cx="0" cy="6858000"/>
              </a:xfrm>
              <a:prstGeom prst="line">
                <a:avLst/>
              </a:prstGeom>
              <a:ln w="6350" cap="rnd">
                <a:solidFill>
                  <a:srgbClr val="EF3DD6">
                    <a:alpha val="80784"/>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9C70C24-19B0-41AC-9DE5-2732484C6542}"/>
                  </a:ext>
                </a:extLst>
              </p:cNvPr>
              <p:cNvCxnSpPr>
                <a:cxnSpLocks/>
              </p:cNvCxnSpPr>
              <p:nvPr/>
            </p:nvCxnSpPr>
            <p:spPr>
              <a:xfrm flipH="1">
                <a:off x="3711633" y="4574"/>
                <a:ext cx="0" cy="6858000"/>
              </a:xfrm>
              <a:prstGeom prst="line">
                <a:avLst/>
              </a:prstGeom>
              <a:ln w="6350" cap="rnd">
                <a:solidFill>
                  <a:srgbClr val="EF3DD6">
                    <a:alpha val="80784"/>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E8E7CFC4-6D60-4B0B-BA6D-6618F7F9A72C}"/>
                  </a:ext>
                </a:extLst>
              </p:cNvPr>
              <p:cNvCxnSpPr>
                <a:cxnSpLocks/>
              </p:cNvCxnSpPr>
              <p:nvPr/>
            </p:nvCxnSpPr>
            <p:spPr>
              <a:xfrm flipH="1">
                <a:off x="4665380" y="4574"/>
                <a:ext cx="0" cy="6858000"/>
              </a:xfrm>
              <a:prstGeom prst="line">
                <a:avLst/>
              </a:prstGeom>
              <a:ln w="6350" cap="rnd">
                <a:solidFill>
                  <a:srgbClr val="EF3DD6">
                    <a:alpha val="80784"/>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DAC7630F-38E9-4230-9AC9-35BDBF7F5FB0}"/>
                  </a:ext>
                </a:extLst>
              </p:cNvPr>
              <p:cNvCxnSpPr>
                <a:cxnSpLocks/>
              </p:cNvCxnSpPr>
              <p:nvPr/>
            </p:nvCxnSpPr>
            <p:spPr>
              <a:xfrm flipH="1">
                <a:off x="5619127" y="4574"/>
                <a:ext cx="0" cy="6858000"/>
              </a:xfrm>
              <a:prstGeom prst="line">
                <a:avLst/>
              </a:prstGeom>
              <a:ln w="6350" cap="rnd">
                <a:solidFill>
                  <a:srgbClr val="EF3DD6">
                    <a:alpha val="80784"/>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94BFA3B6-E2C8-4B6C-BE55-9FB7EEBCCD5E}"/>
                  </a:ext>
                </a:extLst>
              </p:cNvPr>
              <p:cNvCxnSpPr>
                <a:cxnSpLocks/>
              </p:cNvCxnSpPr>
              <p:nvPr/>
            </p:nvCxnSpPr>
            <p:spPr>
              <a:xfrm flipH="1">
                <a:off x="6572874" y="4574"/>
                <a:ext cx="0" cy="6858000"/>
              </a:xfrm>
              <a:prstGeom prst="line">
                <a:avLst/>
              </a:prstGeom>
              <a:ln w="6350" cap="rnd">
                <a:solidFill>
                  <a:srgbClr val="EF3DD6">
                    <a:alpha val="80784"/>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CFB0360-5D62-4CFC-AFBD-C6701CC9D953}"/>
                  </a:ext>
                </a:extLst>
              </p:cNvPr>
              <p:cNvCxnSpPr>
                <a:cxnSpLocks/>
              </p:cNvCxnSpPr>
              <p:nvPr/>
            </p:nvCxnSpPr>
            <p:spPr>
              <a:xfrm flipH="1">
                <a:off x="7526621" y="4574"/>
                <a:ext cx="0" cy="6858000"/>
              </a:xfrm>
              <a:prstGeom prst="line">
                <a:avLst/>
              </a:prstGeom>
              <a:ln w="6350" cap="rnd">
                <a:solidFill>
                  <a:srgbClr val="EF3DD6">
                    <a:alpha val="80784"/>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153F560-08E5-4695-B208-30E79F1E96D5}"/>
                  </a:ext>
                </a:extLst>
              </p:cNvPr>
              <p:cNvCxnSpPr>
                <a:cxnSpLocks/>
              </p:cNvCxnSpPr>
              <p:nvPr/>
            </p:nvCxnSpPr>
            <p:spPr>
              <a:xfrm flipH="1">
                <a:off x="8480368" y="4574"/>
                <a:ext cx="0" cy="6858000"/>
              </a:xfrm>
              <a:prstGeom prst="line">
                <a:avLst/>
              </a:prstGeom>
              <a:ln w="6350" cap="rnd">
                <a:solidFill>
                  <a:srgbClr val="EF3DD6">
                    <a:alpha val="80784"/>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69EDDFCB-FD4E-4A24-B9D3-FB922B474E67}"/>
                  </a:ext>
                </a:extLst>
              </p:cNvPr>
              <p:cNvCxnSpPr>
                <a:cxnSpLocks/>
              </p:cNvCxnSpPr>
              <p:nvPr/>
            </p:nvCxnSpPr>
            <p:spPr>
              <a:xfrm flipH="1">
                <a:off x="9434115" y="4574"/>
                <a:ext cx="0" cy="6858000"/>
              </a:xfrm>
              <a:prstGeom prst="line">
                <a:avLst/>
              </a:prstGeom>
              <a:ln w="6350" cap="rnd">
                <a:solidFill>
                  <a:srgbClr val="EF3DD6">
                    <a:alpha val="80784"/>
                  </a:srgb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71920A72-06EE-4F05-9E20-4A7D5E2D29AC}"/>
                  </a:ext>
                </a:extLst>
              </p:cNvPr>
              <p:cNvCxnSpPr>
                <a:cxnSpLocks/>
              </p:cNvCxnSpPr>
              <p:nvPr/>
            </p:nvCxnSpPr>
            <p:spPr>
              <a:xfrm flipH="1">
                <a:off x="10387862" y="4574"/>
                <a:ext cx="0" cy="6858000"/>
              </a:xfrm>
              <a:prstGeom prst="line">
                <a:avLst/>
              </a:prstGeom>
              <a:ln w="6350" cap="rnd">
                <a:solidFill>
                  <a:srgbClr val="EF3DD6">
                    <a:alpha val="80784"/>
                  </a:srgbClr>
                </a:solidFill>
                <a:prstDash val="solid"/>
                <a:round/>
              </a:ln>
            </p:spPr>
            <p:style>
              <a:lnRef idx="1">
                <a:schemeClr val="accent1"/>
              </a:lnRef>
              <a:fillRef idx="0">
                <a:schemeClr val="accent1"/>
              </a:fillRef>
              <a:effectRef idx="0">
                <a:schemeClr val="accent1"/>
              </a:effectRef>
              <a:fontRef idx="minor">
                <a:schemeClr val="tx1"/>
              </a:fontRef>
            </p:style>
          </p:cxnSp>
        </p:grpSp>
      </p:grpSp>
      <p:grpSp>
        <p:nvGrpSpPr>
          <p:cNvPr id="259" name="Gray Overlay Circle 2">
            <a:extLst>
              <a:ext uri="{FF2B5EF4-FFF2-40B4-BE49-F238E27FC236}">
                <a16:creationId xmlns:a16="http://schemas.microsoft.com/office/drawing/2014/main" id="{9E220F2B-B051-470D-BFC0-D5EFE3ADC6CE}"/>
              </a:ext>
            </a:extLst>
          </p:cNvPr>
          <p:cNvGrpSpPr/>
          <p:nvPr/>
        </p:nvGrpSpPr>
        <p:grpSpPr>
          <a:xfrm>
            <a:off x="-9182498" y="-10908428"/>
            <a:ext cx="16492142" cy="30290430"/>
            <a:chOff x="-15361189" y="-7587831"/>
            <a:chExt cx="24314438" cy="24314438"/>
          </a:xfrm>
        </p:grpSpPr>
        <p:sp>
          <p:nvSpPr>
            <p:cNvPr id="260" name="Oval 259">
              <a:extLst>
                <a:ext uri="{FF2B5EF4-FFF2-40B4-BE49-F238E27FC236}">
                  <a16:creationId xmlns:a16="http://schemas.microsoft.com/office/drawing/2014/main" id="{40849A33-A0DC-40AF-8648-BC5CD39487C8}"/>
                </a:ext>
              </a:extLst>
            </p:cNvPr>
            <p:cNvSpPr/>
            <p:nvPr/>
          </p:nvSpPr>
          <p:spPr>
            <a:xfrm>
              <a:off x="-15361189" y="-7587831"/>
              <a:ext cx="24314438" cy="24314438"/>
            </a:xfrm>
            <a:prstGeom prst="ellipse">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p>
          </p:txBody>
        </p:sp>
        <p:sp>
          <p:nvSpPr>
            <p:cNvPr id="261" name="Oval 260">
              <a:extLst>
                <a:ext uri="{FF2B5EF4-FFF2-40B4-BE49-F238E27FC236}">
                  <a16:creationId xmlns:a16="http://schemas.microsoft.com/office/drawing/2014/main" id="{D1F585AD-64DD-471A-A569-09D09DACC9C7}"/>
                </a:ext>
              </a:extLst>
            </p:cNvPr>
            <p:cNvSpPr/>
            <p:nvPr/>
          </p:nvSpPr>
          <p:spPr>
            <a:xfrm>
              <a:off x="-15361189" y="-7587831"/>
              <a:ext cx="24314438" cy="24314438"/>
            </a:xfrm>
            <a:prstGeom prst="ellipse">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p>
          </p:txBody>
        </p:sp>
      </p:grpSp>
      <p:sp>
        <p:nvSpPr>
          <p:cNvPr id="262" name="White Circle 3">
            <a:extLst>
              <a:ext uri="{FF2B5EF4-FFF2-40B4-BE49-F238E27FC236}">
                <a16:creationId xmlns:a16="http://schemas.microsoft.com/office/drawing/2014/main" id="{722F93E0-40D5-46E4-B4CD-F64373E5C08E}"/>
              </a:ext>
            </a:extLst>
          </p:cNvPr>
          <p:cNvSpPr/>
          <p:nvPr/>
        </p:nvSpPr>
        <p:spPr>
          <a:xfrm>
            <a:off x="-24497134" y="-18651588"/>
            <a:ext cx="44578414" cy="44578414"/>
          </a:xfrm>
          <a:prstGeom prst="donut">
            <a:avLst>
              <a:gd name="adj" fmla="val 1890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p>
        </p:txBody>
      </p:sp>
      <p:sp>
        <p:nvSpPr>
          <p:cNvPr id="186" name="Rectangle 185">
            <a:extLst>
              <a:ext uri="{FF2B5EF4-FFF2-40B4-BE49-F238E27FC236}">
                <a16:creationId xmlns:a16="http://schemas.microsoft.com/office/drawing/2014/main" id="{173FFB8A-D878-40D3-BB99-38CCE6CB4D5A}"/>
              </a:ext>
            </a:extLst>
          </p:cNvPr>
          <p:cNvSpPr/>
          <p:nvPr/>
        </p:nvSpPr>
        <p:spPr>
          <a:xfrm>
            <a:off x="1524" y="0"/>
            <a:ext cx="12188952" cy="685800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p>
        </p:txBody>
      </p:sp>
      <p:sp>
        <p:nvSpPr>
          <p:cNvPr id="2" name="Title 1">
            <a:extLst>
              <a:ext uri="{FF2B5EF4-FFF2-40B4-BE49-F238E27FC236}">
                <a16:creationId xmlns:a16="http://schemas.microsoft.com/office/drawing/2014/main" id="{3945D8C1-313E-4EF6-9880-7E5585A8AD1C}"/>
              </a:ext>
            </a:extLst>
          </p:cNvPr>
          <p:cNvSpPr>
            <a:spLocks noGrp="1"/>
          </p:cNvSpPr>
          <p:nvPr>
            <p:ph type="title"/>
          </p:nvPr>
        </p:nvSpPr>
        <p:spPr>
          <a:xfrm>
            <a:off x="559422" y="580851"/>
            <a:ext cx="8925147" cy="465384"/>
          </a:xfrm>
        </p:spPr>
        <p:txBody>
          <a:bodyPr/>
          <a:lstStyle/>
          <a:p>
            <a:r>
              <a:rPr lang="en-US" sz="3600" dirty="0"/>
              <a:t>Rel-17 EVEX – Event Exposure</a:t>
            </a:r>
            <a:endParaRPr lang="de-DE" sz="3600" dirty="0"/>
          </a:p>
        </p:txBody>
      </p:sp>
      <p:sp>
        <p:nvSpPr>
          <p:cNvPr id="163" name="TextBox 162">
            <a:extLst>
              <a:ext uri="{FF2B5EF4-FFF2-40B4-BE49-F238E27FC236}">
                <a16:creationId xmlns:a16="http://schemas.microsoft.com/office/drawing/2014/main" id="{27691EDD-5654-4221-B03E-5DE8E00ECCEF}"/>
              </a:ext>
            </a:extLst>
          </p:cNvPr>
          <p:cNvSpPr txBox="1"/>
          <p:nvPr/>
        </p:nvSpPr>
        <p:spPr>
          <a:xfrm>
            <a:off x="493776" y="5257607"/>
            <a:ext cx="11204448" cy="1300099"/>
          </a:xfrm>
          <a:prstGeom prst="rect">
            <a:avLst/>
          </a:prstGeom>
        </p:spPr>
        <p:txBody>
          <a:bodyPr wrap="square" lIns="0" tIns="0" rIns="0" bIns="0" rtlCol="0">
            <a:spAutoFit/>
          </a:bodyPr>
          <a:lstStyle/>
          <a:p>
            <a:pPr algn="l">
              <a:lnSpc>
                <a:spcPct val="96000"/>
              </a:lnSpc>
            </a:pPr>
            <a:r>
              <a:rPr lang="en-US" sz="2200" dirty="0">
                <a:solidFill>
                  <a:srgbClr val="FF0000"/>
                </a:solidFill>
              </a:rPr>
              <a:t>UEs can log and report a variety of useful information (e.g. </a:t>
            </a:r>
            <a:r>
              <a:rPr lang="en-US" sz="2200" dirty="0" err="1">
                <a:solidFill>
                  <a:srgbClr val="FF0000"/>
                </a:solidFill>
              </a:rPr>
              <a:t>QoE</a:t>
            </a:r>
            <a:r>
              <a:rPr lang="en-US" sz="2200" dirty="0">
                <a:solidFill>
                  <a:srgbClr val="FF0000"/>
                </a:solidFill>
              </a:rPr>
              <a:t> metrics, usage measurements, dynamic QoS/Charging policy invocations) to a Data Collection AF, for subsequent offering via Event Exposure services to external entities for device, network and service performance monitoring and data analytics </a:t>
            </a:r>
            <a:endParaRPr lang="en-US" sz="2200" dirty="0">
              <a:solidFill>
                <a:srgbClr val="FF0000"/>
              </a:solidFill>
              <a:latin typeface="Microsoft Sans Serif"/>
              <a:cs typeface="Microsoft Sans Serif" panose="020B0604020202020204" pitchFamily="34" charset="0"/>
            </a:endParaRPr>
          </a:p>
        </p:txBody>
      </p:sp>
      <p:grpSp>
        <p:nvGrpSpPr>
          <p:cNvPr id="17" name="Group 16">
            <a:extLst>
              <a:ext uri="{FF2B5EF4-FFF2-40B4-BE49-F238E27FC236}">
                <a16:creationId xmlns:a16="http://schemas.microsoft.com/office/drawing/2014/main" id="{A9FEEBEE-1CD0-49E6-BAA6-AE3070E1D566}"/>
              </a:ext>
            </a:extLst>
          </p:cNvPr>
          <p:cNvGrpSpPr/>
          <p:nvPr/>
        </p:nvGrpSpPr>
        <p:grpSpPr>
          <a:xfrm>
            <a:off x="-320000" y="2224612"/>
            <a:ext cx="3030173" cy="2326845"/>
            <a:chOff x="1684410" y="35722"/>
            <a:chExt cx="8811282" cy="6858000"/>
          </a:xfrm>
        </p:grpSpPr>
        <p:pic>
          <p:nvPicPr>
            <p:cNvPr id="10" name="Picture 9" descr="A hand holding a white cell phone&#10;&#10;Description automatically generated with low confidence">
              <a:extLst>
                <a:ext uri="{FF2B5EF4-FFF2-40B4-BE49-F238E27FC236}">
                  <a16:creationId xmlns:a16="http://schemas.microsoft.com/office/drawing/2014/main" id="{93EA38DC-F516-46E2-AA80-B40486A5C9FB}"/>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684410" y="35722"/>
              <a:ext cx="8811282" cy="6858000"/>
            </a:xfrm>
            <a:prstGeom prst="rect">
              <a:avLst/>
            </a:prstGeom>
          </p:spPr>
        </p:pic>
        <p:pic>
          <p:nvPicPr>
            <p:cNvPr id="15" name="Picture 14" descr="Graphical user interface, application&#10;&#10;Description automatically generated">
              <a:extLst>
                <a:ext uri="{FF2B5EF4-FFF2-40B4-BE49-F238E27FC236}">
                  <a16:creationId xmlns:a16="http://schemas.microsoft.com/office/drawing/2014/main" id="{484ABA1D-2191-4885-B2DE-70EFB57EBF9F}"/>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4909388" y="1401477"/>
              <a:ext cx="2366279" cy="4212960"/>
            </a:xfrm>
            <a:prstGeom prst="rect">
              <a:avLst/>
            </a:prstGeom>
          </p:spPr>
        </p:pic>
      </p:grpSp>
      <p:cxnSp>
        <p:nvCxnSpPr>
          <p:cNvPr id="178" name="Straight Connector 177">
            <a:extLst>
              <a:ext uri="{FF2B5EF4-FFF2-40B4-BE49-F238E27FC236}">
                <a16:creationId xmlns:a16="http://schemas.microsoft.com/office/drawing/2014/main" id="{C262D468-6E36-4E8D-B4E5-80E4B5CF52A9}"/>
              </a:ext>
            </a:extLst>
          </p:cNvPr>
          <p:cNvCxnSpPr>
            <a:cxnSpLocks/>
          </p:cNvCxnSpPr>
          <p:nvPr/>
        </p:nvCxnSpPr>
        <p:spPr>
          <a:xfrm>
            <a:off x="2018456" y="3901587"/>
            <a:ext cx="1463040" cy="7730"/>
          </a:xfrm>
          <a:prstGeom prst="line">
            <a:avLst/>
          </a:prstGeom>
          <a:ln w="38100" cap="rnd">
            <a:solidFill>
              <a:schemeClr val="accent1"/>
            </a:solidFill>
            <a:roun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CFC23562-8F04-4574-BA4C-67AEFF79DEDB}"/>
              </a:ext>
            </a:extLst>
          </p:cNvPr>
          <p:cNvGrpSpPr/>
          <p:nvPr/>
        </p:nvGrpSpPr>
        <p:grpSpPr>
          <a:xfrm>
            <a:off x="1932557" y="977202"/>
            <a:ext cx="9863277" cy="3865883"/>
            <a:chOff x="1401331" y="977202"/>
            <a:chExt cx="9863277" cy="3865883"/>
          </a:xfrm>
        </p:grpSpPr>
        <p:cxnSp>
          <p:nvCxnSpPr>
            <p:cNvPr id="170" name="Straight Arrow Connector 169">
              <a:extLst>
                <a:ext uri="{FF2B5EF4-FFF2-40B4-BE49-F238E27FC236}">
                  <a16:creationId xmlns:a16="http://schemas.microsoft.com/office/drawing/2014/main" id="{DA0B57A5-CA4D-4261-B165-8763A4C0E1D2}"/>
                </a:ext>
              </a:extLst>
            </p:cNvPr>
            <p:cNvCxnSpPr>
              <a:cxnSpLocks/>
            </p:cNvCxnSpPr>
            <p:nvPr/>
          </p:nvCxnSpPr>
          <p:spPr>
            <a:xfrm>
              <a:off x="1422384" y="3092462"/>
              <a:ext cx="3246120" cy="0"/>
            </a:xfrm>
            <a:prstGeom prst="straightConnector1">
              <a:avLst/>
            </a:prstGeom>
            <a:ln w="38100" cap="flat" cmpd="sng" algn="ctr">
              <a:solidFill>
                <a:srgbClr val="C00000"/>
              </a:solidFill>
              <a:prstDash val="sysDot"/>
              <a:round/>
              <a:headEnd type="arrow" w="med" len="med"/>
              <a:tailEnd type="none" w="med" len="med"/>
            </a:ln>
          </p:spPr>
          <p:style>
            <a:lnRef idx="0">
              <a:scrgbClr r="0" g="0" b="0"/>
            </a:lnRef>
            <a:fillRef idx="0">
              <a:scrgbClr r="0" g="0" b="0"/>
            </a:fillRef>
            <a:effectRef idx="0">
              <a:scrgbClr r="0" g="0" b="0"/>
            </a:effectRef>
            <a:fontRef idx="minor">
              <a:schemeClr val="tx1"/>
            </a:fontRef>
          </p:style>
        </p:cxnSp>
        <p:sp>
          <p:nvSpPr>
            <p:cNvPr id="273" name="Freeform 24">
              <a:extLst>
                <a:ext uri="{FF2B5EF4-FFF2-40B4-BE49-F238E27FC236}">
                  <a16:creationId xmlns:a16="http://schemas.microsoft.com/office/drawing/2014/main" id="{51E1DA8A-ABB6-4C5D-AF22-30E3D3AC3D63}"/>
                </a:ext>
              </a:extLst>
            </p:cNvPr>
            <p:cNvSpPr>
              <a:spLocks/>
            </p:cNvSpPr>
            <p:nvPr/>
          </p:nvSpPr>
          <p:spPr bwMode="auto">
            <a:xfrm>
              <a:off x="4397407" y="2019913"/>
              <a:ext cx="3911310" cy="2675941"/>
            </a:xfrm>
            <a:custGeom>
              <a:avLst/>
              <a:gdLst>
                <a:gd name="T0" fmla="*/ 989 w 1212"/>
                <a:gd name="T1" fmla="*/ 280 h 761"/>
                <a:gd name="T2" fmla="*/ 994 w 1212"/>
                <a:gd name="T3" fmla="*/ 231 h 761"/>
                <a:gd name="T4" fmla="*/ 763 w 1212"/>
                <a:gd name="T5" fmla="*/ 0 h 761"/>
                <a:gd name="T6" fmla="*/ 551 w 1212"/>
                <a:gd name="T7" fmla="*/ 137 h 761"/>
                <a:gd name="T8" fmla="*/ 478 w 1212"/>
                <a:gd name="T9" fmla="*/ 120 h 761"/>
                <a:gd name="T10" fmla="*/ 308 w 1212"/>
                <a:gd name="T11" fmla="*/ 279 h 761"/>
                <a:gd name="T12" fmla="*/ 241 w 1212"/>
                <a:gd name="T13" fmla="*/ 279 h 761"/>
                <a:gd name="T14" fmla="*/ 0 w 1212"/>
                <a:gd name="T15" fmla="*/ 520 h 761"/>
                <a:gd name="T16" fmla="*/ 241 w 1212"/>
                <a:gd name="T17" fmla="*/ 761 h 761"/>
                <a:gd name="T18" fmla="*/ 971 w 1212"/>
                <a:gd name="T19" fmla="*/ 761 h 761"/>
                <a:gd name="T20" fmla="*/ 1212 w 1212"/>
                <a:gd name="T21" fmla="*/ 520 h 761"/>
                <a:gd name="T22" fmla="*/ 989 w 1212"/>
                <a:gd name="T23" fmla="*/ 28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2" h="761">
                  <a:moveTo>
                    <a:pt x="989" y="280"/>
                  </a:moveTo>
                  <a:cubicBezTo>
                    <a:pt x="992" y="264"/>
                    <a:pt x="994" y="248"/>
                    <a:pt x="994" y="231"/>
                  </a:cubicBezTo>
                  <a:cubicBezTo>
                    <a:pt x="994" y="104"/>
                    <a:pt x="890" y="0"/>
                    <a:pt x="763" y="0"/>
                  </a:cubicBezTo>
                  <a:cubicBezTo>
                    <a:pt x="668" y="0"/>
                    <a:pt x="587" y="56"/>
                    <a:pt x="551" y="137"/>
                  </a:cubicBezTo>
                  <a:cubicBezTo>
                    <a:pt x="529" y="126"/>
                    <a:pt x="504" y="120"/>
                    <a:pt x="478" y="120"/>
                  </a:cubicBezTo>
                  <a:cubicBezTo>
                    <a:pt x="388" y="120"/>
                    <a:pt x="314" y="191"/>
                    <a:pt x="308" y="279"/>
                  </a:cubicBezTo>
                  <a:cubicBezTo>
                    <a:pt x="241" y="279"/>
                    <a:pt x="241" y="279"/>
                    <a:pt x="241" y="279"/>
                  </a:cubicBezTo>
                  <a:cubicBezTo>
                    <a:pt x="107" y="279"/>
                    <a:pt x="0" y="387"/>
                    <a:pt x="0" y="520"/>
                  </a:cubicBezTo>
                  <a:cubicBezTo>
                    <a:pt x="0" y="653"/>
                    <a:pt x="107" y="761"/>
                    <a:pt x="241" y="761"/>
                  </a:cubicBezTo>
                  <a:cubicBezTo>
                    <a:pt x="971" y="761"/>
                    <a:pt x="971" y="761"/>
                    <a:pt x="971" y="761"/>
                  </a:cubicBezTo>
                  <a:cubicBezTo>
                    <a:pt x="1105" y="761"/>
                    <a:pt x="1212" y="653"/>
                    <a:pt x="1212" y="520"/>
                  </a:cubicBezTo>
                  <a:cubicBezTo>
                    <a:pt x="1212" y="393"/>
                    <a:pt x="1114" y="289"/>
                    <a:pt x="989" y="280"/>
                  </a:cubicBezTo>
                  <a:close/>
                </a:path>
              </a:pathLst>
            </a:custGeom>
            <a:solidFill>
              <a:schemeClr val="accent3">
                <a:lumMod val="60000"/>
                <a:lumOff val="40000"/>
              </a:schemeClr>
            </a:solidFill>
            <a:ln w="10795" cap="flat" cmpd="sng" algn="ctr">
              <a:noFill/>
              <a:prstDash val="solid"/>
            </a:ln>
            <a:effectLst/>
          </p:spPr>
          <p:txBody>
            <a:bodyPr rtlCol="0" anchor="ctr"/>
            <a:lstStyle/>
            <a:p>
              <a:pPr algn="ctr">
                <a:defRPr/>
              </a:pPr>
              <a:endParaRPr lang="en-US" kern="0" dirty="0">
                <a:solidFill>
                  <a:prstClr val="white"/>
                </a:solidFill>
                <a:latin typeface="Microsoft Sans Serif"/>
              </a:endParaRPr>
            </a:p>
          </p:txBody>
        </p:sp>
        <p:sp>
          <p:nvSpPr>
            <p:cNvPr id="304" name="Text Placeholder 3">
              <a:extLst>
                <a:ext uri="{FF2B5EF4-FFF2-40B4-BE49-F238E27FC236}">
                  <a16:creationId xmlns:a16="http://schemas.microsoft.com/office/drawing/2014/main" id="{02C26644-607A-4F49-86CA-6FB03E2C9EDA}"/>
                </a:ext>
              </a:extLst>
            </p:cNvPr>
            <p:cNvSpPr txBox="1">
              <a:spLocks/>
            </p:cNvSpPr>
            <p:nvPr/>
          </p:nvSpPr>
          <p:spPr bwMode="gray">
            <a:xfrm>
              <a:off x="5647702" y="4289737"/>
              <a:ext cx="1672772" cy="281075"/>
            </a:xfrm>
            <a:prstGeom prst="rect">
              <a:avLst/>
            </a:prstGeom>
          </p:spPr>
          <p:txBody>
            <a:bodyPr vert="horz" lIns="0" tIns="0" rIns="0" bIns="0" rtlCol="0" anchor="t">
              <a:noAutofit/>
            </a:bodyPr>
            <a:lstStyle>
              <a:lvl1pPr marL="0" indent="0" algn="l" defTabSz="914400" rtl="0" eaLnBrk="1" latinLnBrk="0" hangingPunct="1">
                <a:lnSpc>
                  <a:spcPct val="83000"/>
                </a:lnSpc>
                <a:spcBef>
                  <a:spcPts val="1200"/>
                </a:spcBef>
                <a:buClr>
                  <a:schemeClr val="accent4">
                    <a:lumMod val="75000"/>
                  </a:schemeClr>
                </a:buClr>
                <a:buFont typeface="Microsoft Sans Serif" panose="020B0604020202020204" pitchFamily="34" charset="0"/>
                <a:buNone/>
                <a:defRPr lang="en-US" sz="2400" b="0" kern="1200" baseline="0" dirty="0" smtClean="0">
                  <a:solidFill>
                    <a:schemeClr val="accent4">
                      <a:lumMod val="75000"/>
                    </a:schemeClr>
                  </a:solidFill>
                  <a:latin typeface="+mn-lt"/>
                  <a:ea typeface="+mn-ea"/>
                  <a:cs typeface="+mn-cs"/>
                </a:defRPr>
              </a:lvl1pPr>
              <a:lvl2pPr marL="457200" indent="0" algn="l" defTabSz="914400" rtl="0" eaLnBrk="1" latinLnBrk="0" hangingPunct="1">
                <a:lnSpc>
                  <a:spcPct val="107000"/>
                </a:lnSpc>
                <a:spcBef>
                  <a:spcPts val="0"/>
                </a:spcBef>
                <a:buClr>
                  <a:schemeClr val="tx1">
                    <a:lumMod val="50000"/>
                    <a:lumOff val="50000"/>
                  </a:schemeClr>
                </a:buClr>
                <a:buFont typeface="Microsoft Sans Serif" panose="020B0604020202020204" pitchFamily="34" charset="0"/>
                <a:buNone/>
                <a:defRPr sz="2000" b="1" kern="1200" baseline="0">
                  <a:solidFill>
                    <a:schemeClr val="tx1">
                      <a:lumMod val="50000"/>
                      <a:lumOff val="50000"/>
                    </a:schemeClr>
                  </a:solidFill>
                  <a:latin typeface="+mn-lt"/>
                  <a:ea typeface="+mn-ea"/>
                  <a:cs typeface="+mn-cs"/>
                </a:defRPr>
              </a:lvl2pPr>
              <a:lvl3pPr marL="914400" indent="0" algn="l" defTabSz="914400" rtl="0" eaLnBrk="1" latinLnBrk="0" hangingPunct="1">
                <a:lnSpc>
                  <a:spcPct val="100000"/>
                </a:lnSpc>
                <a:spcBef>
                  <a:spcPts val="0"/>
                </a:spcBef>
                <a:buClr>
                  <a:schemeClr val="tx1">
                    <a:lumMod val="50000"/>
                    <a:lumOff val="50000"/>
                  </a:schemeClr>
                </a:buClr>
                <a:buFont typeface="Microsoft Sans Serif" panose="020B0604020202020204" pitchFamily="34" charset="0"/>
                <a:buNone/>
                <a:defRPr sz="1800" b="1" kern="1200">
                  <a:solidFill>
                    <a:schemeClr val="tx1">
                      <a:lumMod val="50000"/>
                      <a:lumOff val="50000"/>
                    </a:schemeClr>
                  </a:solidFill>
                  <a:latin typeface="+mn-lt"/>
                  <a:ea typeface="+mn-ea"/>
                  <a:cs typeface="+mn-cs"/>
                </a:defRPr>
              </a:lvl3pPr>
              <a:lvl4pPr marL="1371600" indent="0" algn="l" defTabSz="914400" rtl="0" eaLnBrk="1" latinLnBrk="0" hangingPunct="1">
                <a:lnSpc>
                  <a:spcPct val="100000"/>
                </a:lnSpc>
                <a:spcBef>
                  <a:spcPts val="0"/>
                </a:spcBef>
                <a:buClr>
                  <a:schemeClr val="tx1">
                    <a:lumMod val="50000"/>
                    <a:lumOff val="50000"/>
                  </a:schemeClr>
                </a:buClr>
                <a:buFont typeface="Microsoft Sans Serif" panose="020B0604020202020204" pitchFamily="34" charset="0"/>
                <a:buNone/>
                <a:defRPr sz="1600" b="1" kern="1200">
                  <a:solidFill>
                    <a:schemeClr val="tx1">
                      <a:lumMod val="50000"/>
                      <a:lumOff val="50000"/>
                    </a:schemeClr>
                  </a:solidFill>
                  <a:latin typeface="+mn-lt"/>
                  <a:ea typeface="+mn-ea"/>
                  <a:cs typeface="+mn-cs"/>
                </a:defRPr>
              </a:lvl4pPr>
              <a:lvl5pPr marL="1828800" indent="0" algn="l" defTabSz="914400" rtl="0" eaLnBrk="1" latinLnBrk="0" hangingPunct="1">
                <a:lnSpc>
                  <a:spcPct val="98000"/>
                </a:lnSpc>
                <a:spcBef>
                  <a:spcPts val="1800"/>
                </a:spcBef>
                <a:buFont typeface="Microsoft Sans Serif" panose="020B0604020202020204" pitchFamily="34" charset="0"/>
                <a:buNone/>
                <a:defRPr sz="1600" b="1" kern="1200">
                  <a:solidFill>
                    <a:schemeClr val="tx1">
                      <a:lumMod val="50000"/>
                      <a:lumOff val="50000"/>
                    </a:schemeClr>
                  </a:solidFill>
                  <a:latin typeface="+mn-lt"/>
                  <a:ea typeface="+mn-ea"/>
                  <a:cs typeface="+mn-cs"/>
                </a:defRPr>
              </a:lvl5pPr>
              <a:lvl6pPr marL="2286000" indent="0" algn="l" defTabSz="914400" rtl="0" eaLnBrk="1" latinLnBrk="0" hangingPunct="1">
                <a:lnSpc>
                  <a:spcPct val="94000"/>
                </a:lnSpc>
                <a:spcBef>
                  <a:spcPts val="0"/>
                </a:spcBef>
                <a:buFont typeface="Microsoft Sans Serif" panose="020B0604020202020204" pitchFamily="34" charset="0"/>
                <a:buNone/>
                <a:defRPr sz="1600" b="1" kern="1200">
                  <a:solidFill>
                    <a:schemeClr val="tx1">
                      <a:lumMod val="50000"/>
                      <a:lumOff val="50000"/>
                    </a:schemeClr>
                  </a:solidFill>
                  <a:latin typeface="+mn-lt"/>
                  <a:ea typeface="+mn-ea"/>
                  <a:cs typeface="+mn-cs"/>
                </a:defRPr>
              </a:lvl6pPr>
              <a:lvl7pPr marL="2743200" indent="0" algn="l" defTabSz="914400" rtl="0" eaLnBrk="1" latinLnBrk="0" hangingPunct="1">
                <a:lnSpc>
                  <a:spcPct val="107000"/>
                </a:lnSpc>
                <a:spcBef>
                  <a:spcPts val="1200"/>
                </a:spcBef>
                <a:buFont typeface="Microsoft Sans Serif" panose="020B0604020202020204" pitchFamily="34" charset="0"/>
                <a:buNone/>
                <a:defRPr sz="1600" b="1" kern="1200" baseline="0">
                  <a:solidFill>
                    <a:schemeClr val="tx1">
                      <a:lumMod val="50000"/>
                      <a:lumOff val="50000"/>
                    </a:schemeClr>
                  </a:solidFill>
                  <a:latin typeface="+mn-lt"/>
                  <a:ea typeface="+mn-ea"/>
                  <a:cs typeface="+mn-cs"/>
                </a:defRPr>
              </a:lvl7pPr>
              <a:lvl8pPr marL="3200400" indent="0" algn="l" defTabSz="914400" rtl="0" eaLnBrk="1" latinLnBrk="0" hangingPunct="1">
                <a:lnSpc>
                  <a:spcPct val="86000"/>
                </a:lnSpc>
                <a:spcBef>
                  <a:spcPts val="1800"/>
                </a:spcBef>
                <a:buFont typeface="Microsoft Sans Serif" panose="020B0604020202020204" pitchFamily="34" charset="0"/>
                <a:buNone/>
                <a:defRPr sz="1600" b="1" kern="1200" baseline="0">
                  <a:solidFill>
                    <a:schemeClr val="tx1">
                      <a:lumMod val="50000"/>
                      <a:lumOff val="50000"/>
                    </a:schemeClr>
                  </a:solidFill>
                  <a:latin typeface="+mn-lt"/>
                  <a:ea typeface="+mn-ea"/>
                  <a:cs typeface="+mn-cs"/>
                </a:defRPr>
              </a:lvl8pPr>
              <a:lvl9pPr marL="3657600" indent="0" algn="l" defTabSz="914400" rtl="0" eaLnBrk="1" latinLnBrk="0" hangingPunct="1">
                <a:lnSpc>
                  <a:spcPct val="84000"/>
                </a:lnSpc>
                <a:spcBef>
                  <a:spcPts val="1800"/>
                </a:spcBef>
                <a:buFont typeface="Microsoft Sans Serif" panose="020B0604020202020204" pitchFamily="34" charset="0"/>
                <a:buNone/>
                <a:defRPr sz="1600" b="1" kern="1200" baseline="0">
                  <a:solidFill>
                    <a:schemeClr val="tx1">
                      <a:lumMod val="50000"/>
                      <a:lumOff val="50000"/>
                    </a:schemeClr>
                  </a:solidFill>
                  <a:latin typeface="+mn-lt"/>
                  <a:ea typeface="+mn-ea"/>
                  <a:cs typeface="+mn-cs"/>
                </a:defRPr>
              </a:lvl9pPr>
            </a:lstStyle>
            <a:p>
              <a:pPr algn="ctr">
                <a:lnSpc>
                  <a:spcPct val="89000"/>
                </a:lnSpc>
                <a:spcBef>
                  <a:spcPts val="0"/>
                </a:spcBef>
                <a:spcAft>
                  <a:spcPts val="450"/>
                </a:spcAft>
                <a:buClr>
                  <a:prstClr val="black"/>
                </a:buClr>
                <a:defRPr/>
              </a:pPr>
              <a:r>
                <a:rPr lang="en-US" sz="2600" spc="10" dirty="0">
                  <a:solidFill>
                    <a:schemeClr val="bg1"/>
                  </a:solidFill>
                  <a:latin typeface="Microsoft Sans Serif" panose="020B0604020202020204" pitchFamily="34" charset="0"/>
                </a:rPr>
                <a:t>5G Core</a:t>
              </a:r>
            </a:p>
          </p:txBody>
        </p:sp>
        <p:cxnSp>
          <p:nvCxnSpPr>
            <p:cNvPr id="298" name="Straight Arrow Connector 297">
              <a:extLst>
                <a:ext uri="{FF2B5EF4-FFF2-40B4-BE49-F238E27FC236}">
                  <a16:creationId xmlns:a16="http://schemas.microsoft.com/office/drawing/2014/main" id="{275CC760-50EF-4FEB-BCAB-885A9554599D}"/>
                </a:ext>
              </a:extLst>
            </p:cNvPr>
            <p:cNvCxnSpPr>
              <a:cxnSpLocks/>
            </p:cNvCxnSpPr>
            <p:nvPr/>
          </p:nvCxnSpPr>
          <p:spPr>
            <a:xfrm flipV="1">
              <a:off x="3777979" y="3834907"/>
              <a:ext cx="5486400" cy="58607"/>
            </a:xfrm>
            <a:prstGeom prst="straightConnector1">
              <a:avLst/>
            </a:prstGeom>
            <a:ln w="38100" cap="flat" cmpd="sng" algn="ctr">
              <a:solidFill>
                <a:srgbClr val="0033CC"/>
              </a:solidFill>
              <a:prstDash val="solid"/>
              <a:round/>
              <a:headEnd type="triangle" w="lg" len="lg"/>
              <a:tailEnd type="triangle" w="lg" len="lg"/>
            </a:ln>
          </p:spPr>
          <p:style>
            <a:lnRef idx="0">
              <a:scrgbClr r="0" g="0" b="0"/>
            </a:lnRef>
            <a:fillRef idx="0">
              <a:scrgbClr r="0" g="0" b="0"/>
            </a:fillRef>
            <a:effectRef idx="0">
              <a:scrgbClr r="0" g="0" b="0"/>
            </a:effectRef>
            <a:fontRef idx="minor">
              <a:schemeClr val="tx1"/>
            </a:fontRef>
          </p:style>
        </p:cxnSp>
        <p:grpSp>
          <p:nvGrpSpPr>
            <p:cNvPr id="313" name="Group 312">
              <a:extLst>
                <a:ext uri="{FF2B5EF4-FFF2-40B4-BE49-F238E27FC236}">
                  <a16:creationId xmlns:a16="http://schemas.microsoft.com/office/drawing/2014/main" id="{761E2FAD-1085-4699-93DD-47DE2215295D}"/>
                </a:ext>
              </a:extLst>
            </p:cNvPr>
            <p:cNvGrpSpPr/>
            <p:nvPr/>
          </p:nvGrpSpPr>
          <p:grpSpPr>
            <a:xfrm>
              <a:off x="3010663" y="3519114"/>
              <a:ext cx="732686" cy="1323971"/>
              <a:chOff x="5111750" y="1914815"/>
              <a:chExt cx="1968501" cy="3557120"/>
            </a:xfrm>
          </p:grpSpPr>
          <p:sp>
            <p:nvSpPr>
              <p:cNvPr id="314" name="Freeform 5">
                <a:extLst>
                  <a:ext uri="{FF2B5EF4-FFF2-40B4-BE49-F238E27FC236}">
                    <a16:creationId xmlns:a16="http://schemas.microsoft.com/office/drawing/2014/main" id="{D1172E59-C782-4A7A-B21D-35DE6BAD330B}"/>
                  </a:ext>
                </a:extLst>
              </p:cNvPr>
              <p:cNvSpPr>
                <a:spLocks/>
              </p:cNvSpPr>
              <p:nvPr/>
            </p:nvSpPr>
            <p:spPr bwMode="auto">
              <a:xfrm>
                <a:off x="5810249" y="1914815"/>
                <a:ext cx="571500" cy="1598617"/>
              </a:xfrm>
              <a:custGeom>
                <a:avLst/>
                <a:gdLst>
                  <a:gd name="T0" fmla="*/ 991 w 1027"/>
                  <a:gd name="T1" fmla="*/ 2872 h 2872"/>
                  <a:gd name="T2" fmla="*/ 36 w 1027"/>
                  <a:gd name="T3" fmla="*/ 2872 h 2872"/>
                  <a:gd name="T4" fmla="*/ 0 w 1027"/>
                  <a:gd name="T5" fmla="*/ 2836 h 2872"/>
                  <a:gd name="T6" fmla="*/ 0 w 1027"/>
                  <a:gd name="T7" fmla="*/ 36 h 2872"/>
                  <a:gd name="T8" fmla="*/ 36 w 1027"/>
                  <a:gd name="T9" fmla="*/ 0 h 2872"/>
                  <a:gd name="T10" fmla="*/ 991 w 1027"/>
                  <a:gd name="T11" fmla="*/ 0 h 2872"/>
                  <a:gd name="T12" fmla="*/ 1027 w 1027"/>
                  <a:gd name="T13" fmla="*/ 36 h 2872"/>
                  <a:gd name="T14" fmla="*/ 1027 w 1027"/>
                  <a:gd name="T15" fmla="*/ 2836 h 2872"/>
                  <a:gd name="T16" fmla="*/ 991 w 1027"/>
                  <a:gd name="T17" fmla="*/ 2872 h 2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7" h="2872">
                    <a:moveTo>
                      <a:pt x="991" y="2872"/>
                    </a:moveTo>
                    <a:cubicBezTo>
                      <a:pt x="36" y="2872"/>
                      <a:pt x="36" y="2872"/>
                      <a:pt x="36" y="2872"/>
                    </a:cubicBezTo>
                    <a:cubicBezTo>
                      <a:pt x="16" y="2872"/>
                      <a:pt x="0" y="2856"/>
                      <a:pt x="0" y="2836"/>
                    </a:cubicBezTo>
                    <a:cubicBezTo>
                      <a:pt x="0" y="36"/>
                      <a:pt x="0" y="36"/>
                      <a:pt x="0" y="36"/>
                    </a:cubicBezTo>
                    <a:cubicBezTo>
                      <a:pt x="0" y="16"/>
                      <a:pt x="16" y="0"/>
                      <a:pt x="36" y="0"/>
                    </a:cubicBezTo>
                    <a:cubicBezTo>
                      <a:pt x="991" y="0"/>
                      <a:pt x="991" y="0"/>
                      <a:pt x="991" y="0"/>
                    </a:cubicBezTo>
                    <a:cubicBezTo>
                      <a:pt x="1011" y="0"/>
                      <a:pt x="1027" y="16"/>
                      <a:pt x="1027" y="36"/>
                    </a:cubicBezTo>
                    <a:cubicBezTo>
                      <a:pt x="1027" y="2836"/>
                      <a:pt x="1027" y="2836"/>
                      <a:pt x="1027" y="2836"/>
                    </a:cubicBezTo>
                    <a:cubicBezTo>
                      <a:pt x="1027" y="2856"/>
                      <a:pt x="1011" y="2872"/>
                      <a:pt x="991" y="2872"/>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lt1"/>
                  </a:solidFill>
                </a:endParaRPr>
              </a:p>
            </p:txBody>
          </p:sp>
          <p:sp>
            <p:nvSpPr>
              <p:cNvPr id="315" name="Freeform 6">
                <a:extLst>
                  <a:ext uri="{FF2B5EF4-FFF2-40B4-BE49-F238E27FC236}">
                    <a16:creationId xmlns:a16="http://schemas.microsoft.com/office/drawing/2014/main" id="{9FAA0349-85DD-40AB-81AB-17A7E03ABDCA}"/>
                  </a:ext>
                </a:extLst>
              </p:cNvPr>
              <p:cNvSpPr>
                <a:spLocks noEditPoints="1"/>
              </p:cNvSpPr>
              <p:nvPr/>
            </p:nvSpPr>
            <p:spPr bwMode="auto">
              <a:xfrm>
                <a:off x="5505450" y="2435749"/>
                <a:ext cx="1181099" cy="588964"/>
              </a:xfrm>
              <a:custGeom>
                <a:avLst/>
                <a:gdLst>
                  <a:gd name="T0" fmla="*/ 2009 w 2125"/>
                  <a:gd name="T1" fmla="*/ 1060 h 1060"/>
                  <a:gd name="T2" fmla="*/ 116 w 2125"/>
                  <a:gd name="T3" fmla="*/ 1060 h 1060"/>
                  <a:gd name="T4" fmla="*/ 8 w 2125"/>
                  <a:gd name="T5" fmla="*/ 985 h 1060"/>
                  <a:gd name="T6" fmla="*/ 0 w 2125"/>
                  <a:gd name="T7" fmla="*/ 945 h 1060"/>
                  <a:gd name="T8" fmla="*/ 40 w 2125"/>
                  <a:gd name="T9" fmla="*/ 857 h 1060"/>
                  <a:gd name="T10" fmla="*/ 987 w 2125"/>
                  <a:gd name="T11" fmla="*/ 37 h 1060"/>
                  <a:gd name="T12" fmla="*/ 1138 w 2125"/>
                  <a:gd name="T13" fmla="*/ 37 h 1060"/>
                  <a:gd name="T14" fmla="*/ 2085 w 2125"/>
                  <a:gd name="T15" fmla="*/ 857 h 1060"/>
                  <a:gd name="T16" fmla="*/ 2125 w 2125"/>
                  <a:gd name="T17" fmla="*/ 945 h 1060"/>
                  <a:gd name="T18" fmla="*/ 2117 w 2125"/>
                  <a:gd name="T19" fmla="*/ 985 h 1060"/>
                  <a:gd name="T20" fmla="*/ 2009 w 2125"/>
                  <a:gd name="T21" fmla="*/ 1060 h 1060"/>
                  <a:gd name="T22" fmla="*/ 425 w 2125"/>
                  <a:gd name="T23" fmla="*/ 829 h 1060"/>
                  <a:gd name="T24" fmla="*/ 1700 w 2125"/>
                  <a:gd name="T25" fmla="*/ 829 h 1060"/>
                  <a:gd name="T26" fmla="*/ 1062 w 2125"/>
                  <a:gd name="T27" fmla="*/ 277 h 1060"/>
                  <a:gd name="T28" fmla="*/ 425 w 2125"/>
                  <a:gd name="T29" fmla="*/ 829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25" h="1060">
                    <a:moveTo>
                      <a:pt x="2009" y="1060"/>
                    </a:moveTo>
                    <a:cubicBezTo>
                      <a:pt x="116" y="1060"/>
                      <a:pt x="116" y="1060"/>
                      <a:pt x="116" y="1060"/>
                    </a:cubicBezTo>
                    <a:cubicBezTo>
                      <a:pt x="68" y="1060"/>
                      <a:pt x="24" y="1030"/>
                      <a:pt x="8" y="985"/>
                    </a:cubicBezTo>
                    <a:cubicBezTo>
                      <a:pt x="3" y="972"/>
                      <a:pt x="0" y="958"/>
                      <a:pt x="0" y="945"/>
                    </a:cubicBezTo>
                    <a:cubicBezTo>
                      <a:pt x="0" y="912"/>
                      <a:pt x="14" y="880"/>
                      <a:pt x="40" y="857"/>
                    </a:cubicBezTo>
                    <a:cubicBezTo>
                      <a:pt x="987" y="37"/>
                      <a:pt x="987" y="37"/>
                      <a:pt x="987" y="37"/>
                    </a:cubicBezTo>
                    <a:cubicBezTo>
                      <a:pt x="1030" y="0"/>
                      <a:pt x="1095" y="0"/>
                      <a:pt x="1138" y="37"/>
                    </a:cubicBezTo>
                    <a:cubicBezTo>
                      <a:pt x="2085" y="857"/>
                      <a:pt x="2085" y="857"/>
                      <a:pt x="2085" y="857"/>
                    </a:cubicBezTo>
                    <a:cubicBezTo>
                      <a:pt x="2110" y="880"/>
                      <a:pt x="2125" y="912"/>
                      <a:pt x="2125" y="945"/>
                    </a:cubicBezTo>
                    <a:cubicBezTo>
                      <a:pt x="2125" y="958"/>
                      <a:pt x="2122" y="972"/>
                      <a:pt x="2117" y="985"/>
                    </a:cubicBezTo>
                    <a:cubicBezTo>
                      <a:pt x="2100" y="1030"/>
                      <a:pt x="2057" y="1060"/>
                      <a:pt x="2009" y="1060"/>
                    </a:cubicBezTo>
                    <a:close/>
                    <a:moveTo>
                      <a:pt x="425" y="829"/>
                    </a:moveTo>
                    <a:cubicBezTo>
                      <a:pt x="1700" y="829"/>
                      <a:pt x="1700" y="829"/>
                      <a:pt x="1700" y="829"/>
                    </a:cubicBezTo>
                    <a:cubicBezTo>
                      <a:pt x="1062" y="277"/>
                      <a:pt x="1062" y="277"/>
                      <a:pt x="1062" y="277"/>
                    </a:cubicBezTo>
                    <a:lnTo>
                      <a:pt x="425" y="82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316" name="Freeform 7">
                <a:extLst>
                  <a:ext uri="{FF2B5EF4-FFF2-40B4-BE49-F238E27FC236}">
                    <a16:creationId xmlns:a16="http://schemas.microsoft.com/office/drawing/2014/main" id="{BA96B665-11CF-4B97-B24B-71ECDEAF4CDA}"/>
                  </a:ext>
                </a:extLst>
              </p:cNvPr>
              <p:cNvSpPr>
                <a:spLocks/>
              </p:cNvSpPr>
              <p:nvPr/>
            </p:nvSpPr>
            <p:spPr bwMode="auto">
              <a:xfrm>
                <a:off x="6526212" y="2050709"/>
                <a:ext cx="420687" cy="1703390"/>
              </a:xfrm>
              <a:custGeom>
                <a:avLst/>
                <a:gdLst>
                  <a:gd name="T0" fmla="*/ 717 w 758"/>
                  <a:gd name="T1" fmla="*/ 2808 h 3063"/>
                  <a:gd name="T2" fmla="*/ 41 w 758"/>
                  <a:gd name="T3" fmla="*/ 3055 h 3063"/>
                  <a:gd name="T4" fmla="*/ 0 w 758"/>
                  <a:gd name="T5" fmla="*/ 3029 h 3063"/>
                  <a:gd name="T6" fmla="*/ 0 w 758"/>
                  <a:gd name="T7" fmla="*/ 309 h 3063"/>
                  <a:gd name="T8" fmla="*/ 41 w 758"/>
                  <a:gd name="T9" fmla="*/ 254 h 3063"/>
                  <a:gd name="T10" fmla="*/ 717 w 758"/>
                  <a:gd name="T11" fmla="*/ 8 h 3063"/>
                  <a:gd name="T12" fmla="*/ 758 w 758"/>
                  <a:gd name="T13" fmla="*/ 34 h 3063"/>
                  <a:gd name="T14" fmla="*/ 758 w 758"/>
                  <a:gd name="T15" fmla="*/ 2753 h 3063"/>
                  <a:gd name="T16" fmla="*/ 717 w 758"/>
                  <a:gd name="T17" fmla="*/ 2808 h 3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8" h="3063">
                    <a:moveTo>
                      <a:pt x="717" y="2808"/>
                    </a:moveTo>
                    <a:cubicBezTo>
                      <a:pt x="41" y="3055"/>
                      <a:pt x="41" y="3055"/>
                      <a:pt x="41" y="3055"/>
                    </a:cubicBezTo>
                    <a:cubicBezTo>
                      <a:pt x="18" y="3063"/>
                      <a:pt x="0" y="3051"/>
                      <a:pt x="0" y="3029"/>
                    </a:cubicBezTo>
                    <a:cubicBezTo>
                      <a:pt x="0" y="309"/>
                      <a:pt x="0" y="309"/>
                      <a:pt x="0" y="309"/>
                    </a:cubicBezTo>
                    <a:cubicBezTo>
                      <a:pt x="0" y="287"/>
                      <a:pt x="18" y="262"/>
                      <a:pt x="41" y="254"/>
                    </a:cubicBezTo>
                    <a:cubicBezTo>
                      <a:pt x="717" y="8"/>
                      <a:pt x="717" y="8"/>
                      <a:pt x="717" y="8"/>
                    </a:cubicBezTo>
                    <a:cubicBezTo>
                      <a:pt x="740" y="0"/>
                      <a:pt x="758" y="11"/>
                      <a:pt x="758" y="34"/>
                    </a:cubicBezTo>
                    <a:cubicBezTo>
                      <a:pt x="758" y="2753"/>
                      <a:pt x="758" y="2753"/>
                      <a:pt x="758" y="2753"/>
                    </a:cubicBezTo>
                    <a:cubicBezTo>
                      <a:pt x="758" y="2775"/>
                      <a:pt x="740" y="2800"/>
                      <a:pt x="717" y="2808"/>
                    </a:cubicBezTo>
                    <a:close/>
                  </a:path>
                </a:pathLst>
              </a:custGeom>
              <a:solidFill>
                <a:srgbClr val="3253DC"/>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79248" tIns="39624" rIns="79248" bIns="39624" numCol="1" spcCol="0" rtlCol="0" fromWordArt="0" anchor="t" anchorCtr="0" forceAA="0" compatLnSpc="1">
                <a:prstTxWarp prst="textNoShape">
                  <a:avLst/>
                </a:prstTxWarp>
                <a:noAutofit/>
              </a:bodyPr>
              <a:lstStyle/>
              <a:p>
                <a:pPr defTabSz="792462"/>
                <a:endParaRPr lang="de-DE" sz="1382">
                  <a:solidFill>
                    <a:prstClr val="black"/>
                  </a:solidFill>
                  <a:latin typeface="Microsoft Sans Serif"/>
                </a:endParaRPr>
              </a:p>
            </p:txBody>
          </p:sp>
          <p:sp>
            <p:nvSpPr>
              <p:cNvPr id="317" name="Freeform 8">
                <a:extLst>
                  <a:ext uri="{FF2B5EF4-FFF2-40B4-BE49-F238E27FC236}">
                    <a16:creationId xmlns:a16="http://schemas.microsoft.com/office/drawing/2014/main" id="{446EF511-0FDC-4F32-BA04-20A78E82C972}"/>
                  </a:ext>
                </a:extLst>
              </p:cNvPr>
              <p:cNvSpPr>
                <a:spLocks/>
              </p:cNvSpPr>
              <p:nvPr/>
            </p:nvSpPr>
            <p:spPr bwMode="auto">
              <a:xfrm>
                <a:off x="6570664" y="2079277"/>
                <a:ext cx="420687" cy="1704975"/>
              </a:xfrm>
              <a:custGeom>
                <a:avLst/>
                <a:gdLst>
                  <a:gd name="T0" fmla="*/ 717 w 758"/>
                  <a:gd name="T1" fmla="*/ 2809 h 3063"/>
                  <a:gd name="T2" fmla="*/ 41 w 758"/>
                  <a:gd name="T3" fmla="*/ 3055 h 3063"/>
                  <a:gd name="T4" fmla="*/ 0 w 758"/>
                  <a:gd name="T5" fmla="*/ 3029 h 3063"/>
                  <a:gd name="T6" fmla="*/ 0 w 758"/>
                  <a:gd name="T7" fmla="*/ 310 h 3063"/>
                  <a:gd name="T8" fmla="*/ 41 w 758"/>
                  <a:gd name="T9" fmla="*/ 254 h 3063"/>
                  <a:gd name="T10" fmla="*/ 717 w 758"/>
                  <a:gd name="T11" fmla="*/ 8 h 3063"/>
                  <a:gd name="T12" fmla="*/ 758 w 758"/>
                  <a:gd name="T13" fmla="*/ 34 h 3063"/>
                  <a:gd name="T14" fmla="*/ 758 w 758"/>
                  <a:gd name="T15" fmla="*/ 2753 h 3063"/>
                  <a:gd name="T16" fmla="*/ 717 w 758"/>
                  <a:gd name="T17" fmla="*/ 2809 h 3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8" h="3063">
                    <a:moveTo>
                      <a:pt x="717" y="2809"/>
                    </a:moveTo>
                    <a:cubicBezTo>
                      <a:pt x="41" y="3055"/>
                      <a:pt x="41" y="3055"/>
                      <a:pt x="41" y="3055"/>
                    </a:cubicBezTo>
                    <a:cubicBezTo>
                      <a:pt x="18" y="3063"/>
                      <a:pt x="0" y="3051"/>
                      <a:pt x="0" y="3029"/>
                    </a:cubicBezTo>
                    <a:cubicBezTo>
                      <a:pt x="0" y="310"/>
                      <a:pt x="0" y="310"/>
                      <a:pt x="0" y="310"/>
                    </a:cubicBezTo>
                    <a:cubicBezTo>
                      <a:pt x="0" y="287"/>
                      <a:pt x="18" y="262"/>
                      <a:pt x="41" y="254"/>
                    </a:cubicBezTo>
                    <a:cubicBezTo>
                      <a:pt x="717" y="8"/>
                      <a:pt x="717" y="8"/>
                      <a:pt x="717" y="8"/>
                    </a:cubicBezTo>
                    <a:cubicBezTo>
                      <a:pt x="739" y="0"/>
                      <a:pt x="758" y="11"/>
                      <a:pt x="758" y="34"/>
                    </a:cubicBezTo>
                    <a:cubicBezTo>
                      <a:pt x="758" y="2753"/>
                      <a:pt x="758" y="2753"/>
                      <a:pt x="758" y="2753"/>
                    </a:cubicBezTo>
                    <a:cubicBezTo>
                      <a:pt x="758" y="2776"/>
                      <a:pt x="739" y="2801"/>
                      <a:pt x="717" y="2809"/>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318" name="Freeform 9">
                <a:extLst>
                  <a:ext uri="{FF2B5EF4-FFF2-40B4-BE49-F238E27FC236}">
                    <a16:creationId xmlns:a16="http://schemas.microsoft.com/office/drawing/2014/main" id="{94C8CEE8-BAA1-4532-83A3-BA1317AF8CB2}"/>
                  </a:ext>
                </a:extLst>
              </p:cNvPr>
              <p:cNvSpPr>
                <a:spLocks/>
              </p:cNvSpPr>
              <p:nvPr/>
            </p:nvSpPr>
            <p:spPr bwMode="auto">
              <a:xfrm>
                <a:off x="6615112" y="2109441"/>
                <a:ext cx="420687" cy="1703387"/>
              </a:xfrm>
              <a:custGeom>
                <a:avLst/>
                <a:gdLst>
                  <a:gd name="T0" fmla="*/ 717 w 757"/>
                  <a:gd name="T1" fmla="*/ 2809 h 3063"/>
                  <a:gd name="T2" fmla="*/ 40 w 757"/>
                  <a:gd name="T3" fmla="*/ 3055 h 3063"/>
                  <a:gd name="T4" fmla="*/ 0 w 757"/>
                  <a:gd name="T5" fmla="*/ 3029 h 3063"/>
                  <a:gd name="T6" fmla="*/ 0 w 757"/>
                  <a:gd name="T7" fmla="*/ 310 h 3063"/>
                  <a:gd name="T8" fmla="*/ 40 w 757"/>
                  <a:gd name="T9" fmla="*/ 255 h 3063"/>
                  <a:gd name="T10" fmla="*/ 717 w 757"/>
                  <a:gd name="T11" fmla="*/ 8 h 3063"/>
                  <a:gd name="T12" fmla="*/ 757 w 757"/>
                  <a:gd name="T13" fmla="*/ 34 h 3063"/>
                  <a:gd name="T14" fmla="*/ 757 w 757"/>
                  <a:gd name="T15" fmla="*/ 2754 h 3063"/>
                  <a:gd name="T16" fmla="*/ 717 w 757"/>
                  <a:gd name="T17" fmla="*/ 2809 h 3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7" h="3063">
                    <a:moveTo>
                      <a:pt x="717" y="2809"/>
                    </a:moveTo>
                    <a:cubicBezTo>
                      <a:pt x="40" y="3055"/>
                      <a:pt x="40" y="3055"/>
                      <a:pt x="40" y="3055"/>
                    </a:cubicBezTo>
                    <a:cubicBezTo>
                      <a:pt x="18" y="3063"/>
                      <a:pt x="0" y="3052"/>
                      <a:pt x="0" y="3029"/>
                    </a:cubicBezTo>
                    <a:cubicBezTo>
                      <a:pt x="0" y="310"/>
                      <a:pt x="0" y="310"/>
                      <a:pt x="0" y="310"/>
                    </a:cubicBezTo>
                    <a:cubicBezTo>
                      <a:pt x="0" y="288"/>
                      <a:pt x="18" y="263"/>
                      <a:pt x="40" y="255"/>
                    </a:cubicBezTo>
                    <a:cubicBezTo>
                      <a:pt x="717" y="8"/>
                      <a:pt x="717" y="8"/>
                      <a:pt x="717" y="8"/>
                    </a:cubicBezTo>
                    <a:cubicBezTo>
                      <a:pt x="739" y="0"/>
                      <a:pt x="757" y="12"/>
                      <a:pt x="757" y="34"/>
                    </a:cubicBezTo>
                    <a:cubicBezTo>
                      <a:pt x="757" y="2754"/>
                      <a:pt x="757" y="2754"/>
                      <a:pt x="757" y="2754"/>
                    </a:cubicBezTo>
                    <a:cubicBezTo>
                      <a:pt x="757" y="2776"/>
                      <a:pt x="739" y="2801"/>
                      <a:pt x="717" y="2809"/>
                    </a:cubicBezTo>
                    <a:close/>
                  </a:path>
                </a:pathLst>
              </a:custGeom>
              <a:solidFill>
                <a:srgbClr val="3253DC"/>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79248" tIns="39624" rIns="79248" bIns="39624" numCol="1" spcCol="0" rtlCol="0" fromWordArt="0" anchor="t" anchorCtr="0" forceAA="0" compatLnSpc="1">
                <a:prstTxWarp prst="textNoShape">
                  <a:avLst/>
                </a:prstTxWarp>
                <a:noAutofit/>
              </a:bodyPr>
              <a:lstStyle/>
              <a:p>
                <a:pPr defTabSz="792462"/>
                <a:endParaRPr lang="de-DE" sz="1382">
                  <a:solidFill>
                    <a:prstClr val="black"/>
                  </a:solidFill>
                  <a:latin typeface="Microsoft Sans Serif"/>
                </a:endParaRPr>
              </a:p>
            </p:txBody>
          </p:sp>
          <p:sp>
            <p:nvSpPr>
              <p:cNvPr id="319" name="Freeform 10">
                <a:extLst>
                  <a:ext uri="{FF2B5EF4-FFF2-40B4-BE49-F238E27FC236}">
                    <a16:creationId xmlns:a16="http://schemas.microsoft.com/office/drawing/2014/main" id="{6A02A4A6-5106-46B5-BA29-F17CF70374A8}"/>
                  </a:ext>
                </a:extLst>
              </p:cNvPr>
              <p:cNvSpPr>
                <a:spLocks/>
              </p:cNvSpPr>
              <p:nvPr/>
            </p:nvSpPr>
            <p:spPr bwMode="auto">
              <a:xfrm>
                <a:off x="6659564" y="2139604"/>
                <a:ext cx="420687" cy="1703387"/>
              </a:xfrm>
              <a:custGeom>
                <a:avLst/>
                <a:gdLst>
                  <a:gd name="T0" fmla="*/ 717 w 758"/>
                  <a:gd name="T1" fmla="*/ 2808 h 3063"/>
                  <a:gd name="T2" fmla="*/ 41 w 758"/>
                  <a:gd name="T3" fmla="*/ 3055 h 3063"/>
                  <a:gd name="T4" fmla="*/ 0 w 758"/>
                  <a:gd name="T5" fmla="*/ 3029 h 3063"/>
                  <a:gd name="T6" fmla="*/ 0 w 758"/>
                  <a:gd name="T7" fmla="*/ 309 h 3063"/>
                  <a:gd name="T8" fmla="*/ 41 w 758"/>
                  <a:gd name="T9" fmla="*/ 254 h 3063"/>
                  <a:gd name="T10" fmla="*/ 717 w 758"/>
                  <a:gd name="T11" fmla="*/ 8 h 3063"/>
                  <a:gd name="T12" fmla="*/ 758 w 758"/>
                  <a:gd name="T13" fmla="*/ 34 h 3063"/>
                  <a:gd name="T14" fmla="*/ 758 w 758"/>
                  <a:gd name="T15" fmla="*/ 2753 h 3063"/>
                  <a:gd name="T16" fmla="*/ 717 w 758"/>
                  <a:gd name="T17" fmla="*/ 2808 h 3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8" h="3063">
                    <a:moveTo>
                      <a:pt x="717" y="2808"/>
                    </a:moveTo>
                    <a:cubicBezTo>
                      <a:pt x="41" y="3055"/>
                      <a:pt x="41" y="3055"/>
                      <a:pt x="41" y="3055"/>
                    </a:cubicBezTo>
                    <a:cubicBezTo>
                      <a:pt x="19" y="3063"/>
                      <a:pt x="0" y="3051"/>
                      <a:pt x="0" y="3029"/>
                    </a:cubicBezTo>
                    <a:cubicBezTo>
                      <a:pt x="0" y="309"/>
                      <a:pt x="0" y="309"/>
                      <a:pt x="0" y="309"/>
                    </a:cubicBezTo>
                    <a:cubicBezTo>
                      <a:pt x="0" y="287"/>
                      <a:pt x="19" y="262"/>
                      <a:pt x="41" y="254"/>
                    </a:cubicBezTo>
                    <a:cubicBezTo>
                      <a:pt x="717" y="8"/>
                      <a:pt x="717" y="8"/>
                      <a:pt x="717" y="8"/>
                    </a:cubicBezTo>
                    <a:cubicBezTo>
                      <a:pt x="740" y="0"/>
                      <a:pt x="758" y="11"/>
                      <a:pt x="758" y="34"/>
                    </a:cubicBezTo>
                    <a:cubicBezTo>
                      <a:pt x="758" y="2753"/>
                      <a:pt x="758" y="2753"/>
                      <a:pt x="758" y="2753"/>
                    </a:cubicBezTo>
                    <a:cubicBezTo>
                      <a:pt x="758" y="2775"/>
                      <a:pt x="740" y="2800"/>
                      <a:pt x="717" y="280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lt1"/>
                  </a:solidFill>
                </a:endParaRPr>
              </a:p>
            </p:txBody>
          </p:sp>
          <p:sp>
            <p:nvSpPr>
              <p:cNvPr id="320" name="Freeform: Shape 319">
                <a:extLst>
                  <a:ext uri="{FF2B5EF4-FFF2-40B4-BE49-F238E27FC236}">
                    <a16:creationId xmlns:a16="http://schemas.microsoft.com/office/drawing/2014/main" id="{CA0F15EE-2F3A-48FD-AE98-795318E8488D}"/>
                  </a:ext>
                </a:extLst>
              </p:cNvPr>
              <p:cNvSpPr>
                <a:spLocks/>
              </p:cNvSpPr>
              <p:nvPr/>
            </p:nvSpPr>
            <p:spPr bwMode="auto">
              <a:xfrm>
                <a:off x="6699251" y="2233209"/>
                <a:ext cx="341312" cy="1516170"/>
              </a:xfrm>
              <a:custGeom>
                <a:avLst/>
                <a:gdLst>
                  <a:gd name="connsiteX0" fmla="*/ 63092 w 341313"/>
                  <a:gd name="connsiteY0" fmla="*/ 1344294 h 1516168"/>
                  <a:gd name="connsiteX1" fmla="*/ 74613 w 341313"/>
                  <a:gd name="connsiteY1" fmla="*/ 1351007 h 1516168"/>
                  <a:gd name="connsiteX2" fmla="*/ 74613 w 341313"/>
                  <a:gd name="connsiteY2" fmla="*/ 1480789 h 1516168"/>
                  <a:gd name="connsiteX3" fmla="*/ 63092 w 341313"/>
                  <a:gd name="connsiteY3" fmla="*/ 1495893 h 1516168"/>
                  <a:gd name="connsiteX4" fmla="*/ 10972 w 341313"/>
                  <a:gd name="connsiteY4" fmla="*/ 1515473 h 1516168"/>
                  <a:gd name="connsiteX5" fmla="*/ 0 w 341313"/>
                  <a:gd name="connsiteY5" fmla="*/ 1508200 h 1516168"/>
                  <a:gd name="connsiteX6" fmla="*/ 0 w 341313"/>
                  <a:gd name="connsiteY6" fmla="*/ 1378977 h 1516168"/>
                  <a:gd name="connsiteX7" fmla="*/ 10972 w 341313"/>
                  <a:gd name="connsiteY7" fmla="*/ 1363314 h 1516168"/>
                  <a:gd name="connsiteX8" fmla="*/ 63092 w 341313"/>
                  <a:gd name="connsiteY8" fmla="*/ 1344294 h 1516168"/>
                  <a:gd name="connsiteX9" fmla="*/ 152459 w 341313"/>
                  <a:gd name="connsiteY9" fmla="*/ 1311965 h 1516168"/>
                  <a:gd name="connsiteX10" fmla="*/ 163513 w 341313"/>
                  <a:gd name="connsiteY10" fmla="*/ 1319171 h 1516168"/>
                  <a:gd name="connsiteX11" fmla="*/ 163513 w 341313"/>
                  <a:gd name="connsiteY11" fmla="*/ 1447784 h 1516168"/>
                  <a:gd name="connsiteX12" fmla="*/ 152459 w 341313"/>
                  <a:gd name="connsiteY12" fmla="*/ 1462752 h 1516168"/>
                  <a:gd name="connsiteX13" fmla="*/ 99954 w 341313"/>
                  <a:gd name="connsiteY13" fmla="*/ 1482155 h 1516168"/>
                  <a:gd name="connsiteX14" fmla="*/ 88900 w 341313"/>
                  <a:gd name="connsiteY14" fmla="*/ 1474948 h 1516168"/>
                  <a:gd name="connsiteX15" fmla="*/ 88900 w 341313"/>
                  <a:gd name="connsiteY15" fmla="*/ 1346890 h 1516168"/>
                  <a:gd name="connsiteX16" fmla="*/ 99954 w 341313"/>
                  <a:gd name="connsiteY16" fmla="*/ 1331367 h 1516168"/>
                  <a:gd name="connsiteX17" fmla="*/ 152459 w 341313"/>
                  <a:gd name="connsiteY17" fmla="*/ 1311965 h 1516168"/>
                  <a:gd name="connsiteX18" fmla="*/ 240892 w 341313"/>
                  <a:gd name="connsiteY18" fmla="*/ 1280215 h 1516168"/>
                  <a:gd name="connsiteX19" fmla="*/ 252413 w 341313"/>
                  <a:gd name="connsiteY19" fmla="*/ 1287421 h 1516168"/>
                  <a:gd name="connsiteX20" fmla="*/ 252413 w 341313"/>
                  <a:gd name="connsiteY20" fmla="*/ 1416034 h 1516168"/>
                  <a:gd name="connsiteX21" fmla="*/ 240892 w 341313"/>
                  <a:gd name="connsiteY21" fmla="*/ 1431002 h 1516168"/>
                  <a:gd name="connsiteX22" fmla="*/ 188772 w 341313"/>
                  <a:gd name="connsiteY22" fmla="*/ 1450405 h 1516168"/>
                  <a:gd name="connsiteX23" fmla="*/ 177800 w 341313"/>
                  <a:gd name="connsiteY23" fmla="*/ 1443198 h 1516168"/>
                  <a:gd name="connsiteX24" fmla="*/ 177800 w 341313"/>
                  <a:gd name="connsiteY24" fmla="*/ 1315140 h 1516168"/>
                  <a:gd name="connsiteX25" fmla="*/ 188772 w 341313"/>
                  <a:gd name="connsiteY25" fmla="*/ 1299617 h 1516168"/>
                  <a:gd name="connsiteX26" fmla="*/ 240892 w 341313"/>
                  <a:gd name="connsiteY26" fmla="*/ 1280215 h 1516168"/>
                  <a:gd name="connsiteX27" fmla="*/ 330259 w 341313"/>
                  <a:gd name="connsiteY27" fmla="*/ 1246897 h 1516168"/>
                  <a:gd name="connsiteX28" fmla="*/ 341313 w 341313"/>
                  <a:gd name="connsiteY28" fmla="*/ 1254169 h 1516168"/>
                  <a:gd name="connsiteX29" fmla="*/ 341313 w 341313"/>
                  <a:gd name="connsiteY29" fmla="*/ 1383951 h 1516168"/>
                  <a:gd name="connsiteX30" fmla="*/ 330259 w 341313"/>
                  <a:gd name="connsiteY30" fmla="*/ 1399055 h 1516168"/>
                  <a:gd name="connsiteX31" fmla="*/ 277754 w 341313"/>
                  <a:gd name="connsiteY31" fmla="*/ 1418635 h 1516168"/>
                  <a:gd name="connsiteX32" fmla="*/ 266700 w 341313"/>
                  <a:gd name="connsiteY32" fmla="*/ 1411362 h 1516168"/>
                  <a:gd name="connsiteX33" fmla="*/ 266700 w 341313"/>
                  <a:gd name="connsiteY33" fmla="*/ 1282139 h 1516168"/>
                  <a:gd name="connsiteX34" fmla="*/ 277754 w 341313"/>
                  <a:gd name="connsiteY34" fmla="*/ 1266476 h 1516168"/>
                  <a:gd name="connsiteX35" fmla="*/ 330259 w 341313"/>
                  <a:gd name="connsiteY35" fmla="*/ 1246897 h 1516168"/>
                  <a:gd name="connsiteX36" fmla="*/ 63092 w 341313"/>
                  <a:gd name="connsiteY36" fmla="*/ 1165914 h 1516168"/>
                  <a:gd name="connsiteX37" fmla="*/ 74613 w 341313"/>
                  <a:gd name="connsiteY37" fmla="*/ 1173121 h 1516168"/>
                  <a:gd name="connsiteX38" fmla="*/ 74613 w 341313"/>
                  <a:gd name="connsiteY38" fmla="*/ 1301734 h 1516168"/>
                  <a:gd name="connsiteX39" fmla="*/ 63092 w 341313"/>
                  <a:gd name="connsiteY39" fmla="*/ 1316702 h 1516168"/>
                  <a:gd name="connsiteX40" fmla="*/ 10972 w 341313"/>
                  <a:gd name="connsiteY40" fmla="*/ 1336105 h 1516168"/>
                  <a:gd name="connsiteX41" fmla="*/ 0 w 341313"/>
                  <a:gd name="connsiteY41" fmla="*/ 1328898 h 1516168"/>
                  <a:gd name="connsiteX42" fmla="*/ 0 w 341313"/>
                  <a:gd name="connsiteY42" fmla="*/ 1200839 h 1516168"/>
                  <a:gd name="connsiteX43" fmla="*/ 10972 w 341313"/>
                  <a:gd name="connsiteY43" fmla="*/ 1185317 h 1516168"/>
                  <a:gd name="connsiteX44" fmla="*/ 63092 w 341313"/>
                  <a:gd name="connsiteY44" fmla="*/ 1165914 h 1516168"/>
                  <a:gd name="connsiteX45" fmla="*/ 152459 w 341313"/>
                  <a:gd name="connsiteY45" fmla="*/ 1134164 h 1516168"/>
                  <a:gd name="connsiteX46" fmla="*/ 163513 w 341313"/>
                  <a:gd name="connsiteY46" fmla="*/ 1141371 h 1516168"/>
                  <a:gd name="connsiteX47" fmla="*/ 163513 w 341313"/>
                  <a:gd name="connsiteY47" fmla="*/ 1269984 h 1516168"/>
                  <a:gd name="connsiteX48" fmla="*/ 152459 w 341313"/>
                  <a:gd name="connsiteY48" fmla="*/ 1284952 h 1516168"/>
                  <a:gd name="connsiteX49" fmla="*/ 99954 w 341313"/>
                  <a:gd name="connsiteY49" fmla="*/ 1304355 h 1516168"/>
                  <a:gd name="connsiteX50" fmla="*/ 88900 w 341313"/>
                  <a:gd name="connsiteY50" fmla="*/ 1297148 h 1516168"/>
                  <a:gd name="connsiteX51" fmla="*/ 88900 w 341313"/>
                  <a:gd name="connsiteY51" fmla="*/ 1169089 h 1516168"/>
                  <a:gd name="connsiteX52" fmla="*/ 99954 w 341313"/>
                  <a:gd name="connsiteY52" fmla="*/ 1153567 h 1516168"/>
                  <a:gd name="connsiteX53" fmla="*/ 152459 w 341313"/>
                  <a:gd name="connsiteY53" fmla="*/ 1134164 h 1516168"/>
                  <a:gd name="connsiteX54" fmla="*/ 240892 w 341313"/>
                  <a:gd name="connsiteY54" fmla="*/ 1100847 h 1516168"/>
                  <a:gd name="connsiteX55" fmla="*/ 252413 w 341313"/>
                  <a:gd name="connsiteY55" fmla="*/ 1108119 h 1516168"/>
                  <a:gd name="connsiteX56" fmla="*/ 252413 w 341313"/>
                  <a:gd name="connsiteY56" fmla="*/ 1237342 h 1516168"/>
                  <a:gd name="connsiteX57" fmla="*/ 240892 w 341313"/>
                  <a:gd name="connsiteY57" fmla="*/ 1253005 h 1516168"/>
                  <a:gd name="connsiteX58" fmla="*/ 188772 w 341313"/>
                  <a:gd name="connsiteY58" fmla="*/ 1272585 h 1516168"/>
                  <a:gd name="connsiteX59" fmla="*/ 177800 w 341313"/>
                  <a:gd name="connsiteY59" fmla="*/ 1265312 h 1516168"/>
                  <a:gd name="connsiteX60" fmla="*/ 177800 w 341313"/>
                  <a:gd name="connsiteY60" fmla="*/ 1136089 h 1516168"/>
                  <a:gd name="connsiteX61" fmla="*/ 188772 w 341313"/>
                  <a:gd name="connsiteY61" fmla="*/ 1120426 h 1516168"/>
                  <a:gd name="connsiteX62" fmla="*/ 240892 w 341313"/>
                  <a:gd name="connsiteY62" fmla="*/ 1100847 h 1516168"/>
                  <a:gd name="connsiteX63" fmla="*/ 330259 w 341313"/>
                  <a:gd name="connsiteY63" fmla="*/ 1069076 h 1516168"/>
                  <a:gd name="connsiteX64" fmla="*/ 341313 w 341313"/>
                  <a:gd name="connsiteY64" fmla="*/ 1076283 h 1516168"/>
                  <a:gd name="connsiteX65" fmla="*/ 341313 w 341313"/>
                  <a:gd name="connsiteY65" fmla="*/ 1204341 h 1516168"/>
                  <a:gd name="connsiteX66" fmla="*/ 330259 w 341313"/>
                  <a:gd name="connsiteY66" fmla="*/ 1219864 h 1516168"/>
                  <a:gd name="connsiteX67" fmla="*/ 277754 w 341313"/>
                  <a:gd name="connsiteY67" fmla="*/ 1239266 h 1516168"/>
                  <a:gd name="connsiteX68" fmla="*/ 266700 w 341313"/>
                  <a:gd name="connsiteY68" fmla="*/ 1232060 h 1516168"/>
                  <a:gd name="connsiteX69" fmla="*/ 266700 w 341313"/>
                  <a:gd name="connsiteY69" fmla="*/ 1104001 h 1516168"/>
                  <a:gd name="connsiteX70" fmla="*/ 277754 w 341313"/>
                  <a:gd name="connsiteY70" fmla="*/ 1088479 h 1516168"/>
                  <a:gd name="connsiteX71" fmla="*/ 330259 w 341313"/>
                  <a:gd name="connsiteY71" fmla="*/ 1069076 h 1516168"/>
                  <a:gd name="connsiteX72" fmla="*/ 63092 w 341313"/>
                  <a:gd name="connsiteY72" fmla="*/ 988114 h 1516168"/>
                  <a:gd name="connsiteX73" fmla="*/ 74613 w 341313"/>
                  <a:gd name="connsiteY73" fmla="*/ 995321 h 1516168"/>
                  <a:gd name="connsiteX74" fmla="*/ 74613 w 341313"/>
                  <a:gd name="connsiteY74" fmla="*/ 1123379 h 1516168"/>
                  <a:gd name="connsiteX75" fmla="*/ 63092 w 341313"/>
                  <a:gd name="connsiteY75" fmla="*/ 1138902 h 1516168"/>
                  <a:gd name="connsiteX76" fmla="*/ 10972 w 341313"/>
                  <a:gd name="connsiteY76" fmla="*/ 1158304 h 1516168"/>
                  <a:gd name="connsiteX77" fmla="*/ 0 w 341313"/>
                  <a:gd name="connsiteY77" fmla="*/ 1151098 h 1516168"/>
                  <a:gd name="connsiteX78" fmla="*/ 0 w 341313"/>
                  <a:gd name="connsiteY78" fmla="*/ 1023039 h 1516168"/>
                  <a:gd name="connsiteX79" fmla="*/ 10972 w 341313"/>
                  <a:gd name="connsiteY79" fmla="*/ 1007517 h 1516168"/>
                  <a:gd name="connsiteX80" fmla="*/ 63092 w 341313"/>
                  <a:gd name="connsiteY80" fmla="*/ 988114 h 1516168"/>
                  <a:gd name="connsiteX81" fmla="*/ 152459 w 341313"/>
                  <a:gd name="connsiteY81" fmla="*/ 956364 h 1516168"/>
                  <a:gd name="connsiteX82" fmla="*/ 163513 w 341313"/>
                  <a:gd name="connsiteY82" fmla="*/ 963571 h 1516168"/>
                  <a:gd name="connsiteX83" fmla="*/ 163513 w 341313"/>
                  <a:gd name="connsiteY83" fmla="*/ 1091629 h 1516168"/>
                  <a:gd name="connsiteX84" fmla="*/ 152459 w 341313"/>
                  <a:gd name="connsiteY84" fmla="*/ 1107152 h 1516168"/>
                  <a:gd name="connsiteX85" fmla="*/ 99954 w 341313"/>
                  <a:gd name="connsiteY85" fmla="*/ 1126554 h 1516168"/>
                  <a:gd name="connsiteX86" fmla="*/ 88900 w 341313"/>
                  <a:gd name="connsiteY86" fmla="*/ 1119348 h 1516168"/>
                  <a:gd name="connsiteX87" fmla="*/ 88900 w 341313"/>
                  <a:gd name="connsiteY87" fmla="*/ 990735 h 1516168"/>
                  <a:gd name="connsiteX88" fmla="*/ 99954 w 341313"/>
                  <a:gd name="connsiteY88" fmla="*/ 975767 h 1516168"/>
                  <a:gd name="connsiteX89" fmla="*/ 152459 w 341313"/>
                  <a:gd name="connsiteY89" fmla="*/ 956364 h 1516168"/>
                  <a:gd name="connsiteX90" fmla="*/ 240892 w 341313"/>
                  <a:gd name="connsiteY90" fmla="*/ 923047 h 1516168"/>
                  <a:gd name="connsiteX91" fmla="*/ 252413 w 341313"/>
                  <a:gd name="connsiteY91" fmla="*/ 930319 h 1516168"/>
                  <a:gd name="connsiteX92" fmla="*/ 252413 w 341313"/>
                  <a:gd name="connsiteY92" fmla="*/ 1059542 h 1516168"/>
                  <a:gd name="connsiteX93" fmla="*/ 240892 w 341313"/>
                  <a:gd name="connsiteY93" fmla="*/ 1075205 h 1516168"/>
                  <a:gd name="connsiteX94" fmla="*/ 188772 w 341313"/>
                  <a:gd name="connsiteY94" fmla="*/ 1094784 h 1516168"/>
                  <a:gd name="connsiteX95" fmla="*/ 177800 w 341313"/>
                  <a:gd name="connsiteY95" fmla="*/ 1087512 h 1516168"/>
                  <a:gd name="connsiteX96" fmla="*/ 177800 w 341313"/>
                  <a:gd name="connsiteY96" fmla="*/ 957730 h 1516168"/>
                  <a:gd name="connsiteX97" fmla="*/ 188772 w 341313"/>
                  <a:gd name="connsiteY97" fmla="*/ 942626 h 1516168"/>
                  <a:gd name="connsiteX98" fmla="*/ 240892 w 341313"/>
                  <a:gd name="connsiteY98" fmla="*/ 923047 h 1516168"/>
                  <a:gd name="connsiteX99" fmla="*/ 330259 w 341313"/>
                  <a:gd name="connsiteY99" fmla="*/ 891276 h 1516168"/>
                  <a:gd name="connsiteX100" fmla="*/ 341313 w 341313"/>
                  <a:gd name="connsiteY100" fmla="*/ 898483 h 1516168"/>
                  <a:gd name="connsiteX101" fmla="*/ 341313 w 341313"/>
                  <a:gd name="connsiteY101" fmla="*/ 1026541 h 1516168"/>
                  <a:gd name="connsiteX102" fmla="*/ 330259 w 341313"/>
                  <a:gd name="connsiteY102" fmla="*/ 1042064 h 1516168"/>
                  <a:gd name="connsiteX103" fmla="*/ 277754 w 341313"/>
                  <a:gd name="connsiteY103" fmla="*/ 1061466 h 1516168"/>
                  <a:gd name="connsiteX104" fmla="*/ 266700 w 341313"/>
                  <a:gd name="connsiteY104" fmla="*/ 1054260 h 1516168"/>
                  <a:gd name="connsiteX105" fmla="*/ 266700 w 341313"/>
                  <a:gd name="connsiteY105" fmla="*/ 925647 h 1516168"/>
                  <a:gd name="connsiteX106" fmla="*/ 277754 w 341313"/>
                  <a:gd name="connsiteY106" fmla="*/ 910679 h 1516168"/>
                  <a:gd name="connsiteX107" fmla="*/ 330259 w 341313"/>
                  <a:gd name="connsiteY107" fmla="*/ 891276 h 1516168"/>
                  <a:gd name="connsiteX108" fmla="*/ 63092 w 341313"/>
                  <a:gd name="connsiteY108" fmla="*/ 810314 h 1516168"/>
                  <a:gd name="connsiteX109" fmla="*/ 74613 w 341313"/>
                  <a:gd name="connsiteY109" fmla="*/ 817521 h 1516168"/>
                  <a:gd name="connsiteX110" fmla="*/ 74613 w 341313"/>
                  <a:gd name="connsiteY110" fmla="*/ 945579 h 1516168"/>
                  <a:gd name="connsiteX111" fmla="*/ 63092 w 341313"/>
                  <a:gd name="connsiteY111" fmla="*/ 961102 h 1516168"/>
                  <a:gd name="connsiteX112" fmla="*/ 10972 w 341313"/>
                  <a:gd name="connsiteY112" fmla="*/ 980504 h 1516168"/>
                  <a:gd name="connsiteX113" fmla="*/ 0 w 341313"/>
                  <a:gd name="connsiteY113" fmla="*/ 973298 h 1516168"/>
                  <a:gd name="connsiteX114" fmla="*/ 0 w 341313"/>
                  <a:gd name="connsiteY114" fmla="*/ 844685 h 1516168"/>
                  <a:gd name="connsiteX115" fmla="*/ 10972 w 341313"/>
                  <a:gd name="connsiteY115" fmla="*/ 829717 h 1516168"/>
                  <a:gd name="connsiteX116" fmla="*/ 63092 w 341313"/>
                  <a:gd name="connsiteY116" fmla="*/ 810314 h 1516168"/>
                  <a:gd name="connsiteX117" fmla="*/ 152459 w 341313"/>
                  <a:gd name="connsiteY117" fmla="*/ 776997 h 1516168"/>
                  <a:gd name="connsiteX118" fmla="*/ 163513 w 341313"/>
                  <a:gd name="connsiteY118" fmla="*/ 784269 h 1516168"/>
                  <a:gd name="connsiteX119" fmla="*/ 163513 w 341313"/>
                  <a:gd name="connsiteY119" fmla="*/ 913492 h 1516168"/>
                  <a:gd name="connsiteX120" fmla="*/ 152459 w 341313"/>
                  <a:gd name="connsiteY120" fmla="*/ 929155 h 1516168"/>
                  <a:gd name="connsiteX121" fmla="*/ 99954 w 341313"/>
                  <a:gd name="connsiteY121" fmla="*/ 948175 h 1516168"/>
                  <a:gd name="connsiteX122" fmla="*/ 88900 w 341313"/>
                  <a:gd name="connsiteY122" fmla="*/ 941462 h 1516168"/>
                  <a:gd name="connsiteX123" fmla="*/ 88900 w 341313"/>
                  <a:gd name="connsiteY123" fmla="*/ 811680 h 1516168"/>
                  <a:gd name="connsiteX124" fmla="*/ 99954 w 341313"/>
                  <a:gd name="connsiteY124" fmla="*/ 796576 h 1516168"/>
                  <a:gd name="connsiteX125" fmla="*/ 152459 w 341313"/>
                  <a:gd name="connsiteY125" fmla="*/ 776997 h 1516168"/>
                  <a:gd name="connsiteX126" fmla="*/ 240892 w 341313"/>
                  <a:gd name="connsiteY126" fmla="*/ 745247 h 1516168"/>
                  <a:gd name="connsiteX127" fmla="*/ 252413 w 341313"/>
                  <a:gd name="connsiteY127" fmla="*/ 752519 h 1516168"/>
                  <a:gd name="connsiteX128" fmla="*/ 252413 w 341313"/>
                  <a:gd name="connsiteY128" fmla="*/ 881742 h 1516168"/>
                  <a:gd name="connsiteX129" fmla="*/ 240892 w 341313"/>
                  <a:gd name="connsiteY129" fmla="*/ 897405 h 1516168"/>
                  <a:gd name="connsiteX130" fmla="*/ 188772 w 341313"/>
                  <a:gd name="connsiteY130" fmla="*/ 916425 h 1516168"/>
                  <a:gd name="connsiteX131" fmla="*/ 177800 w 341313"/>
                  <a:gd name="connsiteY131" fmla="*/ 909712 h 1516168"/>
                  <a:gd name="connsiteX132" fmla="*/ 177800 w 341313"/>
                  <a:gd name="connsiteY132" fmla="*/ 779930 h 1516168"/>
                  <a:gd name="connsiteX133" fmla="*/ 188772 w 341313"/>
                  <a:gd name="connsiteY133" fmla="*/ 764826 h 1516168"/>
                  <a:gd name="connsiteX134" fmla="*/ 240892 w 341313"/>
                  <a:gd name="connsiteY134" fmla="*/ 745247 h 1516168"/>
                  <a:gd name="connsiteX135" fmla="*/ 330259 w 341313"/>
                  <a:gd name="connsiteY135" fmla="*/ 713483 h 1516168"/>
                  <a:gd name="connsiteX136" fmla="*/ 341313 w 341313"/>
                  <a:gd name="connsiteY136" fmla="*/ 720713 h 1516168"/>
                  <a:gd name="connsiteX137" fmla="*/ 341313 w 341313"/>
                  <a:gd name="connsiteY137" fmla="*/ 849179 h 1516168"/>
                  <a:gd name="connsiteX138" fmla="*/ 330259 w 341313"/>
                  <a:gd name="connsiteY138" fmla="*/ 864751 h 1516168"/>
                  <a:gd name="connsiteX139" fmla="*/ 277754 w 341313"/>
                  <a:gd name="connsiteY139" fmla="*/ 883659 h 1516168"/>
                  <a:gd name="connsiteX140" fmla="*/ 266700 w 341313"/>
                  <a:gd name="connsiteY140" fmla="*/ 876430 h 1516168"/>
                  <a:gd name="connsiteX141" fmla="*/ 266700 w 341313"/>
                  <a:gd name="connsiteY141" fmla="*/ 747963 h 1516168"/>
                  <a:gd name="connsiteX142" fmla="*/ 277754 w 341313"/>
                  <a:gd name="connsiteY142" fmla="*/ 732948 h 1516168"/>
                  <a:gd name="connsiteX143" fmla="*/ 330259 w 341313"/>
                  <a:gd name="connsiteY143" fmla="*/ 713483 h 1516168"/>
                  <a:gd name="connsiteX144" fmla="*/ 63092 w 341313"/>
                  <a:gd name="connsiteY144" fmla="*/ 632521 h 1516168"/>
                  <a:gd name="connsiteX145" fmla="*/ 74613 w 341313"/>
                  <a:gd name="connsiteY145" fmla="*/ 639751 h 1516168"/>
                  <a:gd name="connsiteX146" fmla="*/ 74613 w 341313"/>
                  <a:gd name="connsiteY146" fmla="*/ 768217 h 1516168"/>
                  <a:gd name="connsiteX147" fmla="*/ 63092 w 341313"/>
                  <a:gd name="connsiteY147" fmla="*/ 783789 h 1516168"/>
                  <a:gd name="connsiteX148" fmla="*/ 10972 w 341313"/>
                  <a:gd name="connsiteY148" fmla="*/ 802697 h 1516168"/>
                  <a:gd name="connsiteX149" fmla="*/ 0 w 341313"/>
                  <a:gd name="connsiteY149" fmla="*/ 795468 h 1516168"/>
                  <a:gd name="connsiteX150" fmla="*/ 0 w 341313"/>
                  <a:gd name="connsiteY150" fmla="*/ 667001 h 1516168"/>
                  <a:gd name="connsiteX151" fmla="*/ 10972 w 341313"/>
                  <a:gd name="connsiteY151" fmla="*/ 651986 h 1516168"/>
                  <a:gd name="connsiteX152" fmla="*/ 63092 w 341313"/>
                  <a:gd name="connsiteY152" fmla="*/ 632521 h 1516168"/>
                  <a:gd name="connsiteX153" fmla="*/ 152459 w 341313"/>
                  <a:gd name="connsiteY153" fmla="*/ 599183 h 1516168"/>
                  <a:gd name="connsiteX154" fmla="*/ 163513 w 341313"/>
                  <a:gd name="connsiteY154" fmla="*/ 606413 h 1516168"/>
                  <a:gd name="connsiteX155" fmla="*/ 163513 w 341313"/>
                  <a:gd name="connsiteY155" fmla="*/ 734879 h 1516168"/>
                  <a:gd name="connsiteX156" fmla="*/ 152459 w 341313"/>
                  <a:gd name="connsiteY156" fmla="*/ 750451 h 1516168"/>
                  <a:gd name="connsiteX157" fmla="*/ 99954 w 341313"/>
                  <a:gd name="connsiteY157" fmla="*/ 769359 h 1516168"/>
                  <a:gd name="connsiteX158" fmla="*/ 88900 w 341313"/>
                  <a:gd name="connsiteY158" fmla="*/ 762130 h 1516168"/>
                  <a:gd name="connsiteX159" fmla="*/ 88900 w 341313"/>
                  <a:gd name="connsiteY159" fmla="*/ 633663 h 1516168"/>
                  <a:gd name="connsiteX160" fmla="*/ 99954 w 341313"/>
                  <a:gd name="connsiteY160" fmla="*/ 618648 h 1516168"/>
                  <a:gd name="connsiteX161" fmla="*/ 152459 w 341313"/>
                  <a:gd name="connsiteY161" fmla="*/ 599183 h 1516168"/>
                  <a:gd name="connsiteX162" fmla="*/ 240892 w 341313"/>
                  <a:gd name="connsiteY162" fmla="*/ 567433 h 1516168"/>
                  <a:gd name="connsiteX163" fmla="*/ 252413 w 341313"/>
                  <a:gd name="connsiteY163" fmla="*/ 574663 h 1516168"/>
                  <a:gd name="connsiteX164" fmla="*/ 252413 w 341313"/>
                  <a:gd name="connsiteY164" fmla="*/ 703129 h 1516168"/>
                  <a:gd name="connsiteX165" fmla="*/ 240892 w 341313"/>
                  <a:gd name="connsiteY165" fmla="*/ 718701 h 1516168"/>
                  <a:gd name="connsiteX166" fmla="*/ 188772 w 341313"/>
                  <a:gd name="connsiteY166" fmla="*/ 737609 h 1516168"/>
                  <a:gd name="connsiteX167" fmla="*/ 177800 w 341313"/>
                  <a:gd name="connsiteY167" fmla="*/ 730380 h 1516168"/>
                  <a:gd name="connsiteX168" fmla="*/ 177800 w 341313"/>
                  <a:gd name="connsiteY168" fmla="*/ 601913 h 1516168"/>
                  <a:gd name="connsiteX169" fmla="*/ 188772 w 341313"/>
                  <a:gd name="connsiteY169" fmla="*/ 586342 h 1516168"/>
                  <a:gd name="connsiteX170" fmla="*/ 240892 w 341313"/>
                  <a:gd name="connsiteY170" fmla="*/ 567433 h 1516168"/>
                  <a:gd name="connsiteX171" fmla="*/ 330259 w 341313"/>
                  <a:gd name="connsiteY171" fmla="*/ 535683 h 1516168"/>
                  <a:gd name="connsiteX172" fmla="*/ 341313 w 341313"/>
                  <a:gd name="connsiteY172" fmla="*/ 542913 h 1516168"/>
                  <a:gd name="connsiteX173" fmla="*/ 341313 w 341313"/>
                  <a:gd name="connsiteY173" fmla="*/ 671379 h 1516168"/>
                  <a:gd name="connsiteX174" fmla="*/ 330259 w 341313"/>
                  <a:gd name="connsiteY174" fmla="*/ 686951 h 1516168"/>
                  <a:gd name="connsiteX175" fmla="*/ 277754 w 341313"/>
                  <a:gd name="connsiteY175" fmla="*/ 705859 h 1516168"/>
                  <a:gd name="connsiteX176" fmla="*/ 266700 w 341313"/>
                  <a:gd name="connsiteY176" fmla="*/ 698630 h 1516168"/>
                  <a:gd name="connsiteX177" fmla="*/ 266700 w 341313"/>
                  <a:gd name="connsiteY177" fmla="*/ 570163 h 1516168"/>
                  <a:gd name="connsiteX178" fmla="*/ 277754 w 341313"/>
                  <a:gd name="connsiteY178" fmla="*/ 554592 h 1516168"/>
                  <a:gd name="connsiteX179" fmla="*/ 330259 w 341313"/>
                  <a:gd name="connsiteY179" fmla="*/ 535683 h 1516168"/>
                  <a:gd name="connsiteX180" fmla="*/ 63092 w 341313"/>
                  <a:gd name="connsiteY180" fmla="*/ 453154 h 1516168"/>
                  <a:gd name="connsiteX181" fmla="*/ 74613 w 341313"/>
                  <a:gd name="connsiteY181" fmla="*/ 460449 h 1516168"/>
                  <a:gd name="connsiteX182" fmla="*/ 74613 w 341313"/>
                  <a:gd name="connsiteY182" fmla="*/ 590083 h 1516168"/>
                  <a:gd name="connsiteX183" fmla="*/ 63092 w 341313"/>
                  <a:gd name="connsiteY183" fmla="*/ 605797 h 1516168"/>
                  <a:gd name="connsiteX184" fmla="*/ 10972 w 341313"/>
                  <a:gd name="connsiteY184" fmla="*/ 624877 h 1516168"/>
                  <a:gd name="connsiteX185" fmla="*/ 0 w 341313"/>
                  <a:gd name="connsiteY185" fmla="*/ 617582 h 1516168"/>
                  <a:gd name="connsiteX186" fmla="*/ 0 w 341313"/>
                  <a:gd name="connsiteY186" fmla="*/ 487947 h 1516168"/>
                  <a:gd name="connsiteX187" fmla="*/ 10972 w 341313"/>
                  <a:gd name="connsiteY187" fmla="*/ 472234 h 1516168"/>
                  <a:gd name="connsiteX188" fmla="*/ 63092 w 341313"/>
                  <a:gd name="connsiteY188" fmla="*/ 453154 h 1516168"/>
                  <a:gd name="connsiteX189" fmla="*/ 152459 w 341313"/>
                  <a:gd name="connsiteY189" fmla="*/ 421383 h 1516168"/>
                  <a:gd name="connsiteX190" fmla="*/ 163513 w 341313"/>
                  <a:gd name="connsiteY190" fmla="*/ 428613 h 1516168"/>
                  <a:gd name="connsiteX191" fmla="*/ 163513 w 341313"/>
                  <a:gd name="connsiteY191" fmla="*/ 557079 h 1516168"/>
                  <a:gd name="connsiteX192" fmla="*/ 152459 w 341313"/>
                  <a:gd name="connsiteY192" fmla="*/ 572651 h 1516168"/>
                  <a:gd name="connsiteX193" fmla="*/ 99954 w 341313"/>
                  <a:gd name="connsiteY193" fmla="*/ 591559 h 1516168"/>
                  <a:gd name="connsiteX194" fmla="*/ 88900 w 341313"/>
                  <a:gd name="connsiteY194" fmla="*/ 584330 h 1516168"/>
                  <a:gd name="connsiteX195" fmla="*/ 88900 w 341313"/>
                  <a:gd name="connsiteY195" fmla="*/ 455863 h 1516168"/>
                  <a:gd name="connsiteX196" fmla="*/ 99954 w 341313"/>
                  <a:gd name="connsiteY196" fmla="*/ 440292 h 1516168"/>
                  <a:gd name="connsiteX197" fmla="*/ 152459 w 341313"/>
                  <a:gd name="connsiteY197" fmla="*/ 421383 h 1516168"/>
                  <a:gd name="connsiteX198" fmla="*/ 240892 w 341313"/>
                  <a:gd name="connsiteY198" fmla="*/ 389633 h 1516168"/>
                  <a:gd name="connsiteX199" fmla="*/ 252413 w 341313"/>
                  <a:gd name="connsiteY199" fmla="*/ 396863 h 1516168"/>
                  <a:gd name="connsiteX200" fmla="*/ 252413 w 341313"/>
                  <a:gd name="connsiteY200" fmla="*/ 525329 h 1516168"/>
                  <a:gd name="connsiteX201" fmla="*/ 240892 w 341313"/>
                  <a:gd name="connsiteY201" fmla="*/ 540901 h 1516168"/>
                  <a:gd name="connsiteX202" fmla="*/ 188772 w 341313"/>
                  <a:gd name="connsiteY202" fmla="*/ 559809 h 1516168"/>
                  <a:gd name="connsiteX203" fmla="*/ 177800 w 341313"/>
                  <a:gd name="connsiteY203" fmla="*/ 552580 h 1516168"/>
                  <a:gd name="connsiteX204" fmla="*/ 177800 w 341313"/>
                  <a:gd name="connsiteY204" fmla="*/ 424113 h 1516168"/>
                  <a:gd name="connsiteX205" fmla="*/ 188772 w 341313"/>
                  <a:gd name="connsiteY205" fmla="*/ 408542 h 1516168"/>
                  <a:gd name="connsiteX206" fmla="*/ 240892 w 341313"/>
                  <a:gd name="connsiteY206" fmla="*/ 389633 h 1516168"/>
                  <a:gd name="connsiteX207" fmla="*/ 330259 w 341313"/>
                  <a:gd name="connsiteY207" fmla="*/ 356317 h 1516168"/>
                  <a:gd name="connsiteX208" fmla="*/ 341313 w 341313"/>
                  <a:gd name="connsiteY208" fmla="*/ 363612 h 1516168"/>
                  <a:gd name="connsiteX209" fmla="*/ 341313 w 341313"/>
                  <a:gd name="connsiteY209" fmla="*/ 493246 h 1516168"/>
                  <a:gd name="connsiteX210" fmla="*/ 330259 w 341313"/>
                  <a:gd name="connsiteY210" fmla="*/ 508960 h 1516168"/>
                  <a:gd name="connsiteX211" fmla="*/ 277754 w 341313"/>
                  <a:gd name="connsiteY211" fmla="*/ 528040 h 1516168"/>
                  <a:gd name="connsiteX212" fmla="*/ 266700 w 341313"/>
                  <a:gd name="connsiteY212" fmla="*/ 520745 h 1516168"/>
                  <a:gd name="connsiteX213" fmla="*/ 266700 w 341313"/>
                  <a:gd name="connsiteY213" fmla="*/ 391110 h 1516168"/>
                  <a:gd name="connsiteX214" fmla="*/ 277754 w 341313"/>
                  <a:gd name="connsiteY214" fmla="*/ 375397 h 1516168"/>
                  <a:gd name="connsiteX215" fmla="*/ 330259 w 341313"/>
                  <a:gd name="connsiteY215" fmla="*/ 356317 h 1516168"/>
                  <a:gd name="connsiteX216" fmla="*/ 63092 w 341313"/>
                  <a:gd name="connsiteY216" fmla="*/ 275333 h 1516168"/>
                  <a:gd name="connsiteX217" fmla="*/ 74613 w 341313"/>
                  <a:gd name="connsiteY217" fmla="*/ 282563 h 1516168"/>
                  <a:gd name="connsiteX218" fmla="*/ 74613 w 341313"/>
                  <a:gd name="connsiteY218" fmla="*/ 411029 h 1516168"/>
                  <a:gd name="connsiteX219" fmla="*/ 63092 w 341313"/>
                  <a:gd name="connsiteY219" fmla="*/ 426601 h 1516168"/>
                  <a:gd name="connsiteX220" fmla="*/ 10972 w 341313"/>
                  <a:gd name="connsiteY220" fmla="*/ 445509 h 1516168"/>
                  <a:gd name="connsiteX221" fmla="*/ 0 w 341313"/>
                  <a:gd name="connsiteY221" fmla="*/ 438280 h 1516168"/>
                  <a:gd name="connsiteX222" fmla="*/ 0 w 341313"/>
                  <a:gd name="connsiteY222" fmla="*/ 309813 h 1516168"/>
                  <a:gd name="connsiteX223" fmla="*/ 10972 w 341313"/>
                  <a:gd name="connsiteY223" fmla="*/ 294242 h 1516168"/>
                  <a:gd name="connsiteX224" fmla="*/ 63092 w 341313"/>
                  <a:gd name="connsiteY224" fmla="*/ 275333 h 1516168"/>
                  <a:gd name="connsiteX225" fmla="*/ 152459 w 341313"/>
                  <a:gd name="connsiteY225" fmla="*/ 243583 h 1516168"/>
                  <a:gd name="connsiteX226" fmla="*/ 163513 w 341313"/>
                  <a:gd name="connsiteY226" fmla="*/ 250813 h 1516168"/>
                  <a:gd name="connsiteX227" fmla="*/ 163513 w 341313"/>
                  <a:gd name="connsiteY227" fmla="*/ 379279 h 1516168"/>
                  <a:gd name="connsiteX228" fmla="*/ 152459 w 341313"/>
                  <a:gd name="connsiteY228" fmla="*/ 394295 h 1516168"/>
                  <a:gd name="connsiteX229" fmla="*/ 99954 w 341313"/>
                  <a:gd name="connsiteY229" fmla="*/ 413759 h 1516168"/>
                  <a:gd name="connsiteX230" fmla="*/ 88900 w 341313"/>
                  <a:gd name="connsiteY230" fmla="*/ 406530 h 1516168"/>
                  <a:gd name="connsiteX231" fmla="*/ 88900 w 341313"/>
                  <a:gd name="connsiteY231" fmla="*/ 278063 h 1516168"/>
                  <a:gd name="connsiteX232" fmla="*/ 99954 w 341313"/>
                  <a:gd name="connsiteY232" fmla="*/ 262492 h 1516168"/>
                  <a:gd name="connsiteX233" fmla="*/ 152459 w 341313"/>
                  <a:gd name="connsiteY233" fmla="*/ 243583 h 1516168"/>
                  <a:gd name="connsiteX234" fmla="*/ 240892 w 341313"/>
                  <a:gd name="connsiteY234" fmla="*/ 211833 h 1516168"/>
                  <a:gd name="connsiteX235" fmla="*/ 252413 w 341313"/>
                  <a:gd name="connsiteY235" fmla="*/ 219063 h 1516168"/>
                  <a:gd name="connsiteX236" fmla="*/ 252413 w 341313"/>
                  <a:gd name="connsiteY236" fmla="*/ 347529 h 1516168"/>
                  <a:gd name="connsiteX237" fmla="*/ 240892 w 341313"/>
                  <a:gd name="connsiteY237" fmla="*/ 362545 h 1516168"/>
                  <a:gd name="connsiteX238" fmla="*/ 188772 w 341313"/>
                  <a:gd name="connsiteY238" fmla="*/ 382009 h 1516168"/>
                  <a:gd name="connsiteX239" fmla="*/ 177800 w 341313"/>
                  <a:gd name="connsiteY239" fmla="*/ 374780 h 1516168"/>
                  <a:gd name="connsiteX240" fmla="*/ 177800 w 341313"/>
                  <a:gd name="connsiteY240" fmla="*/ 246313 h 1516168"/>
                  <a:gd name="connsiteX241" fmla="*/ 188772 w 341313"/>
                  <a:gd name="connsiteY241" fmla="*/ 230742 h 1516168"/>
                  <a:gd name="connsiteX242" fmla="*/ 240892 w 341313"/>
                  <a:gd name="connsiteY242" fmla="*/ 211833 h 1516168"/>
                  <a:gd name="connsiteX243" fmla="*/ 330259 w 341313"/>
                  <a:gd name="connsiteY243" fmla="*/ 179044 h 1516168"/>
                  <a:gd name="connsiteX244" fmla="*/ 341313 w 341313"/>
                  <a:gd name="connsiteY244" fmla="*/ 185696 h 1516168"/>
                  <a:gd name="connsiteX245" fmla="*/ 341313 w 341313"/>
                  <a:gd name="connsiteY245" fmla="*/ 314309 h 1516168"/>
                  <a:gd name="connsiteX246" fmla="*/ 330259 w 341313"/>
                  <a:gd name="connsiteY246" fmla="*/ 329277 h 1516168"/>
                  <a:gd name="connsiteX247" fmla="*/ 277754 w 341313"/>
                  <a:gd name="connsiteY247" fmla="*/ 348679 h 1516168"/>
                  <a:gd name="connsiteX248" fmla="*/ 266700 w 341313"/>
                  <a:gd name="connsiteY248" fmla="*/ 341473 h 1516168"/>
                  <a:gd name="connsiteX249" fmla="*/ 266700 w 341313"/>
                  <a:gd name="connsiteY249" fmla="*/ 213414 h 1516168"/>
                  <a:gd name="connsiteX250" fmla="*/ 277754 w 341313"/>
                  <a:gd name="connsiteY250" fmla="*/ 197892 h 1516168"/>
                  <a:gd name="connsiteX251" fmla="*/ 330259 w 341313"/>
                  <a:gd name="connsiteY251" fmla="*/ 179044 h 1516168"/>
                  <a:gd name="connsiteX252" fmla="*/ 63092 w 341313"/>
                  <a:gd name="connsiteY252" fmla="*/ 98081 h 1516168"/>
                  <a:gd name="connsiteX253" fmla="*/ 74613 w 341313"/>
                  <a:gd name="connsiteY253" fmla="*/ 104733 h 1516168"/>
                  <a:gd name="connsiteX254" fmla="*/ 74613 w 341313"/>
                  <a:gd name="connsiteY254" fmla="*/ 233346 h 1516168"/>
                  <a:gd name="connsiteX255" fmla="*/ 63092 w 341313"/>
                  <a:gd name="connsiteY255" fmla="*/ 248314 h 1516168"/>
                  <a:gd name="connsiteX256" fmla="*/ 10972 w 341313"/>
                  <a:gd name="connsiteY256" fmla="*/ 267716 h 1516168"/>
                  <a:gd name="connsiteX257" fmla="*/ 0 w 341313"/>
                  <a:gd name="connsiteY257" fmla="*/ 260510 h 1516168"/>
                  <a:gd name="connsiteX258" fmla="*/ 0 w 341313"/>
                  <a:gd name="connsiteY258" fmla="*/ 132451 h 1516168"/>
                  <a:gd name="connsiteX259" fmla="*/ 10972 w 341313"/>
                  <a:gd name="connsiteY259" fmla="*/ 116929 h 1516168"/>
                  <a:gd name="connsiteX260" fmla="*/ 63092 w 341313"/>
                  <a:gd name="connsiteY260" fmla="*/ 98081 h 1516168"/>
                  <a:gd name="connsiteX261" fmla="*/ 152459 w 341313"/>
                  <a:gd name="connsiteY261" fmla="*/ 66331 h 1516168"/>
                  <a:gd name="connsiteX262" fmla="*/ 163513 w 341313"/>
                  <a:gd name="connsiteY262" fmla="*/ 72983 h 1516168"/>
                  <a:gd name="connsiteX263" fmla="*/ 163513 w 341313"/>
                  <a:gd name="connsiteY263" fmla="*/ 201596 h 1516168"/>
                  <a:gd name="connsiteX264" fmla="*/ 152459 w 341313"/>
                  <a:gd name="connsiteY264" fmla="*/ 216564 h 1516168"/>
                  <a:gd name="connsiteX265" fmla="*/ 99954 w 341313"/>
                  <a:gd name="connsiteY265" fmla="*/ 235966 h 1516168"/>
                  <a:gd name="connsiteX266" fmla="*/ 88900 w 341313"/>
                  <a:gd name="connsiteY266" fmla="*/ 228760 h 1516168"/>
                  <a:gd name="connsiteX267" fmla="*/ 88900 w 341313"/>
                  <a:gd name="connsiteY267" fmla="*/ 100701 h 1516168"/>
                  <a:gd name="connsiteX268" fmla="*/ 99954 w 341313"/>
                  <a:gd name="connsiteY268" fmla="*/ 85179 h 1516168"/>
                  <a:gd name="connsiteX269" fmla="*/ 152459 w 341313"/>
                  <a:gd name="connsiteY269" fmla="*/ 66331 h 1516168"/>
                  <a:gd name="connsiteX270" fmla="*/ 240892 w 341313"/>
                  <a:gd name="connsiteY270" fmla="*/ 32460 h 1516168"/>
                  <a:gd name="connsiteX271" fmla="*/ 252413 w 341313"/>
                  <a:gd name="connsiteY271" fmla="*/ 39732 h 1516168"/>
                  <a:gd name="connsiteX272" fmla="*/ 252413 w 341313"/>
                  <a:gd name="connsiteY272" fmla="*/ 169514 h 1516168"/>
                  <a:gd name="connsiteX273" fmla="*/ 240892 w 341313"/>
                  <a:gd name="connsiteY273" fmla="*/ 184618 h 1516168"/>
                  <a:gd name="connsiteX274" fmla="*/ 188772 w 341313"/>
                  <a:gd name="connsiteY274" fmla="*/ 204197 h 1516168"/>
                  <a:gd name="connsiteX275" fmla="*/ 177800 w 341313"/>
                  <a:gd name="connsiteY275" fmla="*/ 196925 h 1516168"/>
                  <a:gd name="connsiteX276" fmla="*/ 177800 w 341313"/>
                  <a:gd name="connsiteY276" fmla="*/ 67702 h 1516168"/>
                  <a:gd name="connsiteX277" fmla="*/ 188772 w 341313"/>
                  <a:gd name="connsiteY277" fmla="*/ 52039 h 1516168"/>
                  <a:gd name="connsiteX278" fmla="*/ 240892 w 341313"/>
                  <a:gd name="connsiteY278" fmla="*/ 32460 h 1516168"/>
                  <a:gd name="connsiteX279" fmla="*/ 330259 w 341313"/>
                  <a:gd name="connsiteY279" fmla="*/ 689 h 1516168"/>
                  <a:gd name="connsiteX280" fmla="*/ 341313 w 341313"/>
                  <a:gd name="connsiteY280" fmla="*/ 7896 h 1516168"/>
                  <a:gd name="connsiteX281" fmla="*/ 341313 w 341313"/>
                  <a:gd name="connsiteY281" fmla="*/ 136509 h 1516168"/>
                  <a:gd name="connsiteX282" fmla="*/ 330259 w 341313"/>
                  <a:gd name="connsiteY282" fmla="*/ 151477 h 1516168"/>
                  <a:gd name="connsiteX283" fmla="*/ 277754 w 341313"/>
                  <a:gd name="connsiteY283" fmla="*/ 170879 h 1516168"/>
                  <a:gd name="connsiteX284" fmla="*/ 266700 w 341313"/>
                  <a:gd name="connsiteY284" fmla="*/ 163673 h 1516168"/>
                  <a:gd name="connsiteX285" fmla="*/ 266700 w 341313"/>
                  <a:gd name="connsiteY285" fmla="*/ 35614 h 1516168"/>
                  <a:gd name="connsiteX286" fmla="*/ 277754 w 341313"/>
                  <a:gd name="connsiteY286" fmla="*/ 20092 h 1516168"/>
                  <a:gd name="connsiteX287" fmla="*/ 330259 w 341313"/>
                  <a:gd name="connsiteY287" fmla="*/ 689 h 1516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341313" h="1516168">
                    <a:moveTo>
                      <a:pt x="63092" y="1344294"/>
                    </a:moveTo>
                    <a:cubicBezTo>
                      <a:pt x="69675" y="1341497"/>
                      <a:pt x="74613" y="1344854"/>
                      <a:pt x="74613" y="1351007"/>
                    </a:cubicBezTo>
                    <a:cubicBezTo>
                      <a:pt x="74613" y="1480789"/>
                      <a:pt x="74613" y="1480789"/>
                      <a:pt x="74613" y="1480789"/>
                    </a:cubicBezTo>
                    <a:cubicBezTo>
                      <a:pt x="74613" y="1486943"/>
                      <a:pt x="69675" y="1493656"/>
                      <a:pt x="63092" y="1495893"/>
                    </a:cubicBezTo>
                    <a:cubicBezTo>
                      <a:pt x="10972" y="1515473"/>
                      <a:pt x="10972" y="1515473"/>
                      <a:pt x="10972" y="1515473"/>
                    </a:cubicBezTo>
                    <a:cubicBezTo>
                      <a:pt x="4937" y="1517710"/>
                      <a:pt x="0" y="1514354"/>
                      <a:pt x="0" y="1508200"/>
                    </a:cubicBezTo>
                    <a:cubicBezTo>
                      <a:pt x="0" y="1378977"/>
                      <a:pt x="0" y="1378977"/>
                      <a:pt x="0" y="1378977"/>
                    </a:cubicBezTo>
                    <a:cubicBezTo>
                      <a:pt x="0" y="1372824"/>
                      <a:pt x="4937" y="1365552"/>
                      <a:pt x="10972" y="1363314"/>
                    </a:cubicBezTo>
                    <a:cubicBezTo>
                      <a:pt x="63092" y="1344294"/>
                      <a:pt x="63092" y="1344294"/>
                      <a:pt x="63092" y="1344294"/>
                    </a:cubicBezTo>
                    <a:close/>
                    <a:moveTo>
                      <a:pt x="152459" y="1311965"/>
                    </a:moveTo>
                    <a:cubicBezTo>
                      <a:pt x="158539" y="1309747"/>
                      <a:pt x="163513" y="1313073"/>
                      <a:pt x="163513" y="1319171"/>
                    </a:cubicBezTo>
                    <a:cubicBezTo>
                      <a:pt x="163513" y="1447784"/>
                      <a:pt x="163513" y="1447784"/>
                      <a:pt x="163513" y="1447784"/>
                    </a:cubicBezTo>
                    <a:cubicBezTo>
                      <a:pt x="163513" y="1453882"/>
                      <a:pt x="158539" y="1460534"/>
                      <a:pt x="152459" y="1462752"/>
                    </a:cubicBezTo>
                    <a:cubicBezTo>
                      <a:pt x="99954" y="1482155"/>
                      <a:pt x="99954" y="1482155"/>
                      <a:pt x="99954" y="1482155"/>
                    </a:cubicBezTo>
                    <a:cubicBezTo>
                      <a:pt x="93874" y="1484372"/>
                      <a:pt x="88900" y="1481046"/>
                      <a:pt x="88900" y="1474948"/>
                    </a:cubicBezTo>
                    <a:cubicBezTo>
                      <a:pt x="88900" y="1346890"/>
                      <a:pt x="88900" y="1346890"/>
                      <a:pt x="88900" y="1346890"/>
                    </a:cubicBezTo>
                    <a:cubicBezTo>
                      <a:pt x="88900" y="1340792"/>
                      <a:pt x="93874" y="1333585"/>
                      <a:pt x="99954" y="1331367"/>
                    </a:cubicBezTo>
                    <a:cubicBezTo>
                      <a:pt x="152459" y="1311965"/>
                      <a:pt x="152459" y="1311965"/>
                      <a:pt x="152459" y="1311965"/>
                    </a:cubicBezTo>
                    <a:close/>
                    <a:moveTo>
                      <a:pt x="240892" y="1280215"/>
                    </a:moveTo>
                    <a:cubicBezTo>
                      <a:pt x="247475" y="1277997"/>
                      <a:pt x="252413" y="1281323"/>
                      <a:pt x="252413" y="1287421"/>
                    </a:cubicBezTo>
                    <a:cubicBezTo>
                      <a:pt x="252413" y="1416034"/>
                      <a:pt x="252413" y="1416034"/>
                      <a:pt x="252413" y="1416034"/>
                    </a:cubicBezTo>
                    <a:cubicBezTo>
                      <a:pt x="252413" y="1422132"/>
                      <a:pt x="247475" y="1428784"/>
                      <a:pt x="240892" y="1431002"/>
                    </a:cubicBezTo>
                    <a:cubicBezTo>
                      <a:pt x="188772" y="1450405"/>
                      <a:pt x="188772" y="1450405"/>
                      <a:pt x="188772" y="1450405"/>
                    </a:cubicBezTo>
                    <a:cubicBezTo>
                      <a:pt x="182737" y="1452622"/>
                      <a:pt x="177800" y="1449296"/>
                      <a:pt x="177800" y="1443198"/>
                    </a:cubicBezTo>
                    <a:cubicBezTo>
                      <a:pt x="177800" y="1315140"/>
                      <a:pt x="177800" y="1315140"/>
                      <a:pt x="177800" y="1315140"/>
                    </a:cubicBezTo>
                    <a:cubicBezTo>
                      <a:pt x="177800" y="1308487"/>
                      <a:pt x="182737" y="1301835"/>
                      <a:pt x="188772" y="1299617"/>
                    </a:cubicBezTo>
                    <a:cubicBezTo>
                      <a:pt x="240892" y="1280215"/>
                      <a:pt x="240892" y="1280215"/>
                      <a:pt x="240892" y="1280215"/>
                    </a:cubicBezTo>
                    <a:close/>
                    <a:moveTo>
                      <a:pt x="330259" y="1246897"/>
                    </a:moveTo>
                    <a:cubicBezTo>
                      <a:pt x="336339" y="1244659"/>
                      <a:pt x="341313" y="1248016"/>
                      <a:pt x="341313" y="1254169"/>
                    </a:cubicBezTo>
                    <a:cubicBezTo>
                      <a:pt x="341313" y="1383951"/>
                      <a:pt x="341313" y="1383951"/>
                      <a:pt x="341313" y="1383951"/>
                    </a:cubicBezTo>
                    <a:cubicBezTo>
                      <a:pt x="341313" y="1390105"/>
                      <a:pt x="336339" y="1396818"/>
                      <a:pt x="330259" y="1399055"/>
                    </a:cubicBezTo>
                    <a:cubicBezTo>
                      <a:pt x="277754" y="1418635"/>
                      <a:pt x="277754" y="1418635"/>
                      <a:pt x="277754" y="1418635"/>
                    </a:cubicBezTo>
                    <a:cubicBezTo>
                      <a:pt x="271674" y="1420872"/>
                      <a:pt x="266700" y="1417516"/>
                      <a:pt x="266700" y="1411362"/>
                    </a:cubicBezTo>
                    <a:cubicBezTo>
                      <a:pt x="266700" y="1282139"/>
                      <a:pt x="266700" y="1282139"/>
                      <a:pt x="266700" y="1282139"/>
                    </a:cubicBezTo>
                    <a:cubicBezTo>
                      <a:pt x="266700" y="1275426"/>
                      <a:pt x="271674" y="1268714"/>
                      <a:pt x="277754" y="1266476"/>
                    </a:cubicBezTo>
                    <a:cubicBezTo>
                      <a:pt x="330259" y="1246897"/>
                      <a:pt x="330259" y="1246897"/>
                      <a:pt x="330259" y="1246897"/>
                    </a:cubicBezTo>
                    <a:close/>
                    <a:moveTo>
                      <a:pt x="63092" y="1165914"/>
                    </a:moveTo>
                    <a:cubicBezTo>
                      <a:pt x="69675" y="1163697"/>
                      <a:pt x="74613" y="1167023"/>
                      <a:pt x="74613" y="1173121"/>
                    </a:cubicBezTo>
                    <a:cubicBezTo>
                      <a:pt x="74613" y="1301734"/>
                      <a:pt x="74613" y="1301734"/>
                      <a:pt x="74613" y="1301734"/>
                    </a:cubicBezTo>
                    <a:cubicBezTo>
                      <a:pt x="74613" y="1307832"/>
                      <a:pt x="69675" y="1314484"/>
                      <a:pt x="63092" y="1316702"/>
                    </a:cubicBezTo>
                    <a:cubicBezTo>
                      <a:pt x="10972" y="1336105"/>
                      <a:pt x="10972" y="1336105"/>
                      <a:pt x="10972" y="1336105"/>
                    </a:cubicBezTo>
                    <a:cubicBezTo>
                      <a:pt x="4937" y="1338322"/>
                      <a:pt x="0" y="1334996"/>
                      <a:pt x="0" y="1328898"/>
                    </a:cubicBezTo>
                    <a:cubicBezTo>
                      <a:pt x="0" y="1200839"/>
                      <a:pt x="0" y="1200839"/>
                      <a:pt x="0" y="1200839"/>
                    </a:cubicBezTo>
                    <a:cubicBezTo>
                      <a:pt x="0" y="1194187"/>
                      <a:pt x="4937" y="1187535"/>
                      <a:pt x="10972" y="1185317"/>
                    </a:cubicBezTo>
                    <a:cubicBezTo>
                      <a:pt x="63092" y="1165914"/>
                      <a:pt x="63092" y="1165914"/>
                      <a:pt x="63092" y="1165914"/>
                    </a:cubicBezTo>
                    <a:close/>
                    <a:moveTo>
                      <a:pt x="152459" y="1134164"/>
                    </a:moveTo>
                    <a:cubicBezTo>
                      <a:pt x="158539" y="1131947"/>
                      <a:pt x="163513" y="1135273"/>
                      <a:pt x="163513" y="1141371"/>
                    </a:cubicBezTo>
                    <a:cubicBezTo>
                      <a:pt x="163513" y="1269984"/>
                      <a:pt x="163513" y="1269984"/>
                      <a:pt x="163513" y="1269984"/>
                    </a:cubicBezTo>
                    <a:cubicBezTo>
                      <a:pt x="163513" y="1276082"/>
                      <a:pt x="158539" y="1282734"/>
                      <a:pt x="152459" y="1284952"/>
                    </a:cubicBezTo>
                    <a:cubicBezTo>
                      <a:pt x="99954" y="1304355"/>
                      <a:pt x="99954" y="1304355"/>
                      <a:pt x="99954" y="1304355"/>
                    </a:cubicBezTo>
                    <a:cubicBezTo>
                      <a:pt x="93874" y="1306572"/>
                      <a:pt x="88900" y="1303246"/>
                      <a:pt x="88900" y="1297148"/>
                    </a:cubicBezTo>
                    <a:cubicBezTo>
                      <a:pt x="88900" y="1169089"/>
                      <a:pt x="88900" y="1169089"/>
                      <a:pt x="88900" y="1169089"/>
                    </a:cubicBezTo>
                    <a:cubicBezTo>
                      <a:pt x="88900" y="1162437"/>
                      <a:pt x="93874" y="1155785"/>
                      <a:pt x="99954" y="1153567"/>
                    </a:cubicBezTo>
                    <a:cubicBezTo>
                      <a:pt x="152459" y="1134164"/>
                      <a:pt x="152459" y="1134164"/>
                      <a:pt x="152459" y="1134164"/>
                    </a:cubicBezTo>
                    <a:close/>
                    <a:moveTo>
                      <a:pt x="240892" y="1100847"/>
                    </a:moveTo>
                    <a:cubicBezTo>
                      <a:pt x="247475" y="1098609"/>
                      <a:pt x="252413" y="1101965"/>
                      <a:pt x="252413" y="1108119"/>
                    </a:cubicBezTo>
                    <a:cubicBezTo>
                      <a:pt x="252413" y="1237342"/>
                      <a:pt x="252413" y="1237342"/>
                      <a:pt x="252413" y="1237342"/>
                    </a:cubicBezTo>
                    <a:cubicBezTo>
                      <a:pt x="252413" y="1244055"/>
                      <a:pt x="247475" y="1250768"/>
                      <a:pt x="240892" y="1253005"/>
                    </a:cubicBezTo>
                    <a:cubicBezTo>
                      <a:pt x="188772" y="1272585"/>
                      <a:pt x="188772" y="1272585"/>
                      <a:pt x="188772" y="1272585"/>
                    </a:cubicBezTo>
                    <a:cubicBezTo>
                      <a:pt x="182737" y="1274822"/>
                      <a:pt x="177800" y="1271466"/>
                      <a:pt x="177800" y="1265312"/>
                    </a:cubicBezTo>
                    <a:cubicBezTo>
                      <a:pt x="177800" y="1136089"/>
                      <a:pt x="177800" y="1136089"/>
                      <a:pt x="177800" y="1136089"/>
                    </a:cubicBezTo>
                    <a:cubicBezTo>
                      <a:pt x="177800" y="1129376"/>
                      <a:pt x="182737" y="1122663"/>
                      <a:pt x="188772" y="1120426"/>
                    </a:cubicBezTo>
                    <a:cubicBezTo>
                      <a:pt x="240892" y="1100847"/>
                      <a:pt x="240892" y="1100847"/>
                      <a:pt x="240892" y="1100847"/>
                    </a:cubicBezTo>
                    <a:close/>
                    <a:moveTo>
                      <a:pt x="330259" y="1069076"/>
                    </a:moveTo>
                    <a:cubicBezTo>
                      <a:pt x="336339" y="1066859"/>
                      <a:pt x="341313" y="1070185"/>
                      <a:pt x="341313" y="1076283"/>
                    </a:cubicBezTo>
                    <a:cubicBezTo>
                      <a:pt x="341313" y="1204341"/>
                      <a:pt x="341313" y="1204341"/>
                      <a:pt x="341313" y="1204341"/>
                    </a:cubicBezTo>
                    <a:cubicBezTo>
                      <a:pt x="341313" y="1210994"/>
                      <a:pt x="336339" y="1217646"/>
                      <a:pt x="330259" y="1219864"/>
                    </a:cubicBezTo>
                    <a:cubicBezTo>
                      <a:pt x="277754" y="1239266"/>
                      <a:pt x="277754" y="1239266"/>
                      <a:pt x="277754" y="1239266"/>
                    </a:cubicBezTo>
                    <a:cubicBezTo>
                      <a:pt x="271674" y="1241484"/>
                      <a:pt x="266700" y="1238158"/>
                      <a:pt x="266700" y="1232060"/>
                    </a:cubicBezTo>
                    <a:cubicBezTo>
                      <a:pt x="266700" y="1104001"/>
                      <a:pt x="266700" y="1104001"/>
                      <a:pt x="266700" y="1104001"/>
                    </a:cubicBezTo>
                    <a:cubicBezTo>
                      <a:pt x="266700" y="1097349"/>
                      <a:pt x="271674" y="1090697"/>
                      <a:pt x="277754" y="1088479"/>
                    </a:cubicBezTo>
                    <a:cubicBezTo>
                      <a:pt x="330259" y="1069076"/>
                      <a:pt x="330259" y="1069076"/>
                      <a:pt x="330259" y="1069076"/>
                    </a:cubicBezTo>
                    <a:close/>
                    <a:moveTo>
                      <a:pt x="63092" y="988114"/>
                    </a:moveTo>
                    <a:cubicBezTo>
                      <a:pt x="69675" y="985897"/>
                      <a:pt x="74613" y="989223"/>
                      <a:pt x="74613" y="995321"/>
                    </a:cubicBezTo>
                    <a:cubicBezTo>
                      <a:pt x="74613" y="1123379"/>
                      <a:pt x="74613" y="1123379"/>
                      <a:pt x="74613" y="1123379"/>
                    </a:cubicBezTo>
                    <a:cubicBezTo>
                      <a:pt x="74613" y="1130032"/>
                      <a:pt x="69675" y="1136684"/>
                      <a:pt x="63092" y="1138902"/>
                    </a:cubicBezTo>
                    <a:cubicBezTo>
                      <a:pt x="10972" y="1158304"/>
                      <a:pt x="10972" y="1158304"/>
                      <a:pt x="10972" y="1158304"/>
                    </a:cubicBezTo>
                    <a:cubicBezTo>
                      <a:pt x="4937" y="1160522"/>
                      <a:pt x="0" y="1157196"/>
                      <a:pt x="0" y="1151098"/>
                    </a:cubicBezTo>
                    <a:cubicBezTo>
                      <a:pt x="0" y="1023039"/>
                      <a:pt x="0" y="1023039"/>
                      <a:pt x="0" y="1023039"/>
                    </a:cubicBezTo>
                    <a:cubicBezTo>
                      <a:pt x="0" y="1016387"/>
                      <a:pt x="4937" y="1009735"/>
                      <a:pt x="10972" y="1007517"/>
                    </a:cubicBezTo>
                    <a:cubicBezTo>
                      <a:pt x="63092" y="988114"/>
                      <a:pt x="63092" y="988114"/>
                      <a:pt x="63092" y="988114"/>
                    </a:cubicBezTo>
                    <a:close/>
                    <a:moveTo>
                      <a:pt x="152459" y="956364"/>
                    </a:moveTo>
                    <a:cubicBezTo>
                      <a:pt x="158539" y="954147"/>
                      <a:pt x="163513" y="957473"/>
                      <a:pt x="163513" y="963571"/>
                    </a:cubicBezTo>
                    <a:cubicBezTo>
                      <a:pt x="163513" y="1091629"/>
                      <a:pt x="163513" y="1091629"/>
                      <a:pt x="163513" y="1091629"/>
                    </a:cubicBezTo>
                    <a:cubicBezTo>
                      <a:pt x="163513" y="1098282"/>
                      <a:pt x="158539" y="1104934"/>
                      <a:pt x="152459" y="1107152"/>
                    </a:cubicBezTo>
                    <a:cubicBezTo>
                      <a:pt x="99954" y="1126554"/>
                      <a:pt x="99954" y="1126554"/>
                      <a:pt x="99954" y="1126554"/>
                    </a:cubicBezTo>
                    <a:cubicBezTo>
                      <a:pt x="93874" y="1128772"/>
                      <a:pt x="88900" y="1125446"/>
                      <a:pt x="88900" y="1119348"/>
                    </a:cubicBezTo>
                    <a:cubicBezTo>
                      <a:pt x="88900" y="990735"/>
                      <a:pt x="88900" y="990735"/>
                      <a:pt x="88900" y="990735"/>
                    </a:cubicBezTo>
                    <a:cubicBezTo>
                      <a:pt x="88900" y="984637"/>
                      <a:pt x="93874" y="977985"/>
                      <a:pt x="99954" y="975767"/>
                    </a:cubicBezTo>
                    <a:cubicBezTo>
                      <a:pt x="152459" y="956364"/>
                      <a:pt x="152459" y="956364"/>
                      <a:pt x="152459" y="956364"/>
                    </a:cubicBezTo>
                    <a:close/>
                    <a:moveTo>
                      <a:pt x="240892" y="923047"/>
                    </a:moveTo>
                    <a:cubicBezTo>
                      <a:pt x="247475" y="920809"/>
                      <a:pt x="252413" y="924165"/>
                      <a:pt x="252413" y="930319"/>
                    </a:cubicBezTo>
                    <a:cubicBezTo>
                      <a:pt x="252413" y="1059542"/>
                      <a:pt x="252413" y="1059542"/>
                      <a:pt x="252413" y="1059542"/>
                    </a:cubicBezTo>
                    <a:cubicBezTo>
                      <a:pt x="252413" y="1066255"/>
                      <a:pt x="247475" y="1072967"/>
                      <a:pt x="240892" y="1075205"/>
                    </a:cubicBezTo>
                    <a:cubicBezTo>
                      <a:pt x="188772" y="1094784"/>
                      <a:pt x="188772" y="1094784"/>
                      <a:pt x="188772" y="1094784"/>
                    </a:cubicBezTo>
                    <a:cubicBezTo>
                      <a:pt x="182737" y="1097022"/>
                      <a:pt x="177800" y="1093665"/>
                      <a:pt x="177800" y="1087512"/>
                    </a:cubicBezTo>
                    <a:cubicBezTo>
                      <a:pt x="177800" y="957730"/>
                      <a:pt x="177800" y="957730"/>
                      <a:pt x="177800" y="957730"/>
                    </a:cubicBezTo>
                    <a:cubicBezTo>
                      <a:pt x="177800" y="951576"/>
                      <a:pt x="182737" y="944863"/>
                      <a:pt x="188772" y="942626"/>
                    </a:cubicBezTo>
                    <a:cubicBezTo>
                      <a:pt x="240892" y="923047"/>
                      <a:pt x="240892" y="923047"/>
                      <a:pt x="240892" y="923047"/>
                    </a:cubicBezTo>
                    <a:close/>
                    <a:moveTo>
                      <a:pt x="330259" y="891276"/>
                    </a:moveTo>
                    <a:cubicBezTo>
                      <a:pt x="336339" y="889059"/>
                      <a:pt x="341313" y="892385"/>
                      <a:pt x="341313" y="898483"/>
                    </a:cubicBezTo>
                    <a:cubicBezTo>
                      <a:pt x="341313" y="1026541"/>
                      <a:pt x="341313" y="1026541"/>
                      <a:pt x="341313" y="1026541"/>
                    </a:cubicBezTo>
                    <a:cubicBezTo>
                      <a:pt x="341313" y="1032639"/>
                      <a:pt x="336339" y="1039846"/>
                      <a:pt x="330259" y="1042064"/>
                    </a:cubicBezTo>
                    <a:cubicBezTo>
                      <a:pt x="277754" y="1061466"/>
                      <a:pt x="277754" y="1061466"/>
                      <a:pt x="277754" y="1061466"/>
                    </a:cubicBezTo>
                    <a:cubicBezTo>
                      <a:pt x="271674" y="1063684"/>
                      <a:pt x="266700" y="1060358"/>
                      <a:pt x="266700" y="1054260"/>
                    </a:cubicBezTo>
                    <a:cubicBezTo>
                      <a:pt x="266700" y="925647"/>
                      <a:pt x="266700" y="925647"/>
                      <a:pt x="266700" y="925647"/>
                    </a:cubicBezTo>
                    <a:cubicBezTo>
                      <a:pt x="266700" y="919549"/>
                      <a:pt x="271674" y="912897"/>
                      <a:pt x="277754" y="910679"/>
                    </a:cubicBezTo>
                    <a:cubicBezTo>
                      <a:pt x="330259" y="891276"/>
                      <a:pt x="330259" y="891276"/>
                      <a:pt x="330259" y="891276"/>
                    </a:cubicBezTo>
                    <a:close/>
                    <a:moveTo>
                      <a:pt x="63092" y="810314"/>
                    </a:moveTo>
                    <a:cubicBezTo>
                      <a:pt x="69675" y="808097"/>
                      <a:pt x="74613" y="811423"/>
                      <a:pt x="74613" y="817521"/>
                    </a:cubicBezTo>
                    <a:cubicBezTo>
                      <a:pt x="74613" y="945579"/>
                      <a:pt x="74613" y="945579"/>
                      <a:pt x="74613" y="945579"/>
                    </a:cubicBezTo>
                    <a:cubicBezTo>
                      <a:pt x="74613" y="951677"/>
                      <a:pt x="69675" y="958884"/>
                      <a:pt x="63092" y="961102"/>
                    </a:cubicBezTo>
                    <a:cubicBezTo>
                      <a:pt x="10972" y="980504"/>
                      <a:pt x="10972" y="980504"/>
                      <a:pt x="10972" y="980504"/>
                    </a:cubicBezTo>
                    <a:cubicBezTo>
                      <a:pt x="4937" y="982722"/>
                      <a:pt x="0" y="979396"/>
                      <a:pt x="0" y="973298"/>
                    </a:cubicBezTo>
                    <a:cubicBezTo>
                      <a:pt x="0" y="844685"/>
                      <a:pt x="0" y="844685"/>
                      <a:pt x="0" y="844685"/>
                    </a:cubicBezTo>
                    <a:cubicBezTo>
                      <a:pt x="0" y="838587"/>
                      <a:pt x="4937" y="831935"/>
                      <a:pt x="10972" y="829717"/>
                    </a:cubicBezTo>
                    <a:cubicBezTo>
                      <a:pt x="63092" y="810314"/>
                      <a:pt x="63092" y="810314"/>
                      <a:pt x="63092" y="810314"/>
                    </a:cubicBezTo>
                    <a:close/>
                    <a:moveTo>
                      <a:pt x="152459" y="776997"/>
                    </a:moveTo>
                    <a:cubicBezTo>
                      <a:pt x="158539" y="774759"/>
                      <a:pt x="163513" y="778115"/>
                      <a:pt x="163513" y="784269"/>
                    </a:cubicBezTo>
                    <a:cubicBezTo>
                      <a:pt x="163513" y="913492"/>
                      <a:pt x="163513" y="913492"/>
                      <a:pt x="163513" y="913492"/>
                    </a:cubicBezTo>
                    <a:cubicBezTo>
                      <a:pt x="163513" y="919645"/>
                      <a:pt x="158539" y="926917"/>
                      <a:pt x="152459" y="929155"/>
                    </a:cubicBezTo>
                    <a:cubicBezTo>
                      <a:pt x="99954" y="948175"/>
                      <a:pt x="99954" y="948175"/>
                      <a:pt x="99954" y="948175"/>
                    </a:cubicBezTo>
                    <a:cubicBezTo>
                      <a:pt x="93874" y="950972"/>
                      <a:pt x="88900" y="947615"/>
                      <a:pt x="88900" y="941462"/>
                    </a:cubicBezTo>
                    <a:cubicBezTo>
                      <a:pt x="88900" y="811680"/>
                      <a:pt x="88900" y="811680"/>
                      <a:pt x="88900" y="811680"/>
                    </a:cubicBezTo>
                    <a:cubicBezTo>
                      <a:pt x="88900" y="805526"/>
                      <a:pt x="93874" y="798813"/>
                      <a:pt x="99954" y="796576"/>
                    </a:cubicBezTo>
                    <a:cubicBezTo>
                      <a:pt x="152459" y="776997"/>
                      <a:pt x="152459" y="776997"/>
                      <a:pt x="152459" y="776997"/>
                    </a:cubicBezTo>
                    <a:close/>
                    <a:moveTo>
                      <a:pt x="240892" y="745247"/>
                    </a:moveTo>
                    <a:cubicBezTo>
                      <a:pt x="247475" y="743009"/>
                      <a:pt x="252413" y="746365"/>
                      <a:pt x="252413" y="752519"/>
                    </a:cubicBezTo>
                    <a:cubicBezTo>
                      <a:pt x="252413" y="881742"/>
                      <a:pt x="252413" y="881742"/>
                      <a:pt x="252413" y="881742"/>
                    </a:cubicBezTo>
                    <a:cubicBezTo>
                      <a:pt x="252413" y="887895"/>
                      <a:pt x="247475" y="895167"/>
                      <a:pt x="240892" y="897405"/>
                    </a:cubicBezTo>
                    <a:cubicBezTo>
                      <a:pt x="188772" y="916425"/>
                      <a:pt x="188772" y="916425"/>
                      <a:pt x="188772" y="916425"/>
                    </a:cubicBezTo>
                    <a:cubicBezTo>
                      <a:pt x="182737" y="919222"/>
                      <a:pt x="177800" y="915865"/>
                      <a:pt x="177800" y="909712"/>
                    </a:cubicBezTo>
                    <a:cubicBezTo>
                      <a:pt x="177800" y="779930"/>
                      <a:pt x="177800" y="779930"/>
                      <a:pt x="177800" y="779930"/>
                    </a:cubicBezTo>
                    <a:cubicBezTo>
                      <a:pt x="177800" y="773776"/>
                      <a:pt x="182737" y="767063"/>
                      <a:pt x="188772" y="764826"/>
                    </a:cubicBezTo>
                    <a:cubicBezTo>
                      <a:pt x="240892" y="745247"/>
                      <a:pt x="240892" y="745247"/>
                      <a:pt x="240892" y="745247"/>
                    </a:cubicBezTo>
                    <a:close/>
                    <a:moveTo>
                      <a:pt x="330259" y="713483"/>
                    </a:moveTo>
                    <a:cubicBezTo>
                      <a:pt x="336339" y="711259"/>
                      <a:pt x="341313" y="714596"/>
                      <a:pt x="341313" y="720713"/>
                    </a:cubicBezTo>
                    <a:cubicBezTo>
                      <a:pt x="341313" y="849179"/>
                      <a:pt x="341313" y="849179"/>
                      <a:pt x="341313" y="849179"/>
                    </a:cubicBezTo>
                    <a:cubicBezTo>
                      <a:pt x="341313" y="855297"/>
                      <a:pt x="336339" y="862526"/>
                      <a:pt x="330259" y="864751"/>
                    </a:cubicBezTo>
                    <a:cubicBezTo>
                      <a:pt x="277754" y="883659"/>
                      <a:pt x="277754" y="883659"/>
                      <a:pt x="277754" y="883659"/>
                    </a:cubicBezTo>
                    <a:cubicBezTo>
                      <a:pt x="271674" y="885884"/>
                      <a:pt x="266700" y="883103"/>
                      <a:pt x="266700" y="876430"/>
                    </a:cubicBezTo>
                    <a:cubicBezTo>
                      <a:pt x="266700" y="747963"/>
                      <a:pt x="266700" y="747963"/>
                      <a:pt x="266700" y="747963"/>
                    </a:cubicBezTo>
                    <a:cubicBezTo>
                      <a:pt x="266700" y="741846"/>
                      <a:pt x="271674" y="735172"/>
                      <a:pt x="277754" y="732948"/>
                    </a:cubicBezTo>
                    <a:cubicBezTo>
                      <a:pt x="330259" y="713483"/>
                      <a:pt x="330259" y="713483"/>
                      <a:pt x="330259" y="713483"/>
                    </a:cubicBezTo>
                    <a:close/>
                    <a:moveTo>
                      <a:pt x="63092" y="632521"/>
                    </a:moveTo>
                    <a:cubicBezTo>
                      <a:pt x="69675" y="630297"/>
                      <a:pt x="74613" y="633634"/>
                      <a:pt x="74613" y="639751"/>
                    </a:cubicBezTo>
                    <a:cubicBezTo>
                      <a:pt x="74613" y="768217"/>
                      <a:pt x="74613" y="768217"/>
                      <a:pt x="74613" y="768217"/>
                    </a:cubicBezTo>
                    <a:cubicBezTo>
                      <a:pt x="74613" y="774335"/>
                      <a:pt x="69675" y="781564"/>
                      <a:pt x="63092" y="783789"/>
                    </a:cubicBezTo>
                    <a:cubicBezTo>
                      <a:pt x="10972" y="802697"/>
                      <a:pt x="10972" y="802697"/>
                      <a:pt x="10972" y="802697"/>
                    </a:cubicBezTo>
                    <a:cubicBezTo>
                      <a:pt x="4937" y="804922"/>
                      <a:pt x="0" y="802141"/>
                      <a:pt x="0" y="795468"/>
                    </a:cubicBezTo>
                    <a:cubicBezTo>
                      <a:pt x="0" y="667001"/>
                      <a:pt x="0" y="667001"/>
                      <a:pt x="0" y="667001"/>
                    </a:cubicBezTo>
                    <a:cubicBezTo>
                      <a:pt x="0" y="660884"/>
                      <a:pt x="4937" y="654210"/>
                      <a:pt x="10972" y="651986"/>
                    </a:cubicBezTo>
                    <a:cubicBezTo>
                      <a:pt x="63092" y="632521"/>
                      <a:pt x="63092" y="632521"/>
                      <a:pt x="63092" y="632521"/>
                    </a:cubicBezTo>
                    <a:close/>
                    <a:moveTo>
                      <a:pt x="152459" y="599183"/>
                    </a:moveTo>
                    <a:cubicBezTo>
                      <a:pt x="158539" y="596959"/>
                      <a:pt x="163513" y="600296"/>
                      <a:pt x="163513" y="606413"/>
                    </a:cubicBezTo>
                    <a:cubicBezTo>
                      <a:pt x="163513" y="734879"/>
                      <a:pt x="163513" y="734879"/>
                      <a:pt x="163513" y="734879"/>
                    </a:cubicBezTo>
                    <a:cubicBezTo>
                      <a:pt x="163513" y="740997"/>
                      <a:pt x="158539" y="748226"/>
                      <a:pt x="152459" y="750451"/>
                    </a:cubicBezTo>
                    <a:cubicBezTo>
                      <a:pt x="99954" y="769359"/>
                      <a:pt x="99954" y="769359"/>
                      <a:pt x="99954" y="769359"/>
                    </a:cubicBezTo>
                    <a:cubicBezTo>
                      <a:pt x="93874" y="771584"/>
                      <a:pt x="88900" y="768803"/>
                      <a:pt x="88900" y="762130"/>
                    </a:cubicBezTo>
                    <a:cubicBezTo>
                      <a:pt x="88900" y="633663"/>
                      <a:pt x="88900" y="633663"/>
                      <a:pt x="88900" y="633663"/>
                    </a:cubicBezTo>
                    <a:cubicBezTo>
                      <a:pt x="88900" y="627546"/>
                      <a:pt x="93874" y="620872"/>
                      <a:pt x="99954" y="618648"/>
                    </a:cubicBezTo>
                    <a:cubicBezTo>
                      <a:pt x="152459" y="599183"/>
                      <a:pt x="152459" y="599183"/>
                      <a:pt x="152459" y="599183"/>
                    </a:cubicBezTo>
                    <a:close/>
                    <a:moveTo>
                      <a:pt x="240892" y="567433"/>
                    </a:moveTo>
                    <a:cubicBezTo>
                      <a:pt x="247475" y="565209"/>
                      <a:pt x="252413" y="568546"/>
                      <a:pt x="252413" y="574663"/>
                    </a:cubicBezTo>
                    <a:cubicBezTo>
                      <a:pt x="252413" y="703129"/>
                      <a:pt x="252413" y="703129"/>
                      <a:pt x="252413" y="703129"/>
                    </a:cubicBezTo>
                    <a:cubicBezTo>
                      <a:pt x="252413" y="709247"/>
                      <a:pt x="247475" y="716476"/>
                      <a:pt x="240892" y="718701"/>
                    </a:cubicBezTo>
                    <a:cubicBezTo>
                      <a:pt x="188772" y="737609"/>
                      <a:pt x="188772" y="737609"/>
                      <a:pt x="188772" y="737609"/>
                    </a:cubicBezTo>
                    <a:cubicBezTo>
                      <a:pt x="182737" y="739834"/>
                      <a:pt x="177800" y="737053"/>
                      <a:pt x="177800" y="730380"/>
                    </a:cubicBezTo>
                    <a:cubicBezTo>
                      <a:pt x="177800" y="601913"/>
                      <a:pt x="177800" y="601913"/>
                      <a:pt x="177800" y="601913"/>
                    </a:cubicBezTo>
                    <a:cubicBezTo>
                      <a:pt x="177800" y="595796"/>
                      <a:pt x="182737" y="589122"/>
                      <a:pt x="188772" y="586342"/>
                    </a:cubicBezTo>
                    <a:cubicBezTo>
                      <a:pt x="240892" y="567433"/>
                      <a:pt x="240892" y="567433"/>
                      <a:pt x="240892" y="567433"/>
                    </a:cubicBezTo>
                    <a:close/>
                    <a:moveTo>
                      <a:pt x="330259" y="535683"/>
                    </a:moveTo>
                    <a:cubicBezTo>
                      <a:pt x="336339" y="533459"/>
                      <a:pt x="341313" y="536796"/>
                      <a:pt x="341313" y="542913"/>
                    </a:cubicBezTo>
                    <a:cubicBezTo>
                      <a:pt x="341313" y="671379"/>
                      <a:pt x="341313" y="671379"/>
                      <a:pt x="341313" y="671379"/>
                    </a:cubicBezTo>
                    <a:cubicBezTo>
                      <a:pt x="341313" y="677497"/>
                      <a:pt x="336339" y="684726"/>
                      <a:pt x="330259" y="686951"/>
                    </a:cubicBezTo>
                    <a:cubicBezTo>
                      <a:pt x="277754" y="705859"/>
                      <a:pt x="277754" y="705859"/>
                      <a:pt x="277754" y="705859"/>
                    </a:cubicBezTo>
                    <a:cubicBezTo>
                      <a:pt x="271674" y="708084"/>
                      <a:pt x="266700" y="705303"/>
                      <a:pt x="266700" y="698630"/>
                    </a:cubicBezTo>
                    <a:cubicBezTo>
                      <a:pt x="266700" y="570163"/>
                      <a:pt x="266700" y="570163"/>
                      <a:pt x="266700" y="570163"/>
                    </a:cubicBezTo>
                    <a:cubicBezTo>
                      <a:pt x="266700" y="564046"/>
                      <a:pt x="271674" y="556816"/>
                      <a:pt x="277754" y="554592"/>
                    </a:cubicBezTo>
                    <a:cubicBezTo>
                      <a:pt x="330259" y="535683"/>
                      <a:pt x="330259" y="535683"/>
                      <a:pt x="330259" y="535683"/>
                    </a:cubicBezTo>
                    <a:close/>
                    <a:moveTo>
                      <a:pt x="63092" y="453154"/>
                    </a:moveTo>
                    <a:cubicBezTo>
                      <a:pt x="69675" y="450909"/>
                      <a:pt x="74613" y="454276"/>
                      <a:pt x="74613" y="460449"/>
                    </a:cubicBezTo>
                    <a:cubicBezTo>
                      <a:pt x="74613" y="590083"/>
                      <a:pt x="74613" y="590083"/>
                      <a:pt x="74613" y="590083"/>
                    </a:cubicBezTo>
                    <a:cubicBezTo>
                      <a:pt x="74613" y="596257"/>
                      <a:pt x="69675" y="603552"/>
                      <a:pt x="63092" y="605797"/>
                    </a:cubicBezTo>
                    <a:cubicBezTo>
                      <a:pt x="10972" y="624877"/>
                      <a:pt x="10972" y="624877"/>
                      <a:pt x="10972" y="624877"/>
                    </a:cubicBezTo>
                    <a:cubicBezTo>
                      <a:pt x="4937" y="627122"/>
                      <a:pt x="0" y="624316"/>
                      <a:pt x="0" y="617582"/>
                    </a:cubicBezTo>
                    <a:cubicBezTo>
                      <a:pt x="0" y="487947"/>
                      <a:pt x="0" y="487947"/>
                      <a:pt x="0" y="487947"/>
                    </a:cubicBezTo>
                    <a:cubicBezTo>
                      <a:pt x="0" y="481774"/>
                      <a:pt x="4937" y="474479"/>
                      <a:pt x="10972" y="472234"/>
                    </a:cubicBezTo>
                    <a:cubicBezTo>
                      <a:pt x="63092" y="453154"/>
                      <a:pt x="63092" y="453154"/>
                      <a:pt x="63092" y="453154"/>
                    </a:cubicBezTo>
                    <a:close/>
                    <a:moveTo>
                      <a:pt x="152459" y="421383"/>
                    </a:moveTo>
                    <a:cubicBezTo>
                      <a:pt x="158539" y="419159"/>
                      <a:pt x="163513" y="421940"/>
                      <a:pt x="163513" y="428613"/>
                    </a:cubicBezTo>
                    <a:cubicBezTo>
                      <a:pt x="163513" y="557079"/>
                      <a:pt x="163513" y="557079"/>
                      <a:pt x="163513" y="557079"/>
                    </a:cubicBezTo>
                    <a:cubicBezTo>
                      <a:pt x="163513" y="563197"/>
                      <a:pt x="158539" y="570426"/>
                      <a:pt x="152459" y="572651"/>
                    </a:cubicBezTo>
                    <a:cubicBezTo>
                      <a:pt x="99954" y="591559"/>
                      <a:pt x="99954" y="591559"/>
                      <a:pt x="99954" y="591559"/>
                    </a:cubicBezTo>
                    <a:cubicBezTo>
                      <a:pt x="93874" y="593784"/>
                      <a:pt x="88900" y="590447"/>
                      <a:pt x="88900" y="584330"/>
                    </a:cubicBezTo>
                    <a:cubicBezTo>
                      <a:pt x="88900" y="455863"/>
                      <a:pt x="88900" y="455863"/>
                      <a:pt x="88900" y="455863"/>
                    </a:cubicBezTo>
                    <a:cubicBezTo>
                      <a:pt x="88900" y="449746"/>
                      <a:pt x="93874" y="442516"/>
                      <a:pt x="99954" y="440292"/>
                    </a:cubicBezTo>
                    <a:cubicBezTo>
                      <a:pt x="152459" y="421383"/>
                      <a:pt x="152459" y="421383"/>
                      <a:pt x="152459" y="421383"/>
                    </a:cubicBezTo>
                    <a:close/>
                    <a:moveTo>
                      <a:pt x="240892" y="389633"/>
                    </a:moveTo>
                    <a:cubicBezTo>
                      <a:pt x="247475" y="387409"/>
                      <a:pt x="252413" y="390190"/>
                      <a:pt x="252413" y="396863"/>
                    </a:cubicBezTo>
                    <a:cubicBezTo>
                      <a:pt x="252413" y="525329"/>
                      <a:pt x="252413" y="525329"/>
                      <a:pt x="252413" y="525329"/>
                    </a:cubicBezTo>
                    <a:cubicBezTo>
                      <a:pt x="252413" y="531447"/>
                      <a:pt x="247475" y="538120"/>
                      <a:pt x="240892" y="540901"/>
                    </a:cubicBezTo>
                    <a:cubicBezTo>
                      <a:pt x="188772" y="559809"/>
                      <a:pt x="188772" y="559809"/>
                      <a:pt x="188772" y="559809"/>
                    </a:cubicBezTo>
                    <a:cubicBezTo>
                      <a:pt x="182737" y="562034"/>
                      <a:pt x="177800" y="558697"/>
                      <a:pt x="177800" y="552580"/>
                    </a:cubicBezTo>
                    <a:cubicBezTo>
                      <a:pt x="177800" y="424113"/>
                      <a:pt x="177800" y="424113"/>
                      <a:pt x="177800" y="424113"/>
                    </a:cubicBezTo>
                    <a:cubicBezTo>
                      <a:pt x="177800" y="417996"/>
                      <a:pt x="182737" y="410766"/>
                      <a:pt x="188772" y="408542"/>
                    </a:cubicBezTo>
                    <a:cubicBezTo>
                      <a:pt x="240892" y="389633"/>
                      <a:pt x="240892" y="389633"/>
                      <a:pt x="240892" y="389633"/>
                    </a:cubicBezTo>
                    <a:close/>
                    <a:moveTo>
                      <a:pt x="330259" y="356317"/>
                    </a:moveTo>
                    <a:cubicBezTo>
                      <a:pt x="336339" y="354072"/>
                      <a:pt x="341313" y="356878"/>
                      <a:pt x="341313" y="363612"/>
                    </a:cubicBezTo>
                    <a:cubicBezTo>
                      <a:pt x="341313" y="493246"/>
                      <a:pt x="341313" y="493246"/>
                      <a:pt x="341313" y="493246"/>
                    </a:cubicBezTo>
                    <a:cubicBezTo>
                      <a:pt x="341313" y="499420"/>
                      <a:pt x="336339" y="506154"/>
                      <a:pt x="330259" y="508960"/>
                    </a:cubicBezTo>
                    <a:cubicBezTo>
                      <a:pt x="277754" y="528040"/>
                      <a:pt x="277754" y="528040"/>
                      <a:pt x="277754" y="528040"/>
                    </a:cubicBezTo>
                    <a:cubicBezTo>
                      <a:pt x="271674" y="530285"/>
                      <a:pt x="266700" y="526918"/>
                      <a:pt x="266700" y="520745"/>
                    </a:cubicBezTo>
                    <a:cubicBezTo>
                      <a:pt x="266700" y="391110"/>
                      <a:pt x="266700" y="391110"/>
                      <a:pt x="266700" y="391110"/>
                    </a:cubicBezTo>
                    <a:cubicBezTo>
                      <a:pt x="266700" y="384937"/>
                      <a:pt x="271674" y="377642"/>
                      <a:pt x="277754" y="375397"/>
                    </a:cubicBezTo>
                    <a:cubicBezTo>
                      <a:pt x="330259" y="356317"/>
                      <a:pt x="330259" y="356317"/>
                      <a:pt x="330259" y="356317"/>
                    </a:cubicBezTo>
                    <a:close/>
                    <a:moveTo>
                      <a:pt x="63092" y="275333"/>
                    </a:moveTo>
                    <a:cubicBezTo>
                      <a:pt x="69675" y="273109"/>
                      <a:pt x="74613" y="275890"/>
                      <a:pt x="74613" y="282563"/>
                    </a:cubicBezTo>
                    <a:cubicBezTo>
                      <a:pt x="74613" y="411029"/>
                      <a:pt x="74613" y="411029"/>
                      <a:pt x="74613" y="411029"/>
                    </a:cubicBezTo>
                    <a:cubicBezTo>
                      <a:pt x="74613" y="417147"/>
                      <a:pt x="69675" y="423820"/>
                      <a:pt x="63092" y="426601"/>
                    </a:cubicBezTo>
                    <a:cubicBezTo>
                      <a:pt x="10972" y="445509"/>
                      <a:pt x="10972" y="445509"/>
                      <a:pt x="10972" y="445509"/>
                    </a:cubicBezTo>
                    <a:cubicBezTo>
                      <a:pt x="4937" y="447734"/>
                      <a:pt x="0" y="444397"/>
                      <a:pt x="0" y="438280"/>
                    </a:cubicBezTo>
                    <a:cubicBezTo>
                      <a:pt x="0" y="309813"/>
                      <a:pt x="0" y="309813"/>
                      <a:pt x="0" y="309813"/>
                    </a:cubicBezTo>
                    <a:cubicBezTo>
                      <a:pt x="0" y="303696"/>
                      <a:pt x="4937" y="296466"/>
                      <a:pt x="10972" y="294242"/>
                    </a:cubicBezTo>
                    <a:cubicBezTo>
                      <a:pt x="63092" y="275333"/>
                      <a:pt x="63092" y="275333"/>
                      <a:pt x="63092" y="275333"/>
                    </a:cubicBezTo>
                    <a:close/>
                    <a:moveTo>
                      <a:pt x="152459" y="243583"/>
                    </a:moveTo>
                    <a:cubicBezTo>
                      <a:pt x="158539" y="241359"/>
                      <a:pt x="163513" y="244140"/>
                      <a:pt x="163513" y="250813"/>
                    </a:cubicBezTo>
                    <a:cubicBezTo>
                      <a:pt x="163513" y="379279"/>
                      <a:pt x="163513" y="379279"/>
                      <a:pt x="163513" y="379279"/>
                    </a:cubicBezTo>
                    <a:cubicBezTo>
                      <a:pt x="163513" y="385397"/>
                      <a:pt x="158539" y="392070"/>
                      <a:pt x="152459" y="394295"/>
                    </a:cubicBezTo>
                    <a:cubicBezTo>
                      <a:pt x="99954" y="413759"/>
                      <a:pt x="99954" y="413759"/>
                      <a:pt x="99954" y="413759"/>
                    </a:cubicBezTo>
                    <a:cubicBezTo>
                      <a:pt x="93874" y="415984"/>
                      <a:pt x="88900" y="412647"/>
                      <a:pt x="88900" y="406530"/>
                    </a:cubicBezTo>
                    <a:cubicBezTo>
                      <a:pt x="88900" y="278063"/>
                      <a:pt x="88900" y="278063"/>
                      <a:pt x="88900" y="278063"/>
                    </a:cubicBezTo>
                    <a:cubicBezTo>
                      <a:pt x="88900" y="271946"/>
                      <a:pt x="93874" y="264716"/>
                      <a:pt x="99954" y="262492"/>
                    </a:cubicBezTo>
                    <a:cubicBezTo>
                      <a:pt x="152459" y="243583"/>
                      <a:pt x="152459" y="243583"/>
                      <a:pt x="152459" y="243583"/>
                    </a:cubicBezTo>
                    <a:close/>
                    <a:moveTo>
                      <a:pt x="240892" y="211833"/>
                    </a:moveTo>
                    <a:cubicBezTo>
                      <a:pt x="247475" y="209609"/>
                      <a:pt x="252413" y="212390"/>
                      <a:pt x="252413" y="219063"/>
                    </a:cubicBezTo>
                    <a:cubicBezTo>
                      <a:pt x="252413" y="347529"/>
                      <a:pt x="252413" y="347529"/>
                      <a:pt x="252413" y="347529"/>
                    </a:cubicBezTo>
                    <a:cubicBezTo>
                      <a:pt x="252413" y="353647"/>
                      <a:pt x="247475" y="360320"/>
                      <a:pt x="240892" y="362545"/>
                    </a:cubicBezTo>
                    <a:cubicBezTo>
                      <a:pt x="188772" y="382009"/>
                      <a:pt x="188772" y="382009"/>
                      <a:pt x="188772" y="382009"/>
                    </a:cubicBezTo>
                    <a:cubicBezTo>
                      <a:pt x="182737" y="384234"/>
                      <a:pt x="177800" y="380897"/>
                      <a:pt x="177800" y="374780"/>
                    </a:cubicBezTo>
                    <a:cubicBezTo>
                      <a:pt x="177800" y="246313"/>
                      <a:pt x="177800" y="246313"/>
                      <a:pt x="177800" y="246313"/>
                    </a:cubicBezTo>
                    <a:cubicBezTo>
                      <a:pt x="177800" y="240196"/>
                      <a:pt x="182737" y="232966"/>
                      <a:pt x="188772" y="230742"/>
                    </a:cubicBezTo>
                    <a:cubicBezTo>
                      <a:pt x="240892" y="211833"/>
                      <a:pt x="240892" y="211833"/>
                      <a:pt x="240892" y="211833"/>
                    </a:cubicBezTo>
                    <a:close/>
                    <a:moveTo>
                      <a:pt x="330259" y="179044"/>
                    </a:moveTo>
                    <a:cubicBezTo>
                      <a:pt x="336339" y="176272"/>
                      <a:pt x="341313" y="179598"/>
                      <a:pt x="341313" y="185696"/>
                    </a:cubicBezTo>
                    <a:cubicBezTo>
                      <a:pt x="341313" y="314309"/>
                      <a:pt x="341313" y="314309"/>
                      <a:pt x="341313" y="314309"/>
                    </a:cubicBezTo>
                    <a:cubicBezTo>
                      <a:pt x="341313" y="320407"/>
                      <a:pt x="336339" y="327059"/>
                      <a:pt x="330259" y="329277"/>
                    </a:cubicBezTo>
                    <a:cubicBezTo>
                      <a:pt x="277754" y="348679"/>
                      <a:pt x="277754" y="348679"/>
                      <a:pt x="277754" y="348679"/>
                    </a:cubicBezTo>
                    <a:cubicBezTo>
                      <a:pt x="271674" y="350897"/>
                      <a:pt x="266700" y="347571"/>
                      <a:pt x="266700" y="341473"/>
                    </a:cubicBezTo>
                    <a:cubicBezTo>
                      <a:pt x="266700" y="213414"/>
                      <a:pt x="266700" y="213414"/>
                      <a:pt x="266700" y="213414"/>
                    </a:cubicBezTo>
                    <a:cubicBezTo>
                      <a:pt x="266700" y="207316"/>
                      <a:pt x="271674" y="200110"/>
                      <a:pt x="277754" y="197892"/>
                    </a:cubicBezTo>
                    <a:cubicBezTo>
                      <a:pt x="330259" y="179044"/>
                      <a:pt x="330259" y="179044"/>
                      <a:pt x="330259" y="179044"/>
                    </a:cubicBezTo>
                    <a:close/>
                    <a:moveTo>
                      <a:pt x="63092" y="98081"/>
                    </a:moveTo>
                    <a:cubicBezTo>
                      <a:pt x="69675" y="95309"/>
                      <a:pt x="74613" y="98635"/>
                      <a:pt x="74613" y="104733"/>
                    </a:cubicBezTo>
                    <a:cubicBezTo>
                      <a:pt x="74613" y="233346"/>
                      <a:pt x="74613" y="233346"/>
                      <a:pt x="74613" y="233346"/>
                    </a:cubicBezTo>
                    <a:cubicBezTo>
                      <a:pt x="74613" y="239444"/>
                      <a:pt x="69675" y="246096"/>
                      <a:pt x="63092" y="248314"/>
                    </a:cubicBezTo>
                    <a:cubicBezTo>
                      <a:pt x="10972" y="267716"/>
                      <a:pt x="10972" y="267716"/>
                      <a:pt x="10972" y="267716"/>
                    </a:cubicBezTo>
                    <a:cubicBezTo>
                      <a:pt x="4937" y="269934"/>
                      <a:pt x="0" y="266608"/>
                      <a:pt x="0" y="260510"/>
                    </a:cubicBezTo>
                    <a:cubicBezTo>
                      <a:pt x="0" y="132451"/>
                      <a:pt x="0" y="132451"/>
                      <a:pt x="0" y="132451"/>
                    </a:cubicBezTo>
                    <a:cubicBezTo>
                      <a:pt x="0" y="126353"/>
                      <a:pt x="4937" y="119147"/>
                      <a:pt x="10972" y="116929"/>
                    </a:cubicBezTo>
                    <a:cubicBezTo>
                      <a:pt x="63092" y="98081"/>
                      <a:pt x="63092" y="98081"/>
                      <a:pt x="63092" y="98081"/>
                    </a:cubicBezTo>
                    <a:close/>
                    <a:moveTo>
                      <a:pt x="152459" y="66331"/>
                    </a:moveTo>
                    <a:cubicBezTo>
                      <a:pt x="158539" y="63559"/>
                      <a:pt x="163513" y="66885"/>
                      <a:pt x="163513" y="72983"/>
                    </a:cubicBezTo>
                    <a:cubicBezTo>
                      <a:pt x="163513" y="201596"/>
                      <a:pt x="163513" y="201596"/>
                      <a:pt x="163513" y="201596"/>
                    </a:cubicBezTo>
                    <a:cubicBezTo>
                      <a:pt x="163513" y="207694"/>
                      <a:pt x="158539" y="214346"/>
                      <a:pt x="152459" y="216564"/>
                    </a:cubicBezTo>
                    <a:cubicBezTo>
                      <a:pt x="99954" y="235966"/>
                      <a:pt x="99954" y="235966"/>
                      <a:pt x="99954" y="235966"/>
                    </a:cubicBezTo>
                    <a:cubicBezTo>
                      <a:pt x="93874" y="238184"/>
                      <a:pt x="88900" y="234858"/>
                      <a:pt x="88900" y="228760"/>
                    </a:cubicBezTo>
                    <a:cubicBezTo>
                      <a:pt x="88900" y="100701"/>
                      <a:pt x="88900" y="100701"/>
                      <a:pt x="88900" y="100701"/>
                    </a:cubicBezTo>
                    <a:cubicBezTo>
                      <a:pt x="88900" y="94603"/>
                      <a:pt x="93874" y="87397"/>
                      <a:pt x="99954" y="85179"/>
                    </a:cubicBezTo>
                    <a:cubicBezTo>
                      <a:pt x="152459" y="66331"/>
                      <a:pt x="152459" y="66331"/>
                      <a:pt x="152459" y="66331"/>
                    </a:cubicBezTo>
                    <a:close/>
                    <a:moveTo>
                      <a:pt x="240892" y="32460"/>
                    </a:moveTo>
                    <a:cubicBezTo>
                      <a:pt x="247475" y="30222"/>
                      <a:pt x="252413" y="33578"/>
                      <a:pt x="252413" y="39732"/>
                    </a:cubicBezTo>
                    <a:cubicBezTo>
                      <a:pt x="252413" y="169514"/>
                      <a:pt x="252413" y="169514"/>
                      <a:pt x="252413" y="169514"/>
                    </a:cubicBezTo>
                    <a:cubicBezTo>
                      <a:pt x="252413" y="175668"/>
                      <a:pt x="247475" y="182380"/>
                      <a:pt x="240892" y="184618"/>
                    </a:cubicBezTo>
                    <a:cubicBezTo>
                      <a:pt x="188772" y="204197"/>
                      <a:pt x="188772" y="204197"/>
                      <a:pt x="188772" y="204197"/>
                    </a:cubicBezTo>
                    <a:cubicBezTo>
                      <a:pt x="182737" y="206435"/>
                      <a:pt x="177800" y="203078"/>
                      <a:pt x="177800" y="196925"/>
                    </a:cubicBezTo>
                    <a:cubicBezTo>
                      <a:pt x="177800" y="67702"/>
                      <a:pt x="177800" y="67702"/>
                      <a:pt x="177800" y="67702"/>
                    </a:cubicBezTo>
                    <a:cubicBezTo>
                      <a:pt x="177800" y="61549"/>
                      <a:pt x="182737" y="54276"/>
                      <a:pt x="188772" y="52039"/>
                    </a:cubicBezTo>
                    <a:cubicBezTo>
                      <a:pt x="240892" y="32460"/>
                      <a:pt x="240892" y="32460"/>
                      <a:pt x="240892" y="32460"/>
                    </a:cubicBezTo>
                    <a:close/>
                    <a:moveTo>
                      <a:pt x="330259" y="689"/>
                    </a:moveTo>
                    <a:cubicBezTo>
                      <a:pt x="336339" y="-1528"/>
                      <a:pt x="341313" y="1798"/>
                      <a:pt x="341313" y="7896"/>
                    </a:cubicBezTo>
                    <a:cubicBezTo>
                      <a:pt x="341313" y="136509"/>
                      <a:pt x="341313" y="136509"/>
                      <a:pt x="341313" y="136509"/>
                    </a:cubicBezTo>
                    <a:cubicBezTo>
                      <a:pt x="341313" y="142607"/>
                      <a:pt x="336339" y="149259"/>
                      <a:pt x="330259" y="151477"/>
                    </a:cubicBezTo>
                    <a:cubicBezTo>
                      <a:pt x="277754" y="170879"/>
                      <a:pt x="277754" y="170879"/>
                      <a:pt x="277754" y="170879"/>
                    </a:cubicBezTo>
                    <a:cubicBezTo>
                      <a:pt x="271674" y="173097"/>
                      <a:pt x="266700" y="169771"/>
                      <a:pt x="266700" y="163673"/>
                    </a:cubicBezTo>
                    <a:cubicBezTo>
                      <a:pt x="266700" y="35614"/>
                      <a:pt x="266700" y="35614"/>
                      <a:pt x="266700" y="35614"/>
                    </a:cubicBezTo>
                    <a:cubicBezTo>
                      <a:pt x="266700" y="28962"/>
                      <a:pt x="271674" y="22310"/>
                      <a:pt x="277754" y="20092"/>
                    </a:cubicBezTo>
                    <a:cubicBezTo>
                      <a:pt x="330259" y="689"/>
                      <a:pt x="330259" y="689"/>
                      <a:pt x="330259" y="689"/>
                    </a:cubicBez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321" name="Freeform 43">
                <a:extLst>
                  <a:ext uri="{FF2B5EF4-FFF2-40B4-BE49-F238E27FC236}">
                    <a16:creationId xmlns:a16="http://schemas.microsoft.com/office/drawing/2014/main" id="{0175E8F1-0023-4394-AA8F-EB0AF6B53F81}"/>
                  </a:ext>
                </a:extLst>
              </p:cNvPr>
              <p:cNvSpPr>
                <a:spLocks/>
              </p:cNvSpPr>
              <p:nvPr/>
            </p:nvSpPr>
            <p:spPr bwMode="auto">
              <a:xfrm>
                <a:off x="5245101" y="2050707"/>
                <a:ext cx="420687" cy="1703390"/>
              </a:xfrm>
              <a:custGeom>
                <a:avLst/>
                <a:gdLst>
                  <a:gd name="T0" fmla="*/ 41 w 758"/>
                  <a:gd name="T1" fmla="*/ 2808 h 3063"/>
                  <a:gd name="T2" fmla="*/ 717 w 758"/>
                  <a:gd name="T3" fmla="*/ 3055 h 3063"/>
                  <a:gd name="T4" fmla="*/ 758 w 758"/>
                  <a:gd name="T5" fmla="*/ 3029 h 3063"/>
                  <a:gd name="T6" fmla="*/ 758 w 758"/>
                  <a:gd name="T7" fmla="*/ 309 h 3063"/>
                  <a:gd name="T8" fmla="*/ 717 w 758"/>
                  <a:gd name="T9" fmla="*/ 254 h 3063"/>
                  <a:gd name="T10" fmla="*/ 41 w 758"/>
                  <a:gd name="T11" fmla="*/ 8 h 3063"/>
                  <a:gd name="T12" fmla="*/ 0 w 758"/>
                  <a:gd name="T13" fmla="*/ 34 h 3063"/>
                  <a:gd name="T14" fmla="*/ 0 w 758"/>
                  <a:gd name="T15" fmla="*/ 2753 h 3063"/>
                  <a:gd name="T16" fmla="*/ 41 w 758"/>
                  <a:gd name="T17" fmla="*/ 2808 h 3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8" h="3063">
                    <a:moveTo>
                      <a:pt x="41" y="2808"/>
                    </a:moveTo>
                    <a:cubicBezTo>
                      <a:pt x="717" y="3055"/>
                      <a:pt x="717" y="3055"/>
                      <a:pt x="717" y="3055"/>
                    </a:cubicBezTo>
                    <a:cubicBezTo>
                      <a:pt x="740" y="3063"/>
                      <a:pt x="758" y="3051"/>
                      <a:pt x="758" y="3029"/>
                    </a:cubicBezTo>
                    <a:cubicBezTo>
                      <a:pt x="758" y="309"/>
                      <a:pt x="758" y="309"/>
                      <a:pt x="758" y="309"/>
                    </a:cubicBezTo>
                    <a:cubicBezTo>
                      <a:pt x="758" y="287"/>
                      <a:pt x="740" y="262"/>
                      <a:pt x="717" y="254"/>
                    </a:cubicBezTo>
                    <a:cubicBezTo>
                      <a:pt x="41" y="8"/>
                      <a:pt x="41" y="8"/>
                      <a:pt x="41" y="8"/>
                    </a:cubicBezTo>
                    <a:cubicBezTo>
                      <a:pt x="18" y="0"/>
                      <a:pt x="0" y="11"/>
                      <a:pt x="0" y="34"/>
                    </a:cubicBezTo>
                    <a:cubicBezTo>
                      <a:pt x="0" y="2753"/>
                      <a:pt x="0" y="2753"/>
                      <a:pt x="0" y="2753"/>
                    </a:cubicBezTo>
                    <a:cubicBezTo>
                      <a:pt x="0" y="2775"/>
                      <a:pt x="18" y="2800"/>
                      <a:pt x="41" y="2808"/>
                    </a:cubicBezTo>
                    <a:close/>
                  </a:path>
                </a:pathLst>
              </a:custGeom>
              <a:solidFill>
                <a:srgbClr val="3253DC"/>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79248" tIns="39624" rIns="79248" bIns="39624" numCol="1" spcCol="0" rtlCol="0" fromWordArt="0" anchor="t" anchorCtr="0" forceAA="0" compatLnSpc="1">
                <a:prstTxWarp prst="textNoShape">
                  <a:avLst/>
                </a:prstTxWarp>
                <a:noAutofit/>
              </a:bodyPr>
              <a:lstStyle/>
              <a:p>
                <a:pPr defTabSz="792462"/>
                <a:endParaRPr lang="de-DE" sz="1382">
                  <a:solidFill>
                    <a:prstClr val="black"/>
                  </a:solidFill>
                  <a:latin typeface="Microsoft Sans Serif"/>
                </a:endParaRPr>
              </a:p>
            </p:txBody>
          </p:sp>
          <p:sp>
            <p:nvSpPr>
              <p:cNvPr id="322" name="Freeform 44">
                <a:extLst>
                  <a:ext uri="{FF2B5EF4-FFF2-40B4-BE49-F238E27FC236}">
                    <a16:creationId xmlns:a16="http://schemas.microsoft.com/office/drawing/2014/main" id="{0D78CCE9-C1E4-40C8-AA19-BD4B2C336FB4}"/>
                  </a:ext>
                </a:extLst>
              </p:cNvPr>
              <p:cNvSpPr>
                <a:spLocks/>
              </p:cNvSpPr>
              <p:nvPr/>
            </p:nvSpPr>
            <p:spPr bwMode="auto">
              <a:xfrm>
                <a:off x="5200650" y="2079277"/>
                <a:ext cx="420687" cy="1704975"/>
              </a:xfrm>
              <a:custGeom>
                <a:avLst/>
                <a:gdLst>
                  <a:gd name="T0" fmla="*/ 41 w 758"/>
                  <a:gd name="T1" fmla="*/ 2809 h 3063"/>
                  <a:gd name="T2" fmla="*/ 717 w 758"/>
                  <a:gd name="T3" fmla="*/ 3055 h 3063"/>
                  <a:gd name="T4" fmla="*/ 758 w 758"/>
                  <a:gd name="T5" fmla="*/ 3029 h 3063"/>
                  <a:gd name="T6" fmla="*/ 758 w 758"/>
                  <a:gd name="T7" fmla="*/ 310 h 3063"/>
                  <a:gd name="T8" fmla="*/ 717 w 758"/>
                  <a:gd name="T9" fmla="*/ 254 h 3063"/>
                  <a:gd name="T10" fmla="*/ 41 w 758"/>
                  <a:gd name="T11" fmla="*/ 8 h 3063"/>
                  <a:gd name="T12" fmla="*/ 0 w 758"/>
                  <a:gd name="T13" fmla="*/ 34 h 3063"/>
                  <a:gd name="T14" fmla="*/ 0 w 758"/>
                  <a:gd name="T15" fmla="*/ 2753 h 3063"/>
                  <a:gd name="T16" fmla="*/ 41 w 758"/>
                  <a:gd name="T17" fmla="*/ 2809 h 3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8" h="3063">
                    <a:moveTo>
                      <a:pt x="41" y="2809"/>
                    </a:moveTo>
                    <a:cubicBezTo>
                      <a:pt x="717" y="3055"/>
                      <a:pt x="717" y="3055"/>
                      <a:pt x="717" y="3055"/>
                    </a:cubicBezTo>
                    <a:cubicBezTo>
                      <a:pt x="740" y="3063"/>
                      <a:pt x="758" y="3051"/>
                      <a:pt x="758" y="3029"/>
                    </a:cubicBezTo>
                    <a:cubicBezTo>
                      <a:pt x="758" y="310"/>
                      <a:pt x="758" y="310"/>
                      <a:pt x="758" y="310"/>
                    </a:cubicBezTo>
                    <a:cubicBezTo>
                      <a:pt x="758" y="287"/>
                      <a:pt x="740" y="262"/>
                      <a:pt x="717" y="254"/>
                    </a:cubicBezTo>
                    <a:cubicBezTo>
                      <a:pt x="41" y="8"/>
                      <a:pt x="41" y="8"/>
                      <a:pt x="41" y="8"/>
                    </a:cubicBezTo>
                    <a:cubicBezTo>
                      <a:pt x="19" y="0"/>
                      <a:pt x="0" y="11"/>
                      <a:pt x="0" y="34"/>
                    </a:cubicBezTo>
                    <a:cubicBezTo>
                      <a:pt x="0" y="2753"/>
                      <a:pt x="0" y="2753"/>
                      <a:pt x="0" y="2753"/>
                    </a:cubicBezTo>
                    <a:cubicBezTo>
                      <a:pt x="0" y="2776"/>
                      <a:pt x="19" y="2801"/>
                      <a:pt x="41" y="2809"/>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lt1"/>
                  </a:solidFill>
                </a:endParaRPr>
              </a:p>
            </p:txBody>
          </p:sp>
          <p:sp>
            <p:nvSpPr>
              <p:cNvPr id="323" name="Freeform 45">
                <a:extLst>
                  <a:ext uri="{FF2B5EF4-FFF2-40B4-BE49-F238E27FC236}">
                    <a16:creationId xmlns:a16="http://schemas.microsoft.com/office/drawing/2014/main" id="{FDB7C88C-0D7E-4350-B091-8A992E18BD7A}"/>
                  </a:ext>
                </a:extLst>
              </p:cNvPr>
              <p:cNvSpPr>
                <a:spLocks/>
              </p:cNvSpPr>
              <p:nvPr/>
            </p:nvSpPr>
            <p:spPr bwMode="auto">
              <a:xfrm>
                <a:off x="5156201" y="2109438"/>
                <a:ext cx="420687" cy="1703387"/>
              </a:xfrm>
              <a:custGeom>
                <a:avLst/>
                <a:gdLst>
                  <a:gd name="T0" fmla="*/ 40 w 757"/>
                  <a:gd name="T1" fmla="*/ 2809 h 3063"/>
                  <a:gd name="T2" fmla="*/ 717 w 757"/>
                  <a:gd name="T3" fmla="*/ 3055 h 3063"/>
                  <a:gd name="T4" fmla="*/ 757 w 757"/>
                  <a:gd name="T5" fmla="*/ 3029 h 3063"/>
                  <a:gd name="T6" fmla="*/ 757 w 757"/>
                  <a:gd name="T7" fmla="*/ 310 h 3063"/>
                  <a:gd name="T8" fmla="*/ 717 w 757"/>
                  <a:gd name="T9" fmla="*/ 255 h 3063"/>
                  <a:gd name="T10" fmla="*/ 40 w 757"/>
                  <a:gd name="T11" fmla="*/ 8 h 3063"/>
                  <a:gd name="T12" fmla="*/ 0 w 757"/>
                  <a:gd name="T13" fmla="*/ 34 h 3063"/>
                  <a:gd name="T14" fmla="*/ 0 w 757"/>
                  <a:gd name="T15" fmla="*/ 2754 h 3063"/>
                  <a:gd name="T16" fmla="*/ 40 w 757"/>
                  <a:gd name="T17" fmla="*/ 2809 h 3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7" h="3063">
                    <a:moveTo>
                      <a:pt x="40" y="2809"/>
                    </a:moveTo>
                    <a:cubicBezTo>
                      <a:pt x="717" y="3055"/>
                      <a:pt x="717" y="3055"/>
                      <a:pt x="717" y="3055"/>
                    </a:cubicBezTo>
                    <a:cubicBezTo>
                      <a:pt x="739" y="3063"/>
                      <a:pt x="757" y="3052"/>
                      <a:pt x="757" y="3029"/>
                    </a:cubicBezTo>
                    <a:cubicBezTo>
                      <a:pt x="757" y="310"/>
                      <a:pt x="757" y="310"/>
                      <a:pt x="757" y="310"/>
                    </a:cubicBezTo>
                    <a:cubicBezTo>
                      <a:pt x="757" y="288"/>
                      <a:pt x="739" y="263"/>
                      <a:pt x="717" y="255"/>
                    </a:cubicBezTo>
                    <a:cubicBezTo>
                      <a:pt x="40" y="8"/>
                      <a:pt x="40" y="8"/>
                      <a:pt x="40" y="8"/>
                    </a:cubicBezTo>
                    <a:cubicBezTo>
                      <a:pt x="18" y="0"/>
                      <a:pt x="0" y="12"/>
                      <a:pt x="0" y="34"/>
                    </a:cubicBezTo>
                    <a:cubicBezTo>
                      <a:pt x="0" y="2754"/>
                      <a:pt x="0" y="2754"/>
                      <a:pt x="0" y="2754"/>
                    </a:cubicBezTo>
                    <a:cubicBezTo>
                      <a:pt x="0" y="2776"/>
                      <a:pt x="18" y="2801"/>
                      <a:pt x="40" y="2809"/>
                    </a:cubicBezTo>
                    <a:close/>
                  </a:path>
                </a:pathLst>
              </a:custGeom>
              <a:solidFill>
                <a:srgbClr val="3253DC"/>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79248" tIns="39624" rIns="79248" bIns="39624" numCol="1" spcCol="0" rtlCol="0" fromWordArt="0" anchor="t" anchorCtr="0" forceAA="0" compatLnSpc="1">
                <a:prstTxWarp prst="textNoShape">
                  <a:avLst/>
                </a:prstTxWarp>
                <a:noAutofit/>
              </a:bodyPr>
              <a:lstStyle/>
              <a:p>
                <a:pPr defTabSz="792462"/>
                <a:endParaRPr lang="de-DE" sz="1382">
                  <a:solidFill>
                    <a:prstClr val="black"/>
                  </a:solidFill>
                  <a:latin typeface="Microsoft Sans Serif"/>
                </a:endParaRPr>
              </a:p>
            </p:txBody>
          </p:sp>
          <p:sp>
            <p:nvSpPr>
              <p:cNvPr id="324" name="Freeform 46">
                <a:extLst>
                  <a:ext uri="{FF2B5EF4-FFF2-40B4-BE49-F238E27FC236}">
                    <a16:creationId xmlns:a16="http://schemas.microsoft.com/office/drawing/2014/main" id="{9BEABFFC-28CF-44D0-9A45-BD5C9C71CE9C}"/>
                  </a:ext>
                </a:extLst>
              </p:cNvPr>
              <p:cNvSpPr>
                <a:spLocks/>
              </p:cNvSpPr>
              <p:nvPr/>
            </p:nvSpPr>
            <p:spPr bwMode="auto">
              <a:xfrm>
                <a:off x="5111750" y="2139604"/>
                <a:ext cx="420687" cy="1703390"/>
              </a:xfrm>
              <a:custGeom>
                <a:avLst/>
                <a:gdLst>
                  <a:gd name="T0" fmla="*/ 40 w 757"/>
                  <a:gd name="T1" fmla="*/ 2808 h 3063"/>
                  <a:gd name="T2" fmla="*/ 717 w 757"/>
                  <a:gd name="T3" fmla="*/ 3055 h 3063"/>
                  <a:gd name="T4" fmla="*/ 757 w 757"/>
                  <a:gd name="T5" fmla="*/ 3029 h 3063"/>
                  <a:gd name="T6" fmla="*/ 757 w 757"/>
                  <a:gd name="T7" fmla="*/ 309 h 3063"/>
                  <a:gd name="T8" fmla="*/ 717 w 757"/>
                  <a:gd name="T9" fmla="*/ 254 h 3063"/>
                  <a:gd name="T10" fmla="*/ 40 w 757"/>
                  <a:gd name="T11" fmla="*/ 8 h 3063"/>
                  <a:gd name="T12" fmla="*/ 0 w 757"/>
                  <a:gd name="T13" fmla="*/ 34 h 3063"/>
                  <a:gd name="T14" fmla="*/ 0 w 757"/>
                  <a:gd name="T15" fmla="*/ 2753 h 3063"/>
                  <a:gd name="T16" fmla="*/ 40 w 757"/>
                  <a:gd name="T17" fmla="*/ 2808 h 3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7" h="3063">
                    <a:moveTo>
                      <a:pt x="40" y="2808"/>
                    </a:moveTo>
                    <a:cubicBezTo>
                      <a:pt x="717" y="3055"/>
                      <a:pt x="717" y="3055"/>
                      <a:pt x="717" y="3055"/>
                    </a:cubicBezTo>
                    <a:cubicBezTo>
                      <a:pt x="739" y="3063"/>
                      <a:pt x="757" y="3051"/>
                      <a:pt x="757" y="3029"/>
                    </a:cubicBezTo>
                    <a:cubicBezTo>
                      <a:pt x="757" y="309"/>
                      <a:pt x="757" y="309"/>
                      <a:pt x="757" y="309"/>
                    </a:cubicBezTo>
                    <a:cubicBezTo>
                      <a:pt x="757" y="287"/>
                      <a:pt x="739" y="262"/>
                      <a:pt x="717" y="254"/>
                    </a:cubicBezTo>
                    <a:cubicBezTo>
                      <a:pt x="40" y="8"/>
                      <a:pt x="40" y="8"/>
                      <a:pt x="40" y="8"/>
                    </a:cubicBezTo>
                    <a:cubicBezTo>
                      <a:pt x="18" y="0"/>
                      <a:pt x="0" y="11"/>
                      <a:pt x="0" y="34"/>
                    </a:cubicBezTo>
                    <a:cubicBezTo>
                      <a:pt x="0" y="2753"/>
                      <a:pt x="0" y="2753"/>
                      <a:pt x="0" y="2753"/>
                    </a:cubicBezTo>
                    <a:cubicBezTo>
                      <a:pt x="0" y="2775"/>
                      <a:pt x="18" y="2800"/>
                      <a:pt x="40" y="280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lt1"/>
                  </a:solidFill>
                </a:endParaRPr>
              </a:p>
            </p:txBody>
          </p:sp>
          <p:sp>
            <p:nvSpPr>
              <p:cNvPr id="325" name="Freeform: Shape 324">
                <a:extLst>
                  <a:ext uri="{FF2B5EF4-FFF2-40B4-BE49-F238E27FC236}">
                    <a16:creationId xmlns:a16="http://schemas.microsoft.com/office/drawing/2014/main" id="{C21C5D0F-B524-464A-8566-A8F1FBF31D2F}"/>
                  </a:ext>
                </a:extLst>
              </p:cNvPr>
              <p:cNvSpPr>
                <a:spLocks/>
              </p:cNvSpPr>
              <p:nvPr/>
            </p:nvSpPr>
            <p:spPr bwMode="auto">
              <a:xfrm>
                <a:off x="5151438" y="2233204"/>
                <a:ext cx="341312" cy="1516167"/>
              </a:xfrm>
              <a:custGeom>
                <a:avLst/>
                <a:gdLst>
                  <a:gd name="connsiteX0" fmla="*/ 276318 w 341312"/>
                  <a:gd name="connsiteY0" fmla="*/ 1344294 h 1516168"/>
                  <a:gd name="connsiteX1" fmla="*/ 329546 w 341312"/>
                  <a:gd name="connsiteY1" fmla="*/ 1363314 h 1516168"/>
                  <a:gd name="connsiteX2" fmla="*/ 341312 w 341312"/>
                  <a:gd name="connsiteY2" fmla="*/ 1378977 h 1516168"/>
                  <a:gd name="connsiteX3" fmla="*/ 341312 w 341312"/>
                  <a:gd name="connsiteY3" fmla="*/ 1508200 h 1516168"/>
                  <a:gd name="connsiteX4" fmla="*/ 329546 w 341312"/>
                  <a:gd name="connsiteY4" fmla="*/ 1515473 h 1516168"/>
                  <a:gd name="connsiteX5" fmla="*/ 276318 w 341312"/>
                  <a:gd name="connsiteY5" fmla="*/ 1495893 h 1516168"/>
                  <a:gd name="connsiteX6" fmla="*/ 265112 w 341312"/>
                  <a:gd name="connsiteY6" fmla="*/ 1480789 h 1516168"/>
                  <a:gd name="connsiteX7" fmla="*/ 265112 w 341312"/>
                  <a:gd name="connsiteY7" fmla="*/ 1351007 h 1516168"/>
                  <a:gd name="connsiteX8" fmla="*/ 276318 w 341312"/>
                  <a:gd name="connsiteY8" fmla="*/ 1344294 h 1516168"/>
                  <a:gd name="connsiteX9" fmla="*/ 188854 w 341312"/>
                  <a:gd name="connsiteY9" fmla="*/ 1311965 h 1516168"/>
                  <a:gd name="connsiteX10" fmla="*/ 241359 w 341312"/>
                  <a:gd name="connsiteY10" fmla="*/ 1331367 h 1516168"/>
                  <a:gd name="connsiteX11" fmla="*/ 252413 w 341312"/>
                  <a:gd name="connsiteY11" fmla="*/ 1346890 h 1516168"/>
                  <a:gd name="connsiteX12" fmla="*/ 252413 w 341312"/>
                  <a:gd name="connsiteY12" fmla="*/ 1474948 h 1516168"/>
                  <a:gd name="connsiteX13" fmla="*/ 241359 w 341312"/>
                  <a:gd name="connsiteY13" fmla="*/ 1482155 h 1516168"/>
                  <a:gd name="connsiteX14" fmla="*/ 188854 w 341312"/>
                  <a:gd name="connsiteY14" fmla="*/ 1462752 h 1516168"/>
                  <a:gd name="connsiteX15" fmla="*/ 177800 w 341312"/>
                  <a:gd name="connsiteY15" fmla="*/ 1447784 h 1516168"/>
                  <a:gd name="connsiteX16" fmla="*/ 177800 w 341312"/>
                  <a:gd name="connsiteY16" fmla="*/ 1319171 h 1516168"/>
                  <a:gd name="connsiteX17" fmla="*/ 188854 w 341312"/>
                  <a:gd name="connsiteY17" fmla="*/ 1311965 h 1516168"/>
                  <a:gd name="connsiteX18" fmla="*/ 99873 w 341312"/>
                  <a:gd name="connsiteY18" fmla="*/ 1280215 h 1516168"/>
                  <a:gd name="connsiteX19" fmla="*/ 151992 w 341312"/>
                  <a:gd name="connsiteY19" fmla="*/ 1299617 h 1516168"/>
                  <a:gd name="connsiteX20" fmla="*/ 163513 w 341312"/>
                  <a:gd name="connsiteY20" fmla="*/ 1315140 h 1516168"/>
                  <a:gd name="connsiteX21" fmla="*/ 163513 w 341312"/>
                  <a:gd name="connsiteY21" fmla="*/ 1443198 h 1516168"/>
                  <a:gd name="connsiteX22" fmla="*/ 151992 w 341312"/>
                  <a:gd name="connsiteY22" fmla="*/ 1450405 h 1516168"/>
                  <a:gd name="connsiteX23" fmla="*/ 99873 w 341312"/>
                  <a:gd name="connsiteY23" fmla="*/ 1431002 h 1516168"/>
                  <a:gd name="connsiteX24" fmla="*/ 88900 w 341312"/>
                  <a:gd name="connsiteY24" fmla="*/ 1416034 h 1516168"/>
                  <a:gd name="connsiteX25" fmla="*/ 88900 w 341312"/>
                  <a:gd name="connsiteY25" fmla="*/ 1287421 h 1516168"/>
                  <a:gd name="connsiteX26" fmla="*/ 99873 w 341312"/>
                  <a:gd name="connsiteY26" fmla="*/ 1280215 h 1516168"/>
                  <a:gd name="connsiteX27" fmla="*/ 11054 w 341312"/>
                  <a:gd name="connsiteY27" fmla="*/ 1246897 h 1516168"/>
                  <a:gd name="connsiteX28" fmla="*/ 63559 w 341312"/>
                  <a:gd name="connsiteY28" fmla="*/ 1266476 h 1516168"/>
                  <a:gd name="connsiteX29" fmla="*/ 74613 w 341312"/>
                  <a:gd name="connsiteY29" fmla="*/ 1282139 h 1516168"/>
                  <a:gd name="connsiteX30" fmla="*/ 74613 w 341312"/>
                  <a:gd name="connsiteY30" fmla="*/ 1411362 h 1516168"/>
                  <a:gd name="connsiteX31" fmla="*/ 63559 w 341312"/>
                  <a:gd name="connsiteY31" fmla="*/ 1418635 h 1516168"/>
                  <a:gd name="connsiteX32" fmla="*/ 11054 w 341312"/>
                  <a:gd name="connsiteY32" fmla="*/ 1399055 h 1516168"/>
                  <a:gd name="connsiteX33" fmla="*/ 0 w 341312"/>
                  <a:gd name="connsiteY33" fmla="*/ 1383951 h 1516168"/>
                  <a:gd name="connsiteX34" fmla="*/ 0 w 341312"/>
                  <a:gd name="connsiteY34" fmla="*/ 1254169 h 1516168"/>
                  <a:gd name="connsiteX35" fmla="*/ 11054 w 341312"/>
                  <a:gd name="connsiteY35" fmla="*/ 1246897 h 1516168"/>
                  <a:gd name="connsiteX36" fmla="*/ 276318 w 341312"/>
                  <a:gd name="connsiteY36" fmla="*/ 1165914 h 1516168"/>
                  <a:gd name="connsiteX37" fmla="*/ 329546 w 341312"/>
                  <a:gd name="connsiteY37" fmla="*/ 1185317 h 1516168"/>
                  <a:gd name="connsiteX38" fmla="*/ 341312 w 341312"/>
                  <a:gd name="connsiteY38" fmla="*/ 1200839 h 1516168"/>
                  <a:gd name="connsiteX39" fmla="*/ 341312 w 341312"/>
                  <a:gd name="connsiteY39" fmla="*/ 1328898 h 1516168"/>
                  <a:gd name="connsiteX40" fmla="*/ 329546 w 341312"/>
                  <a:gd name="connsiteY40" fmla="*/ 1336105 h 1516168"/>
                  <a:gd name="connsiteX41" fmla="*/ 276318 w 341312"/>
                  <a:gd name="connsiteY41" fmla="*/ 1316702 h 1516168"/>
                  <a:gd name="connsiteX42" fmla="*/ 265112 w 341312"/>
                  <a:gd name="connsiteY42" fmla="*/ 1301734 h 1516168"/>
                  <a:gd name="connsiteX43" fmla="*/ 265112 w 341312"/>
                  <a:gd name="connsiteY43" fmla="*/ 1173121 h 1516168"/>
                  <a:gd name="connsiteX44" fmla="*/ 276318 w 341312"/>
                  <a:gd name="connsiteY44" fmla="*/ 1165914 h 1516168"/>
                  <a:gd name="connsiteX45" fmla="*/ 188854 w 341312"/>
                  <a:gd name="connsiteY45" fmla="*/ 1134164 h 1516168"/>
                  <a:gd name="connsiteX46" fmla="*/ 241359 w 341312"/>
                  <a:gd name="connsiteY46" fmla="*/ 1153567 h 1516168"/>
                  <a:gd name="connsiteX47" fmla="*/ 252413 w 341312"/>
                  <a:gd name="connsiteY47" fmla="*/ 1169089 h 1516168"/>
                  <a:gd name="connsiteX48" fmla="*/ 252413 w 341312"/>
                  <a:gd name="connsiteY48" fmla="*/ 1297148 h 1516168"/>
                  <a:gd name="connsiteX49" fmla="*/ 241359 w 341312"/>
                  <a:gd name="connsiteY49" fmla="*/ 1304355 h 1516168"/>
                  <a:gd name="connsiteX50" fmla="*/ 188854 w 341312"/>
                  <a:gd name="connsiteY50" fmla="*/ 1284952 h 1516168"/>
                  <a:gd name="connsiteX51" fmla="*/ 177800 w 341312"/>
                  <a:gd name="connsiteY51" fmla="*/ 1269984 h 1516168"/>
                  <a:gd name="connsiteX52" fmla="*/ 177800 w 341312"/>
                  <a:gd name="connsiteY52" fmla="*/ 1141371 h 1516168"/>
                  <a:gd name="connsiteX53" fmla="*/ 188854 w 341312"/>
                  <a:gd name="connsiteY53" fmla="*/ 1134164 h 1516168"/>
                  <a:gd name="connsiteX54" fmla="*/ 99873 w 341312"/>
                  <a:gd name="connsiteY54" fmla="*/ 1100847 h 1516168"/>
                  <a:gd name="connsiteX55" fmla="*/ 151992 w 341312"/>
                  <a:gd name="connsiteY55" fmla="*/ 1120426 h 1516168"/>
                  <a:gd name="connsiteX56" fmla="*/ 163513 w 341312"/>
                  <a:gd name="connsiteY56" fmla="*/ 1136089 h 1516168"/>
                  <a:gd name="connsiteX57" fmla="*/ 163513 w 341312"/>
                  <a:gd name="connsiteY57" fmla="*/ 1265312 h 1516168"/>
                  <a:gd name="connsiteX58" fmla="*/ 151992 w 341312"/>
                  <a:gd name="connsiteY58" fmla="*/ 1272585 h 1516168"/>
                  <a:gd name="connsiteX59" fmla="*/ 99873 w 341312"/>
                  <a:gd name="connsiteY59" fmla="*/ 1253005 h 1516168"/>
                  <a:gd name="connsiteX60" fmla="*/ 88900 w 341312"/>
                  <a:gd name="connsiteY60" fmla="*/ 1237342 h 1516168"/>
                  <a:gd name="connsiteX61" fmla="*/ 88900 w 341312"/>
                  <a:gd name="connsiteY61" fmla="*/ 1108119 h 1516168"/>
                  <a:gd name="connsiteX62" fmla="*/ 99873 w 341312"/>
                  <a:gd name="connsiteY62" fmla="*/ 1100847 h 1516168"/>
                  <a:gd name="connsiteX63" fmla="*/ 11054 w 341312"/>
                  <a:gd name="connsiteY63" fmla="*/ 1069076 h 1516168"/>
                  <a:gd name="connsiteX64" fmla="*/ 63559 w 341312"/>
                  <a:gd name="connsiteY64" fmla="*/ 1088479 h 1516168"/>
                  <a:gd name="connsiteX65" fmla="*/ 74613 w 341312"/>
                  <a:gd name="connsiteY65" fmla="*/ 1104001 h 1516168"/>
                  <a:gd name="connsiteX66" fmla="*/ 74613 w 341312"/>
                  <a:gd name="connsiteY66" fmla="*/ 1232060 h 1516168"/>
                  <a:gd name="connsiteX67" fmla="*/ 63559 w 341312"/>
                  <a:gd name="connsiteY67" fmla="*/ 1239266 h 1516168"/>
                  <a:gd name="connsiteX68" fmla="*/ 11054 w 341312"/>
                  <a:gd name="connsiteY68" fmla="*/ 1219864 h 1516168"/>
                  <a:gd name="connsiteX69" fmla="*/ 0 w 341312"/>
                  <a:gd name="connsiteY69" fmla="*/ 1204341 h 1516168"/>
                  <a:gd name="connsiteX70" fmla="*/ 0 w 341312"/>
                  <a:gd name="connsiteY70" fmla="*/ 1076283 h 1516168"/>
                  <a:gd name="connsiteX71" fmla="*/ 11054 w 341312"/>
                  <a:gd name="connsiteY71" fmla="*/ 1069076 h 1516168"/>
                  <a:gd name="connsiteX72" fmla="*/ 276318 w 341312"/>
                  <a:gd name="connsiteY72" fmla="*/ 988114 h 1516168"/>
                  <a:gd name="connsiteX73" fmla="*/ 329546 w 341312"/>
                  <a:gd name="connsiteY73" fmla="*/ 1007517 h 1516168"/>
                  <a:gd name="connsiteX74" fmla="*/ 341312 w 341312"/>
                  <a:gd name="connsiteY74" fmla="*/ 1023039 h 1516168"/>
                  <a:gd name="connsiteX75" fmla="*/ 341312 w 341312"/>
                  <a:gd name="connsiteY75" fmla="*/ 1151098 h 1516168"/>
                  <a:gd name="connsiteX76" fmla="*/ 329546 w 341312"/>
                  <a:gd name="connsiteY76" fmla="*/ 1158304 h 1516168"/>
                  <a:gd name="connsiteX77" fmla="*/ 276318 w 341312"/>
                  <a:gd name="connsiteY77" fmla="*/ 1138902 h 1516168"/>
                  <a:gd name="connsiteX78" fmla="*/ 265112 w 341312"/>
                  <a:gd name="connsiteY78" fmla="*/ 1123379 h 1516168"/>
                  <a:gd name="connsiteX79" fmla="*/ 265112 w 341312"/>
                  <a:gd name="connsiteY79" fmla="*/ 995321 h 1516168"/>
                  <a:gd name="connsiteX80" fmla="*/ 276318 w 341312"/>
                  <a:gd name="connsiteY80" fmla="*/ 988114 h 1516168"/>
                  <a:gd name="connsiteX81" fmla="*/ 188854 w 341312"/>
                  <a:gd name="connsiteY81" fmla="*/ 956364 h 1516168"/>
                  <a:gd name="connsiteX82" fmla="*/ 241359 w 341312"/>
                  <a:gd name="connsiteY82" fmla="*/ 975767 h 1516168"/>
                  <a:gd name="connsiteX83" fmla="*/ 252413 w 341312"/>
                  <a:gd name="connsiteY83" fmla="*/ 990735 h 1516168"/>
                  <a:gd name="connsiteX84" fmla="*/ 252413 w 341312"/>
                  <a:gd name="connsiteY84" fmla="*/ 1119348 h 1516168"/>
                  <a:gd name="connsiteX85" fmla="*/ 241359 w 341312"/>
                  <a:gd name="connsiteY85" fmla="*/ 1126554 h 1516168"/>
                  <a:gd name="connsiteX86" fmla="*/ 188854 w 341312"/>
                  <a:gd name="connsiteY86" fmla="*/ 1107152 h 1516168"/>
                  <a:gd name="connsiteX87" fmla="*/ 177800 w 341312"/>
                  <a:gd name="connsiteY87" fmla="*/ 1091629 h 1516168"/>
                  <a:gd name="connsiteX88" fmla="*/ 177800 w 341312"/>
                  <a:gd name="connsiteY88" fmla="*/ 963571 h 1516168"/>
                  <a:gd name="connsiteX89" fmla="*/ 188854 w 341312"/>
                  <a:gd name="connsiteY89" fmla="*/ 956364 h 1516168"/>
                  <a:gd name="connsiteX90" fmla="*/ 99873 w 341312"/>
                  <a:gd name="connsiteY90" fmla="*/ 923047 h 1516168"/>
                  <a:gd name="connsiteX91" fmla="*/ 151992 w 341312"/>
                  <a:gd name="connsiteY91" fmla="*/ 942626 h 1516168"/>
                  <a:gd name="connsiteX92" fmla="*/ 163513 w 341312"/>
                  <a:gd name="connsiteY92" fmla="*/ 957730 h 1516168"/>
                  <a:gd name="connsiteX93" fmla="*/ 163513 w 341312"/>
                  <a:gd name="connsiteY93" fmla="*/ 1087512 h 1516168"/>
                  <a:gd name="connsiteX94" fmla="*/ 151992 w 341312"/>
                  <a:gd name="connsiteY94" fmla="*/ 1094784 h 1516168"/>
                  <a:gd name="connsiteX95" fmla="*/ 99873 w 341312"/>
                  <a:gd name="connsiteY95" fmla="*/ 1075205 h 1516168"/>
                  <a:gd name="connsiteX96" fmla="*/ 88900 w 341312"/>
                  <a:gd name="connsiteY96" fmla="*/ 1059542 h 1516168"/>
                  <a:gd name="connsiteX97" fmla="*/ 88900 w 341312"/>
                  <a:gd name="connsiteY97" fmla="*/ 930319 h 1516168"/>
                  <a:gd name="connsiteX98" fmla="*/ 99873 w 341312"/>
                  <a:gd name="connsiteY98" fmla="*/ 923047 h 1516168"/>
                  <a:gd name="connsiteX99" fmla="*/ 11054 w 341312"/>
                  <a:gd name="connsiteY99" fmla="*/ 891276 h 1516168"/>
                  <a:gd name="connsiteX100" fmla="*/ 63559 w 341312"/>
                  <a:gd name="connsiteY100" fmla="*/ 910679 h 1516168"/>
                  <a:gd name="connsiteX101" fmla="*/ 74613 w 341312"/>
                  <a:gd name="connsiteY101" fmla="*/ 925647 h 1516168"/>
                  <a:gd name="connsiteX102" fmla="*/ 74613 w 341312"/>
                  <a:gd name="connsiteY102" fmla="*/ 1054260 h 1516168"/>
                  <a:gd name="connsiteX103" fmla="*/ 63559 w 341312"/>
                  <a:gd name="connsiteY103" fmla="*/ 1061466 h 1516168"/>
                  <a:gd name="connsiteX104" fmla="*/ 11054 w 341312"/>
                  <a:gd name="connsiteY104" fmla="*/ 1042064 h 1516168"/>
                  <a:gd name="connsiteX105" fmla="*/ 0 w 341312"/>
                  <a:gd name="connsiteY105" fmla="*/ 1026541 h 1516168"/>
                  <a:gd name="connsiteX106" fmla="*/ 0 w 341312"/>
                  <a:gd name="connsiteY106" fmla="*/ 898483 h 1516168"/>
                  <a:gd name="connsiteX107" fmla="*/ 11054 w 341312"/>
                  <a:gd name="connsiteY107" fmla="*/ 891276 h 1516168"/>
                  <a:gd name="connsiteX108" fmla="*/ 276318 w 341312"/>
                  <a:gd name="connsiteY108" fmla="*/ 810314 h 1516168"/>
                  <a:gd name="connsiteX109" fmla="*/ 329546 w 341312"/>
                  <a:gd name="connsiteY109" fmla="*/ 829717 h 1516168"/>
                  <a:gd name="connsiteX110" fmla="*/ 341312 w 341312"/>
                  <a:gd name="connsiteY110" fmla="*/ 844685 h 1516168"/>
                  <a:gd name="connsiteX111" fmla="*/ 341312 w 341312"/>
                  <a:gd name="connsiteY111" fmla="*/ 973298 h 1516168"/>
                  <a:gd name="connsiteX112" fmla="*/ 329546 w 341312"/>
                  <a:gd name="connsiteY112" fmla="*/ 980504 h 1516168"/>
                  <a:gd name="connsiteX113" fmla="*/ 276318 w 341312"/>
                  <a:gd name="connsiteY113" fmla="*/ 961102 h 1516168"/>
                  <a:gd name="connsiteX114" fmla="*/ 265112 w 341312"/>
                  <a:gd name="connsiteY114" fmla="*/ 945579 h 1516168"/>
                  <a:gd name="connsiteX115" fmla="*/ 265112 w 341312"/>
                  <a:gd name="connsiteY115" fmla="*/ 817521 h 1516168"/>
                  <a:gd name="connsiteX116" fmla="*/ 276318 w 341312"/>
                  <a:gd name="connsiteY116" fmla="*/ 810314 h 1516168"/>
                  <a:gd name="connsiteX117" fmla="*/ 188854 w 341312"/>
                  <a:gd name="connsiteY117" fmla="*/ 776997 h 1516168"/>
                  <a:gd name="connsiteX118" fmla="*/ 241359 w 341312"/>
                  <a:gd name="connsiteY118" fmla="*/ 796576 h 1516168"/>
                  <a:gd name="connsiteX119" fmla="*/ 252413 w 341312"/>
                  <a:gd name="connsiteY119" fmla="*/ 811680 h 1516168"/>
                  <a:gd name="connsiteX120" fmla="*/ 252413 w 341312"/>
                  <a:gd name="connsiteY120" fmla="*/ 941462 h 1516168"/>
                  <a:gd name="connsiteX121" fmla="*/ 241359 w 341312"/>
                  <a:gd name="connsiteY121" fmla="*/ 948175 h 1516168"/>
                  <a:gd name="connsiteX122" fmla="*/ 188854 w 341312"/>
                  <a:gd name="connsiteY122" fmla="*/ 929155 h 1516168"/>
                  <a:gd name="connsiteX123" fmla="*/ 177800 w 341312"/>
                  <a:gd name="connsiteY123" fmla="*/ 913492 h 1516168"/>
                  <a:gd name="connsiteX124" fmla="*/ 177800 w 341312"/>
                  <a:gd name="connsiteY124" fmla="*/ 784269 h 1516168"/>
                  <a:gd name="connsiteX125" fmla="*/ 188854 w 341312"/>
                  <a:gd name="connsiteY125" fmla="*/ 776997 h 1516168"/>
                  <a:gd name="connsiteX126" fmla="*/ 99873 w 341312"/>
                  <a:gd name="connsiteY126" fmla="*/ 745247 h 1516168"/>
                  <a:gd name="connsiteX127" fmla="*/ 151992 w 341312"/>
                  <a:gd name="connsiteY127" fmla="*/ 764826 h 1516168"/>
                  <a:gd name="connsiteX128" fmla="*/ 163513 w 341312"/>
                  <a:gd name="connsiteY128" fmla="*/ 779930 h 1516168"/>
                  <a:gd name="connsiteX129" fmla="*/ 163513 w 341312"/>
                  <a:gd name="connsiteY129" fmla="*/ 909712 h 1516168"/>
                  <a:gd name="connsiteX130" fmla="*/ 151992 w 341312"/>
                  <a:gd name="connsiteY130" fmla="*/ 916425 h 1516168"/>
                  <a:gd name="connsiteX131" fmla="*/ 99873 w 341312"/>
                  <a:gd name="connsiteY131" fmla="*/ 897405 h 1516168"/>
                  <a:gd name="connsiteX132" fmla="*/ 88900 w 341312"/>
                  <a:gd name="connsiteY132" fmla="*/ 881742 h 1516168"/>
                  <a:gd name="connsiteX133" fmla="*/ 88900 w 341312"/>
                  <a:gd name="connsiteY133" fmla="*/ 752519 h 1516168"/>
                  <a:gd name="connsiteX134" fmla="*/ 99873 w 341312"/>
                  <a:gd name="connsiteY134" fmla="*/ 745247 h 1516168"/>
                  <a:gd name="connsiteX135" fmla="*/ 11054 w 341312"/>
                  <a:gd name="connsiteY135" fmla="*/ 713483 h 1516168"/>
                  <a:gd name="connsiteX136" fmla="*/ 63559 w 341312"/>
                  <a:gd name="connsiteY136" fmla="*/ 732948 h 1516168"/>
                  <a:gd name="connsiteX137" fmla="*/ 74613 w 341312"/>
                  <a:gd name="connsiteY137" fmla="*/ 747963 h 1516168"/>
                  <a:gd name="connsiteX138" fmla="*/ 74613 w 341312"/>
                  <a:gd name="connsiteY138" fmla="*/ 876430 h 1516168"/>
                  <a:gd name="connsiteX139" fmla="*/ 63559 w 341312"/>
                  <a:gd name="connsiteY139" fmla="*/ 883659 h 1516168"/>
                  <a:gd name="connsiteX140" fmla="*/ 11054 w 341312"/>
                  <a:gd name="connsiteY140" fmla="*/ 864751 h 1516168"/>
                  <a:gd name="connsiteX141" fmla="*/ 0 w 341312"/>
                  <a:gd name="connsiteY141" fmla="*/ 849179 h 1516168"/>
                  <a:gd name="connsiteX142" fmla="*/ 0 w 341312"/>
                  <a:gd name="connsiteY142" fmla="*/ 720713 h 1516168"/>
                  <a:gd name="connsiteX143" fmla="*/ 11054 w 341312"/>
                  <a:gd name="connsiteY143" fmla="*/ 713483 h 1516168"/>
                  <a:gd name="connsiteX144" fmla="*/ 276318 w 341312"/>
                  <a:gd name="connsiteY144" fmla="*/ 632521 h 1516168"/>
                  <a:gd name="connsiteX145" fmla="*/ 329546 w 341312"/>
                  <a:gd name="connsiteY145" fmla="*/ 651986 h 1516168"/>
                  <a:gd name="connsiteX146" fmla="*/ 341312 w 341312"/>
                  <a:gd name="connsiteY146" fmla="*/ 667001 h 1516168"/>
                  <a:gd name="connsiteX147" fmla="*/ 341312 w 341312"/>
                  <a:gd name="connsiteY147" fmla="*/ 795468 h 1516168"/>
                  <a:gd name="connsiteX148" fmla="*/ 329546 w 341312"/>
                  <a:gd name="connsiteY148" fmla="*/ 802697 h 1516168"/>
                  <a:gd name="connsiteX149" fmla="*/ 276318 w 341312"/>
                  <a:gd name="connsiteY149" fmla="*/ 783789 h 1516168"/>
                  <a:gd name="connsiteX150" fmla="*/ 265112 w 341312"/>
                  <a:gd name="connsiteY150" fmla="*/ 768217 h 1516168"/>
                  <a:gd name="connsiteX151" fmla="*/ 265112 w 341312"/>
                  <a:gd name="connsiteY151" fmla="*/ 639751 h 1516168"/>
                  <a:gd name="connsiteX152" fmla="*/ 276318 w 341312"/>
                  <a:gd name="connsiteY152" fmla="*/ 632521 h 1516168"/>
                  <a:gd name="connsiteX153" fmla="*/ 188854 w 341312"/>
                  <a:gd name="connsiteY153" fmla="*/ 599183 h 1516168"/>
                  <a:gd name="connsiteX154" fmla="*/ 241359 w 341312"/>
                  <a:gd name="connsiteY154" fmla="*/ 618648 h 1516168"/>
                  <a:gd name="connsiteX155" fmla="*/ 252413 w 341312"/>
                  <a:gd name="connsiteY155" fmla="*/ 633663 h 1516168"/>
                  <a:gd name="connsiteX156" fmla="*/ 252413 w 341312"/>
                  <a:gd name="connsiteY156" fmla="*/ 762130 h 1516168"/>
                  <a:gd name="connsiteX157" fmla="*/ 241359 w 341312"/>
                  <a:gd name="connsiteY157" fmla="*/ 769359 h 1516168"/>
                  <a:gd name="connsiteX158" fmla="*/ 188854 w 341312"/>
                  <a:gd name="connsiteY158" fmla="*/ 750451 h 1516168"/>
                  <a:gd name="connsiteX159" fmla="*/ 177800 w 341312"/>
                  <a:gd name="connsiteY159" fmla="*/ 734879 h 1516168"/>
                  <a:gd name="connsiteX160" fmla="*/ 177800 w 341312"/>
                  <a:gd name="connsiteY160" fmla="*/ 606413 h 1516168"/>
                  <a:gd name="connsiteX161" fmla="*/ 188854 w 341312"/>
                  <a:gd name="connsiteY161" fmla="*/ 599183 h 1516168"/>
                  <a:gd name="connsiteX162" fmla="*/ 99873 w 341312"/>
                  <a:gd name="connsiteY162" fmla="*/ 567433 h 1516168"/>
                  <a:gd name="connsiteX163" fmla="*/ 151992 w 341312"/>
                  <a:gd name="connsiteY163" fmla="*/ 586342 h 1516168"/>
                  <a:gd name="connsiteX164" fmla="*/ 163513 w 341312"/>
                  <a:gd name="connsiteY164" fmla="*/ 601913 h 1516168"/>
                  <a:gd name="connsiteX165" fmla="*/ 163513 w 341312"/>
                  <a:gd name="connsiteY165" fmla="*/ 730380 h 1516168"/>
                  <a:gd name="connsiteX166" fmla="*/ 151992 w 341312"/>
                  <a:gd name="connsiteY166" fmla="*/ 737609 h 1516168"/>
                  <a:gd name="connsiteX167" fmla="*/ 99873 w 341312"/>
                  <a:gd name="connsiteY167" fmla="*/ 718701 h 1516168"/>
                  <a:gd name="connsiteX168" fmla="*/ 88900 w 341312"/>
                  <a:gd name="connsiteY168" fmla="*/ 703129 h 1516168"/>
                  <a:gd name="connsiteX169" fmla="*/ 88900 w 341312"/>
                  <a:gd name="connsiteY169" fmla="*/ 574663 h 1516168"/>
                  <a:gd name="connsiteX170" fmla="*/ 99873 w 341312"/>
                  <a:gd name="connsiteY170" fmla="*/ 567433 h 1516168"/>
                  <a:gd name="connsiteX171" fmla="*/ 11054 w 341312"/>
                  <a:gd name="connsiteY171" fmla="*/ 535683 h 1516168"/>
                  <a:gd name="connsiteX172" fmla="*/ 63559 w 341312"/>
                  <a:gd name="connsiteY172" fmla="*/ 554592 h 1516168"/>
                  <a:gd name="connsiteX173" fmla="*/ 74613 w 341312"/>
                  <a:gd name="connsiteY173" fmla="*/ 570163 h 1516168"/>
                  <a:gd name="connsiteX174" fmla="*/ 74613 w 341312"/>
                  <a:gd name="connsiteY174" fmla="*/ 698630 h 1516168"/>
                  <a:gd name="connsiteX175" fmla="*/ 63559 w 341312"/>
                  <a:gd name="connsiteY175" fmla="*/ 705859 h 1516168"/>
                  <a:gd name="connsiteX176" fmla="*/ 11054 w 341312"/>
                  <a:gd name="connsiteY176" fmla="*/ 686951 h 1516168"/>
                  <a:gd name="connsiteX177" fmla="*/ 0 w 341312"/>
                  <a:gd name="connsiteY177" fmla="*/ 671379 h 1516168"/>
                  <a:gd name="connsiteX178" fmla="*/ 0 w 341312"/>
                  <a:gd name="connsiteY178" fmla="*/ 542913 h 1516168"/>
                  <a:gd name="connsiteX179" fmla="*/ 11054 w 341312"/>
                  <a:gd name="connsiteY179" fmla="*/ 535683 h 1516168"/>
                  <a:gd name="connsiteX180" fmla="*/ 276318 w 341312"/>
                  <a:gd name="connsiteY180" fmla="*/ 453154 h 1516168"/>
                  <a:gd name="connsiteX181" fmla="*/ 329546 w 341312"/>
                  <a:gd name="connsiteY181" fmla="*/ 472234 h 1516168"/>
                  <a:gd name="connsiteX182" fmla="*/ 341312 w 341312"/>
                  <a:gd name="connsiteY182" fmla="*/ 487947 h 1516168"/>
                  <a:gd name="connsiteX183" fmla="*/ 341312 w 341312"/>
                  <a:gd name="connsiteY183" fmla="*/ 617582 h 1516168"/>
                  <a:gd name="connsiteX184" fmla="*/ 329546 w 341312"/>
                  <a:gd name="connsiteY184" fmla="*/ 624877 h 1516168"/>
                  <a:gd name="connsiteX185" fmla="*/ 276318 w 341312"/>
                  <a:gd name="connsiteY185" fmla="*/ 605797 h 1516168"/>
                  <a:gd name="connsiteX186" fmla="*/ 265112 w 341312"/>
                  <a:gd name="connsiteY186" fmla="*/ 590083 h 1516168"/>
                  <a:gd name="connsiteX187" fmla="*/ 265112 w 341312"/>
                  <a:gd name="connsiteY187" fmla="*/ 460449 h 1516168"/>
                  <a:gd name="connsiteX188" fmla="*/ 276318 w 341312"/>
                  <a:gd name="connsiteY188" fmla="*/ 453154 h 1516168"/>
                  <a:gd name="connsiteX189" fmla="*/ 188854 w 341312"/>
                  <a:gd name="connsiteY189" fmla="*/ 421383 h 1516168"/>
                  <a:gd name="connsiteX190" fmla="*/ 241359 w 341312"/>
                  <a:gd name="connsiteY190" fmla="*/ 440292 h 1516168"/>
                  <a:gd name="connsiteX191" fmla="*/ 252413 w 341312"/>
                  <a:gd name="connsiteY191" fmla="*/ 455863 h 1516168"/>
                  <a:gd name="connsiteX192" fmla="*/ 252413 w 341312"/>
                  <a:gd name="connsiteY192" fmla="*/ 584330 h 1516168"/>
                  <a:gd name="connsiteX193" fmla="*/ 241359 w 341312"/>
                  <a:gd name="connsiteY193" fmla="*/ 591559 h 1516168"/>
                  <a:gd name="connsiteX194" fmla="*/ 188854 w 341312"/>
                  <a:gd name="connsiteY194" fmla="*/ 572651 h 1516168"/>
                  <a:gd name="connsiteX195" fmla="*/ 177800 w 341312"/>
                  <a:gd name="connsiteY195" fmla="*/ 557079 h 1516168"/>
                  <a:gd name="connsiteX196" fmla="*/ 177800 w 341312"/>
                  <a:gd name="connsiteY196" fmla="*/ 428613 h 1516168"/>
                  <a:gd name="connsiteX197" fmla="*/ 188854 w 341312"/>
                  <a:gd name="connsiteY197" fmla="*/ 421383 h 1516168"/>
                  <a:gd name="connsiteX198" fmla="*/ 99873 w 341312"/>
                  <a:gd name="connsiteY198" fmla="*/ 389633 h 1516168"/>
                  <a:gd name="connsiteX199" fmla="*/ 151992 w 341312"/>
                  <a:gd name="connsiteY199" fmla="*/ 408542 h 1516168"/>
                  <a:gd name="connsiteX200" fmla="*/ 163513 w 341312"/>
                  <a:gd name="connsiteY200" fmla="*/ 424113 h 1516168"/>
                  <a:gd name="connsiteX201" fmla="*/ 163513 w 341312"/>
                  <a:gd name="connsiteY201" fmla="*/ 552580 h 1516168"/>
                  <a:gd name="connsiteX202" fmla="*/ 151992 w 341312"/>
                  <a:gd name="connsiteY202" fmla="*/ 559809 h 1516168"/>
                  <a:gd name="connsiteX203" fmla="*/ 99873 w 341312"/>
                  <a:gd name="connsiteY203" fmla="*/ 540901 h 1516168"/>
                  <a:gd name="connsiteX204" fmla="*/ 88900 w 341312"/>
                  <a:gd name="connsiteY204" fmla="*/ 525329 h 1516168"/>
                  <a:gd name="connsiteX205" fmla="*/ 88900 w 341312"/>
                  <a:gd name="connsiteY205" fmla="*/ 396863 h 1516168"/>
                  <a:gd name="connsiteX206" fmla="*/ 99873 w 341312"/>
                  <a:gd name="connsiteY206" fmla="*/ 389633 h 1516168"/>
                  <a:gd name="connsiteX207" fmla="*/ 11054 w 341312"/>
                  <a:gd name="connsiteY207" fmla="*/ 356317 h 1516168"/>
                  <a:gd name="connsiteX208" fmla="*/ 63559 w 341312"/>
                  <a:gd name="connsiteY208" fmla="*/ 375397 h 1516168"/>
                  <a:gd name="connsiteX209" fmla="*/ 74613 w 341312"/>
                  <a:gd name="connsiteY209" fmla="*/ 391110 h 1516168"/>
                  <a:gd name="connsiteX210" fmla="*/ 74613 w 341312"/>
                  <a:gd name="connsiteY210" fmla="*/ 520745 h 1516168"/>
                  <a:gd name="connsiteX211" fmla="*/ 63559 w 341312"/>
                  <a:gd name="connsiteY211" fmla="*/ 528040 h 1516168"/>
                  <a:gd name="connsiteX212" fmla="*/ 11054 w 341312"/>
                  <a:gd name="connsiteY212" fmla="*/ 508960 h 1516168"/>
                  <a:gd name="connsiteX213" fmla="*/ 0 w 341312"/>
                  <a:gd name="connsiteY213" fmla="*/ 493246 h 1516168"/>
                  <a:gd name="connsiteX214" fmla="*/ 0 w 341312"/>
                  <a:gd name="connsiteY214" fmla="*/ 363612 h 1516168"/>
                  <a:gd name="connsiteX215" fmla="*/ 11054 w 341312"/>
                  <a:gd name="connsiteY215" fmla="*/ 356317 h 1516168"/>
                  <a:gd name="connsiteX216" fmla="*/ 276318 w 341312"/>
                  <a:gd name="connsiteY216" fmla="*/ 275333 h 1516168"/>
                  <a:gd name="connsiteX217" fmla="*/ 329546 w 341312"/>
                  <a:gd name="connsiteY217" fmla="*/ 294242 h 1516168"/>
                  <a:gd name="connsiteX218" fmla="*/ 341312 w 341312"/>
                  <a:gd name="connsiteY218" fmla="*/ 309813 h 1516168"/>
                  <a:gd name="connsiteX219" fmla="*/ 341312 w 341312"/>
                  <a:gd name="connsiteY219" fmla="*/ 438280 h 1516168"/>
                  <a:gd name="connsiteX220" fmla="*/ 329546 w 341312"/>
                  <a:gd name="connsiteY220" fmla="*/ 445509 h 1516168"/>
                  <a:gd name="connsiteX221" fmla="*/ 276318 w 341312"/>
                  <a:gd name="connsiteY221" fmla="*/ 426601 h 1516168"/>
                  <a:gd name="connsiteX222" fmla="*/ 265112 w 341312"/>
                  <a:gd name="connsiteY222" fmla="*/ 411029 h 1516168"/>
                  <a:gd name="connsiteX223" fmla="*/ 265112 w 341312"/>
                  <a:gd name="connsiteY223" fmla="*/ 282563 h 1516168"/>
                  <a:gd name="connsiteX224" fmla="*/ 276318 w 341312"/>
                  <a:gd name="connsiteY224" fmla="*/ 275333 h 1516168"/>
                  <a:gd name="connsiteX225" fmla="*/ 188854 w 341312"/>
                  <a:gd name="connsiteY225" fmla="*/ 243583 h 1516168"/>
                  <a:gd name="connsiteX226" fmla="*/ 241359 w 341312"/>
                  <a:gd name="connsiteY226" fmla="*/ 262492 h 1516168"/>
                  <a:gd name="connsiteX227" fmla="*/ 252413 w 341312"/>
                  <a:gd name="connsiteY227" fmla="*/ 278063 h 1516168"/>
                  <a:gd name="connsiteX228" fmla="*/ 252413 w 341312"/>
                  <a:gd name="connsiteY228" fmla="*/ 406530 h 1516168"/>
                  <a:gd name="connsiteX229" fmla="*/ 241359 w 341312"/>
                  <a:gd name="connsiteY229" fmla="*/ 413759 h 1516168"/>
                  <a:gd name="connsiteX230" fmla="*/ 188854 w 341312"/>
                  <a:gd name="connsiteY230" fmla="*/ 394295 h 1516168"/>
                  <a:gd name="connsiteX231" fmla="*/ 177800 w 341312"/>
                  <a:gd name="connsiteY231" fmla="*/ 379279 h 1516168"/>
                  <a:gd name="connsiteX232" fmla="*/ 177800 w 341312"/>
                  <a:gd name="connsiteY232" fmla="*/ 250813 h 1516168"/>
                  <a:gd name="connsiteX233" fmla="*/ 188854 w 341312"/>
                  <a:gd name="connsiteY233" fmla="*/ 243583 h 1516168"/>
                  <a:gd name="connsiteX234" fmla="*/ 99873 w 341312"/>
                  <a:gd name="connsiteY234" fmla="*/ 211833 h 1516168"/>
                  <a:gd name="connsiteX235" fmla="*/ 151992 w 341312"/>
                  <a:gd name="connsiteY235" fmla="*/ 230742 h 1516168"/>
                  <a:gd name="connsiteX236" fmla="*/ 163513 w 341312"/>
                  <a:gd name="connsiteY236" fmla="*/ 246313 h 1516168"/>
                  <a:gd name="connsiteX237" fmla="*/ 163513 w 341312"/>
                  <a:gd name="connsiteY237" fmla="*/ 374780 h 1516168"/>
                  <a:gd name="connsiteX238" fmla="*/ 151992 w 341312"/>
                  <a:gd name="connsiteY238" fmla="*/ 382009 h 1516168"/>
                  <a:gd name="connsiteX239" fmla="*/ 99873 w 341312"/>
                  <a:gd name="connsiteY239" fmla="*/ 362545 h 1516168"/>
                  <a:gd name="connsiteX240" fmla="*/ 88900 w 341312"/>
                  <a:gd name="connsiteY240" fmla="*/ 347529 h 1516168"/>
                  <a:gd name="connsiteX241" fmla="*/ 88900 w 341312"/>
                  <a:gd name="connsiteY241" fmla="*/ 219063 h 1516168"/>
                  <a:gd name="connsiteX242" fmla="*/ 99873 w 341312"/>
                  <a:gd name="connsiteY242" fmla="*/ 211833 h 1516168"/>
                  <a:gd name="connsiteX243" fmla="*/ 11054 w 341312"/>
                  <a:gd name="connsiteY243" fmla="*/ 179044 h 1516168"/>
                  <a:gd name="connsiteX244" fmla="*/ 63559 w 341312"/>
                  <a:gd name="connsiteY244" fmla="*/ 197892 h 1516168"/>
                  <a:gd name="connsiteX245" fmla="*/ 74613 w 341312"/>
                  <a:gd name="connsiteY245" fmla="*/ 213414 h 1516168"/>
                  <a:gd name="connsiteX246" fmla="*/ 74613 w 341312"/>
                  <a:gd name="connsiteY246" fmla="*/ 341473 h 1516168"/>
                  <a:gd name="connsiteX247" fmla="*/ 63559 w 341312"/>
                  <a:gd name="connsiteY247" fmla="*/ 348679 h 1516168"/>
                  <a:gd name="connsiteX248" fmla="*/ 11054 w 341312"/>
                  <a:gd name="connsiteY248" fmla="*/ 329277 h 1516168"/>
                  <a:gd name="connsiteX249" fmla="*/ 0 w 341312"/>
                  <a:gd name="connsiteY249" fmla="*/ 314309 h 1516168"/>
                  <a:gd name="connsiteX250" fmla="*/ 0 w 341312"/>
                  <a:gd name="connsiteY250" fmla="*/ 185696 h 1516168"/>
                  <a:gd name="connsiteX251" fmla="*/ 11054 w 341312"/>
                  <a:gd name="connsiteY251" fmla="*/ 179044 h 1516168"/>
                  <a:gd name="connsiteX252" fmla="*/ 276318 w 341312"/>
                  <a:gd name="connsiteY252" fmla="*/ 98081 h 1516168"/>
                  <a:gd name="connsiteX253" fmla="*/ 329546 w 341312"/>
                  <a:gd name="connsiteY253" fmla="*/ 116929 h 1516168"/>
                  <a:gd name="connsiteX254" fmla="*/ 341312 w 341312"/>
                  <a:gd name="connsiteY254" fmla="*/ 132451 h 1516168"/>
                  <a:gd name="connsiteX255" fmla="*/ 341312 w 341312"/>
                  <a:gd name="connsiteY255" fmla="*/ 260510 h 1516168"/>
                  <a:gd name="connsiteX256" fmla="*/ 329546 w 341312"/>
                  <a:gd name="connsiteY256" fmla="*/ 267716 h 1516168"/>
                  <a:gd name="connsiteX257" fmla="*/ 276318 w 341312"/>
                  <a:gd name="connsiteY257" fmla="*/ 248314 h 1516168"/>
                  <a:gd name="connsiteX258" fmla="*/ 265112 w 341312"/>
                  <a:gd name="connsiteY258" fmla="*/ 233346 h 1516168"/>
                  <a:gd name="connsiteX259" fmla="*/ 265112 w 341312"/>
                  <a:gd name="connsiteY259" fmla="*/ 104733 h 1516168"/>
                  <a:gd name="connsiteX260" fmla="*/ 276318 w 341312"/>
                  <a:gd name="connsiteY260" fmla="*/ 98081 h 1516168"/>
                  <a:gd name="connsiteX261" fmla="*/ 188854 w 341312"/>
                  <a:gd name="connsiteY261" fmla="*/ 66331 h 1516168"/>
                  <a:gd name="connsiteX262" fmla="*/ 241359 w 341312"/>
                  <a:gd name="connsiteY262" fmla="*/ 85179 h 1516168"/>
                  <a:gd name="connsiteX263" fmla="*/ 252413 w 341312"/>
                  <a:gd name="connsiteY263" fmla="*/ 100701 h 1516168"/>
                  <a:gd name="connsiteX264" fmla="*/ 252413 w 341312"/>
                  <a:gd name="connsiteY264" fmla="*/ 228760 h 1516168"/>
                  <a:gd name="connsiteX265" fmla="*/ 241359 w 341312"/>
                  <a:gd name="connsiteY265" fmla="*/ 235966 h 1516168"/>
                  <a:gd name="connsiteX266" fmla="*/ 188854 w 341312"/>
                  <a:gd name="connsiteY266" fmla="*/ 216564 h 1516168"/>
                  <a:gd name="connsiteX267" fmla="*/ 177800 w 341312"/>
                  <a:gd name="connsiteY267" fmla="*/ 201596 h 1516168"/>
                  <a:gd name="connsiteX268" fmla="*/ 177800 w 341312"/>
                  <a:gd name="connsiteY268" fmla="*/ 72983 h 1516168"/>
                  <a:gd name="connsiteX269" fmla="*/ 188854 w 341312"/>
                  <a:gd name="connsiteY269" fmla="*/ 66331 h 1516168"/>
                  <a:gd name="connsiteX270" fmla="*/ 99873 w 341312"/>
                  <a:gd name="connsiteY270" fmla="*/ 32460 h 1516168"/>
                  <a:gd name="connsiteX271" fmla="*/ 151992 w 341312"/>
                  <a:gd name="connsiteY271" fmla="*/ 52039 h 1516168"/>
                  <a:gd name="connsiteX272" fmla="*/ 163513 w 341312"/>
                  <a:gd name="connsiteY272" fmla="*/ 67702 h 1516168"/>
                  <a:gd name="connsiteX273" fmla="*/ 163513 w 341312"/>
                  <a:gd name="connsiteY273" fmla="*/ 196925 h 1516168"/>
                  <a:gd name="connsiteX274" fmla="*/ 151992 w 341312"/>
                  <a:gd name="connsiteY274" fmla="*/ 204197 h 1516168"/>
                  <a:gd name="connsiteX275" fmla="*/ 99873 w 341312"/>
                  <a:gd name="connsiteY275" fmla="*/ 184618 h 1516168"/>
                  <a:gd name="connsiteX276" fmla="*/ 88900 w 341312"/>
                  <a:gd name="connsiteY276" fmla="*/ 169514 h 1516168"/>
                  <a:gd name="connsiteX277" fmla="*/ 88900 w 341312"/>
                  <a:gd name="connsiteY277" fmla="*/ 39732 h 1516168"/>
                  <a:gd name="connsiteX278" fmla="*/ 99873 w 341312"/>
                  <a:gd name="connsiteY278" fmla="*/ 32460 h 1516168"/>
                  <a:gd name="connsiteX279" fmla="*/ 11054 w 341312"/>
                  <a:gd name="connsiteY279" fmla="*/ 689 h 1516168"/>
                  <a:gd name="connsiteX280" fmla="*/ 63559 w 341312"/>
                  <a:gd name="connsiteY280" fmla="*/ 20092 h 1516168"/>
                  <a:gd name="connsiteX281" fmla="*/ 74613 w 341312"/>
                  <a:gd name="connsiteY281" fmla="*/ 35614 h 1516168"/>
                  <a:gd name="connsiteX282" fmla="*/ 74613 w 341312"/>
                  <a:gd name="connsiteY282" fmla="*/ 163673 h 1516168"/>
                  <a:gd name="connsiteX283" fmla="*/ 63559 w 341312"/>
                  <a:gd name="connsiteY283" fmla="*/ 170879 h 1516168"/>
                  <a:gd name="connsiteX284" fmla="*/ 11054 w 341312"/>
                  <a:gd name="connsiteY284" fmla="*/ 151477 h 1516168"/>
                  <a:gd name="connsiteX285" fmla="*/ 0 w 341312"/>
                  <a:gd name="connsiteY285" fmla="*/ 136509 h 1516168"/>
                  <a:gd name="connsiteX286" fmla="*/ 0 w 341312"/>
                  <a:gd name="connsiteY286" fmla="*/ 7896 h 1516168"/>
                  <a:gd name="connsiteX287" fmla="*/ 11054 w 341312"/>
                  <a:gd name="connsiteY287" fmla="*/ 689 h 1516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341312" h="1516168">
                    <a:moveTo>
                      <a:pt x="276318" y="1344294"/>
                    </a:moveTo>
                    <a:cubicBezTo>
                      <a:pt x="276318" y="1344294"/>
                      <a:pt x="276318" y="1344294"/>
                      <a:pt x="329546" y="1363314"/>
                    </a:cubicBezTo>
                    <a:cubicBezTo>
                      <a:pt x="336270" y="1365552"/>
                      <a:pt x="341312" y="1372824"/>
                      <a:pt x="341312" y="1378977"/>
                    </a:cubicBezTo>
                    <a:cubicBezTo>
                      <a:pt x="341312" y="1378977"/>
                      <a:pt x="341312" y="1378977"/>
                      <a:pt x="341312" y="1508200"/>
                    </a:cubicBezTo>
                    <a:cubicBezTo>
                      <a:pt x="341312" y="1514354"/>
                      <a:pt x="336270" y="1517710"/>
                      <a:pt x="329546" y="1515473"/>
                    </a:cubicBezTo>
                    <a:cubicBezTo>
                      <a:pt x="329546" y="1515473"/>
                      <a:pt x="329546" y="1515473"/>
                      <a:pt x="276318" y="1495893"/>
                    </a:cubicBezTo>
                    <a:cubicBezTo>
                      <a:pt x="270155" y="1493656"/>
                      <a:pt x="265112" y="1486943"/>
                      <a:pt x="265112" y="1480789"/>
                    </a:cubicBezTo>
                    <a:cubicBezTo>
                      <a:pt x="265112" y="1480789"/>
                      <a:pt x="265112" y="1480789"/>
                      <a:pt x="265112" y="1351007"/>
                    </a:cubicBezTo>
                    <a:cubicBezTo>
                      <a:pt x="265112" y="1344854"/>
                      <a:pt x="270155" y="1341497"/>
                      <a:pt x="276318" y="1344294"/>
                    </a:cubicBezTo>
                    <a:close/>
                    <a:moveTo>
                      <a:pt x="188854" y="1311965"/>
                    </a:moveTo>
                    <a:cubicBezTo>
                      <a:pt x="188854" y="1311965"/>
                      <a:pt x="188854" y="1311965"/>
                      <a:pt x="241359" y="1331367"/>
                    </a:cubicBezTo>
                    <a:cubicBezTo>
                      <a:pt x="247439" y="1333585"/>
                      <a:pt x="252413" y="1340792"/>
                      <a:pt x="252413" y="1346890"/>
                    </a:cubicBezTo>
                    <a:cubicBezTo>
                      <a:pt x="252413" y="1346890"/>
                      <a:pt x="252413" y="1346890"/>
                      <a:pt x="252413" y="1474948"/>
                    </a:cubicBezTo>
                    <a:cubicBezTo>
                      <a:pt x="252413" y="1481046"/>
                      <a:pt x="247439" y="1484372"/>
                      <a:pt x="241359" y="1482155"/>
                    </a:cubicBezTo>
                    <a:cubicBezTo>
                      <a:pt x="241359" y="1482155"/>
                      <a:pt x="241359" y="1482155"/>
                      <a:pt x="188854" y="1462752"/>
                    </a:cubicBezTo>
                    <a:cubicBezTo>
                      <a:pt x="182774" y="1460534"/>
                      <a:pt x="177800" y="1453882"/>
                      <a:pt x="177800" y="1447784"/>
                    </a:cubicBezTo>
                    <a:cubicBezTo>
                      <a:pt x="177800" y="1447784"/>
                      <a:pt x="177800" y="1447784"/>
                      <a:pt x="177800" y="1319171"/>
                    </a:cubicBezTo>
                    <a:cubicBezTo>
                      <a:pt x="177800" y="1313073"/>
                      <a:pt x="182774" y="1309747"/>
                      <a:pt x="188854" y="1311965"/>
                    </a:cubicBezTo>
                    <a:close/>
                    <a:moveTo>
                      <a:pt x="99873" y="1280215"/>
                    </a:moveTo>
                    <a:cubicBezTo>
                      <a:pt x="99873" y="1280215"/>
                      <a:pt x="99873" y="1280215"/>
                      <a:pt x="151992" y="1299617"/>
                    </a:cubicBezTo>
                    <a:cubicBezTo>
                      <a:pt x="158576" y="1301835"/>
                      <a:pt x="163513" y="1308487"/>
                      <a:pt x="163513" y="1315140"/>
                    </a:cubicBezTo>
                    <a:cubicBezTo>
                      <a:pt x="163513" y="1315140"/>
                      <a:pt x="163513" y="1315140"/>
                      <a:pt x="163513" y="1443198"/>
                    </a:cubicBezTo>
                    <a:cubicBezTo>
                      <a:pt x="163513" y="1449296"/>
                      <a:pt x="158576" y="1452622"/>
                      <a:pt x="151992" y="1450405"/>
                    </a:cubicBezTo>
                    <a:cubicBezTo>
                      <a:pt x="151992" y="1450405"/>
                      <a:pt x="151992" y="1450405"/>
                      <a:pt x="99873" y="1431002"/>
                    </a:cubicBezTo>
                    <a:cubicBezTo>
                      <a:pt x="93838" y="1428784"/>
                      <a:pt x="88900" y="1422132"/>
                      <a:pt x="88900" y="1416034"/>
                    </a:cubicBezTo>
                    <a:cubicBezTo>
                      <a:pt x="88900" y="1416034"/>
                      <a:pt x="88900" y="1416034"/>
                      <a:pt x="88900" y="1287421"/>
                    </a:cubicBezTo>
                    <a:cubicBezTo>
                      <a:pt x="88900" y="1281323"/>
                      <a:pt x="93838" y="1277997"/>
                      <a:pt x="99873" y="1280215"/>
                    </a:cubicBezTo>
                    <a:close/>
                    <a:moveTo>
                      <a:pt x="11054" y="1246897"/>
                    </a:moveTo>
                    <a:cubicBezTo>
                      <a:pt x="11054" y="1246897"/>
                      <a:pt x="11054" y="1246897"/>
                      <a:pt x="63559" y="1266476"/>
                    </a:cubicBezTo>
                    <a:cubicBezTo>
                      <a:pt x="69639" y="1268714"/>
                      <a:pt x="74613" y="1275426"/>
                      <a:pt x="74613" y="1282139"/>
                    </a:cubicBezTo>
                    <a:cubicBezTo>
                      <a:pt x="74613" y="1282139"/>
                      <a:pt x="74613" y="1282139"/>
                      <a:pt x="74613" y="1411362"/>
                    </a:cubicBezTo>
                    <a:cubicBezTo>
                      <a:pt x="74613" y="1417516"/>
                      <a:pt x="69639" y="1420872"/>
                      <a:pt x="63559" y="1418635"/>
                    </a:cubicBezTo>
                    <a:cubicBezTo>
                      <a:pt x="63559" y="1418635"/>
                      <a:pt x="63559" y="1418635"/>
                      <a:pt x="11054" y="1399055"/>
                    </a:cubicBezTo>
                    <a:cubicBezTo>
                      <a:pt x="4974" y="1396818"/>
                      <a:pt x="0" y="1390105"/>
                      <a:pt x="0" y="1383951"/>
                    </a:cubicBezTo>
                    <a:cubicBezTo>
                      <a:pt x="0" y="1383951"/>
                      <a:pt x="0" y="1383951"/>
                      <a:pt x="0" y="1254169"/>
                    </a:cubicBezTo>
                    <a:cubicBezTo>
                      <a:pt x="0" y="1248016"/>
                      <a:pt x="4974" y="1244659"/>
                      <a:pt x="11054" y="1246897"/>
                    </a:cubicBezTo>
                    <a:close/>
                    <a:moveTo>
                      <a:pt x="276318" y="1165914"/>
                    </a:moveTo>
                    <a:cubicBezTo>
                      <a:pt x="276318" y="1165914"/>
                      <a:pt x="276318" y="1165914"/>
                      <a:pt x="329546" y="1185317"/>
                    </a:cubicBezTo>
                    <a:cubicBezTo>
                      <a:pt x="336270" y="1187535"/>
                      <a:pt x="341312" y="1194187"/>
                      <a:pt x="341312" y="1200839"/>
                    </a:cubicBezTo>
                    <a:cubicBezTo>
                      <a:pt x="341312" y="1200839"/>
                      <a:pt x="341312" y="1200839"/>
                      <a:pt x="341312" y="1328898"/>
                    </a:cubicBezTo>
                    <a:cubicBezTo>
                      <a:pt x="341312" y="1334996"/>
                      <a:pt x="336270" y="1338322"/>
                      <a:pt x="329546" y="1336105"/>
                    </a:cubicBezTo>
                    <a:cubicBezTo>
                      <a:pt x="329546" y="1336105"/>
                      <a:pt x="329546" y="1336105"/>
                      <a:pt x="276318" y="1316702"/>
                    </a:cubicBezTo>
                    <a:cubicBezTo>
                      <a:pt x="270155" y="1314484"/>
                      <a:pt x="265112" y="1307832"/>
                      <a:pt x="265112" y="1301734"/>
                    </a:cubicBezTo>
                    <a:cubicBezTo>
                      <a:pt x="265112" y="1301734"/>
                      <a:pt x="265112" y="1301734"/>
                      <a:pt x="265112" y="1173121"/>
                    </a:cubicBezTo>
                    <a:cubicBezTo>
                      <a:pt x="265112" y="1167023"/>
                      <a:pt x="270155" y="1163697"/>
                      <a:pt x="276318" y="1165914"/>
                    </a:cubicBezTo>
                    <a:close/>
                    <a:moveTo>
                      <a:pt x="188854" y="1134164"/>
                    </a:moveTo>
                    <a:cubicBezTo>
                      <a:pt x="188854" y="1134164"/>
                      <a:pt x="188854" y="1134164"/>
                      <a:pt x="241359" y="1153567"/>
                    </a:cubicBezTo>
                    <a:cubicBezTo>
                      <a:pt x="247439" y="1155785"/>
                      <a:pt x="252413" y="1162437"/>
                      <a:pt x="252413" y="1169089"/>
                    </a:cubicBezTo>
                    <a:cubicBezTo>
                      <a:pt x="252413" y="1169089"/>
                      <a:pt x="252413" y="1169089"/>
                      <a:pt x="252413" y="1297148"/>
                    </a:cubicBezTo>
                    <a:cubicBezTo>
                      <a:pt x="252413" y="1303246"/>
                      <a:pt x="247439" y="1306572"/>
                      <a:pt x="241359" y="1304355"/>
                    </a:cubicBezTo>
                    <a:cubicBezTo>
                      <a:pt x="241359" y="1304355"/>
                      <a:pt x="241359" y="1304355"/>
                      <a:pt x="188854" y="1284952"/>
                    </a:cubicBezTo>
                    <a:cubicBezTo>
                      <a:pt x="182774" y="1282734"/>
                      <a:pt x="177800" y="1276082"/>
                      <a:pt x="177800" y="1269984"/>
                    </a:cubicBezTo>
                    <a:cubicBezTo>
                      <a:pt x="177800" y="1269984"/>
                      <a:pt x="177800" y="1269984"/>
                      <a:pt x="177800" y="1141371"/>
                    </a:cubicBezTo>
                    <a:cubicBezTo>
                      <a:pt x="177800" y="1135273"/>
                      <a:pt x="182774" y="1131947"/>
                      <a:pt x="188854" y="1134164"/>
                    </a:cubicBezTo>
                    <a:close/>
                    <a:moveTo>
                      <a:pt x="99873" y="1100847"/>
                    </a:moveTo>
                    <a:cubicBezTo>
                      <a:pt x="99873" y="1100847"/>
                      <a:pt x="99873" y="1100847"/>
                      <a:pt x="151992" y="1120426"/>
                    </a:cubicBezTo>
                    <a:cubicBezTo>
                      <a:pt x="158576" y="1122663"/>
                      <a:pt x="163513" y="1129376"/>
                      <a:pt x="163513" y="1136089"/>
                    </a:cubicBezTo>
                    <a:cubicBezTo>
                      <a:pt x="163513" y="1136089"/>
                      <a:pt x="163513" y="1136089"/>
                      <a:pt x="163513" y="1265312"/>
                    </a:cubicBezTo>
                    <a:cubicBezTo>
                      <a:pt x="163513" y="1271466"/>
                      <a:pt x="158576" y="1274822"/>
                      <a:pt x="151992" y="1272585"/>
                    </a:cubicBezTo>
                    <a:cubicBezTo>
                      <a:pt x="151992" y="1272585"/>
                      <a:pt x="151992" y="1272585"/>
                      <a:pt x="99873" y="1253005"/>
                    </a:cubicBezTo>
                    <a:cubicBezTo>
                      <a:pt x="93838" y="1250768"/>
                      <a:pt x="88900" y="1244055"/>
                      <a:pt x="88900" y="1237342"/>
                    </a:cubicBezTo>
                    <a:cubicBezTo>
                      <a:pt x="88900" y="1237342"/>
                      <a:pt x="88900" y="1237342"/>
                      <a:pt x="88900" y="1108119"/>
                    </a:cubicBezTo>
                    <a:cubicBezTo>
                      <a:pt x="88900" y="1101965"/>
                      <a:pt x="93838" y="1098609"/>
                      <a:pt x="99873" y="1100847"/>
                    </a:cubicBezTo>
                    <a:close/>
                    <a:moveTo>
                      <a:pt x="11054" y="1069076"/>
                    </a:moveTo>
                    <a:cubicBezTo>
                      <a:pt x="11054" y="1069076"/>
                      <a:pt x="11054" y="1069076"/>
                      <a:pt x="63559" y="1088479"/>
                    </a:cubicBezTo>
                    <a:cubicBezTo>
                      <a:pt x="69639" y="1090697"/>
                      <a:pt x="74613" y="1097349"/>
                      <a:pt x="74613" y="1104001"/>
                    </a:cubicBezTo>
                    <a:cubicBezTo>
                      <a:pt x="74613" y="1104001"/>
                      <a:pt x="74613" y="1104001"/>
                      <a:pt x="74613" y="1232060"/>
                    </a:cubicBezTo>
                    <a:cubicBezTo>
                      <a:pt x="74613" y="1238158"/>
                      <a:pt x="69639" y="1241484"/>
                      <a:pt x="63559" y="1239266"/>
                    </a:cubicBezTo>
                    <a:cubicBezTo>
                      <a:pt x="63559" y="1239266"/>
                      <a:pt x="63559" y="1239266"/>
                      <a:pt x="11054" y="1219864"/>
                    </a:cubicBezTo>
                    <a:cubicBezTo>
                      <a:pt x="4974" y="1217646"/>
                      <a:pt x="0" y="1210994"/>
                      <a:pt x="0" y="1204341"/>
                    </a:cubicBezTo>
                    <a:cubicBezTo>
                      <a:pt x="0" y="1204341"/>
                      <a:pt x="0" y="1204341"/>
                      <a:pt x="0" y="1076283"/>
                    </a:cubicBezTo>
                    <a:cubicBezTo>
                      <a:pt x="0" y="1070185"/>
                      <a:pt x="4974" y="1066859"/>
                      <a:pt x="11054" y="1069076"/>
                    </a:cubicBezTo>
                    <a:close/>
                    <a:moveTo>
                      <a:pt x="276318" y="988114"/>
                    </a:moveTo>
                    <a:cubicBezTo>
                      <a:pt x="276318" y="988114"/>
                      <a:pt x="276318" y="988114"/>
                      <a:pt x="329546" y="1007517"/>
                    </a:cubicBezTo>
                    <a:cubicBezTo>
                      <a:pt x="336270" y="1009735"/>
                      <a:pt x="341312" y="1016387"/>
                      <a:pt x="341312" y="1023039"/>
                    </a:cubicBezTo>
                    <a:cubicBezTo>
                      <a:pt x="341312" y="1023039"/>
                      <a:pt x="341312" y="1023039"/>
                      <a:pt x="341312" y="1151098"/>
                    </a:cubicBezTo>
                    <a:cubicBezTo>
                      <a:pt x="341312" y="1157196"/>
                      <a:pt x="336270" y="1160522"/>
                      <a:pt x="329546" y="1158304"/>
                    </a:cubicBezTo>
                    <a:cubicBezTo>
                      <a:pt x="329546" y="1158304"/>
                      <a:pt x="329546" y="1158304"/>
                      <a:pt x="276318" y="1138902"/>
                    </a:cubicBezTo>
                    <a:cubicBezTo>
                      <a:pt x="270155" y="1136684"/>
                      <a:pt x="265112" y="1130032"/>
                      <a:pt x="265112" y="1123379"/>
                    </a:cubicBezTo>
                    <a:cubicBezTo>
                      <a:pt x="265112" y="1123379"/>
                      <a:pt x="265112" y="1123379"/>
                      <a:pt x="265112" y="995321"/>
                    </a:cubicBezTo>
                    <a:cubicBezTo>
                      <a:pt x="265112" y="989223"/>
                      <a:pt x="270155" y="985897"/>
                      <a:pt x="276318" y="988114"/>
                    </a:cubicBezTo>
                    <a:close/>
                    <a:moveTo>
                      <a:pt x="188854" y="956364"/>
                    </a:moveTo>
                    <a:cubicBezTo>
                      <a:pt x="188854" y="956364"/>
                      <a:pt x="188854" y="956364"/>
                      <a:pt x="241359" y="975767"/>
                    </a:cubicBezTo>
                    <a:cubicBezTo>
                      <a:pt x="247439" y="977985"/>
                      <a:pt x="252413" y="984637"/>
                      <a:pt x="252413" y="990735"/>
                    </a:cubicBezTo>
                    <a:cubicBezTo>
                      <a:pt x="252413" y="990735"/>
                      <a:pt x="252413" y="990735"/>
                      <a:pt x="252413" y="1119348"/>
                    </a:cubicBezTo>
                    <a:cubicBezTo>
                      <a:pt x="252413" y="1125446"/>
                      <a:pt x="247439" y="1128772"/>
                      <a:pt x="241359" y="1126554"/>
                    </a:cubicBezTo>
                    <a:cubicBezTo>
                      <a:pt x="241359" y="1126554"/>
                      <a:pt x="241359" y="1126554"/>
                      <a:pt x="188854" y="1107152"/>
                    </a:cubicBezTo>
                    <a:cubicBezTo>
                      <a:pt x="182774" y="1104934"/>
                      <a:pt x="177800" y="1098282"/>
                      <a:pt x="177800" y="1091629"/>
                    </a:cubicBezTo>
                    <a:cubicBezTo>
                      <a:pt x="177800" y="1091629"/>
                      <a:pt x="177800" y="1091629"/>
                      <a:pt x="177800" y="963571"/>
                    </a:cubicBezTo>
                    <a:cubicBezTo>
                      <a:pt x="177800" y="957473"/>
                      <a:pt x="182774" y="954147"/>
                      <a:pt x="188854" y="956364"/>
                    </a:cubicBezTo>
                    <a:close/>
                    <a:moveTo>
                      <a:pt x="99873" y="923047"/>
                    </a:moveTo>
                    <a:cubicBezTo>
                      <a:pt x="99873" y="923047"/>
                      <a:pt x="99873" y="923047"/>
                      <a:pt x="151992" y="942626"/>
                    </a:cubicBezTo>
                    <a:cubicBezTo>
                      <a:pt x="158576" y="944863"/>
                      <a:pt x="163513" y="951576"/>
                      <a:pt x="163513" y="957730"/>
                    </a:cubicBezTo>
                    <a:cubicBezTo>
                      <a:pt x="163513" y="957730"/>
                      <a:pt x="163513" y="957730"/>
                      <a:pt x="163513" y="1087512"/>
                    </a:cubicBezTo>
                    <a:cubicBezTo>
                      <a:pt x="163513" y="1093665"/>
                      <a:pt x="158576" y="1097022"/>
                      <a:pt x="151992" y="1094784"/>
                    </a:cubicBezTo>
                    <a:cubicBezTo>
                      <a:pt x="151992" y="1094784"/>
                      <a:pt x="151992" y="1094784"/>
                      <a:pt x="99873" y="1075205"/>
                    </a:cubicBezTo>
                    <a:cubicBezTo>
                      <a:pt x="93838" y="1072967"/>
                      <a:pt x="88900" y="1066255"/>
                      <a:pt x="88900" y="1059542"/>
                    </a:cubicBezTo>
                    <a:cubicBezTo>
                      <a:pt x="88900" y="1059542"/>
                      <a:pt x="88900" y="1059542"/>
                      <a:pt x="88900" y="930319"/>
                    </a:cubicBezTo>
                    <a:cubicBezTo>
                      <a:pt x="88900" y="924165"/>
                      <a:pt x="93838" y="920809"/>
                      <a:pt x="99873" y="923047"/>
                    </a:cubicBezTo>
                    <a:close/>
                    <a:moveTo>
                      <a:pt x="11054" y="891276"/>
                    </a:moveTo>
                    <a:cubicBezTo>
                      <a:pt x="11054" y="891276"/>
                      <a:pt x="11054" y="891276"/>
                      <a:pt x="63559" y="910679"/>
                    </a:cubicBezTo>
                    <a:cubicBezTo>
                      <a:pt x="69639" y="912897"/>
                      <a:pt x="74613" y="919549"/>
                      <a:pt x="74613" y="925647"/>
                    </a:cubicBezTo>
                    <a:cubicBezTo>
                      <a:pt x="74613" y="925647"/>
                      <a:pt x="74613" y="925647"/>
                      <a:pt x="74613" y="1054260"/>
                    </a:cubicBezTo>
                    <a:cubicBezTo>
                      <a:pt x="74613" y="1060358"/>
                      <a:pt x="69639" y="1063684"/>
                      <a:pt x="63559" y="1061466"/>
                    </a:cubicBezTo>
                    <a:cubicBezTo>
                      <a:pt x="63559" y="1061466"/>
                      <a:pt x="63559" y="1061466"/>
                      <a:pt x="11054" y="1042064"/>
                    </a:cubicBezTo>
                    <a:cubicBezTo>
                      <a:pt x="4974" y="1039846"/>
                      <a:pt x="0" y="1032639"/>
                      <a:pt x="0" y="1026541"/>
                    </a:cubicBezTo>
                    <a:cubicBezTo>
                      <a:pt x="0" y="1026541"/>
                      <a:pt x="0" y="1026541"/>
                      <a:pt x="0" y="898483"/>
                    </a:cubicBezTo>
                    <a:cubicBezTo>
                      <a:pt x="0" y="892385"/>
                      <a:pt x="4974" y="889059"/>
                      <a:pt x="11054" y="891276"/>
                    </a:cubicBezTo>
                    <a:close/>
                    <a:moveTo>
                      <a:pt x="276318" y="810314"/>
                    </a:moveTo>
                    <a:cubicBezTo>
                      <a:pt x="276318" y="810314"/>
                      <a:pt x="276318" y="810314"/>
                      <a:pt x="329546" y="829717"/>
                    </a:cubicBezTo>
                    <a:cubicBezTo>
                      <a:pt x="336270" y="831935"/>
                      <a:pt x="341312" y="838587"/>
                      <a:pt x="341312" y="844685"/>
                    </a:cubicBezTo>
                    <a:cubicBezTo>
                      <a:pt x="341312" y="844685"/>
                      <a:pt x="341312" y="844685"/>
                      <a:pt x="341312" y="973298"/>
                    </a:cubicBezTo>
                    <a:cubicBezTo>
                      <a:pt x="341312" y="979396"/>
                      <a:pt x="336270" y="982722"/>
                      <a:pt x="329546" y="980504"/>
                    </a:cubicBezTo>
                    <a:cubicBezTo>
                      <a:pt x="329546" y="980504"/>
                      <a:pt x="329546" y="980504"/>
                      <a:pt x="276318" y="961102"/>
                    </a:cubicBezTo>
                    <a:cubicBezTo>
                      <a:pt x="270155" y="958884"/>
                      <a:pt x="265112" y="951677"/>
                      <a:pt x="265112" y="945579"/>
                    </a:cubicBezTo>
                    <a:cubicBezTo>
                      <a:pt x="265112" y="945579"/>
                      <a:pt x="265112" y="945579"/>
                      <a:pt x="265112" y="817521"/>
                    </a:cubicBezTo>
                    <a:cubicBezTo>
                      <a:pt x="265112" y="811423"/>
                      <a:pt x="270155" y="808097"/>
                      <a:pt x="276318" y="810314"/>
                    </a:cubicBezTo>
                    <a:close/>
                    <a:moveTo>
                      <a:pt x="188854" y="776997"/>
                    </a:moveTo>
                    <a:cubicBezTo>
                      <a:pt x="188854" y="776997"/>
                      <a:pt x="188854" y="776997"/>
                      <a:pt x="241359" y="796576"/>
                    </a:cubicBezTo>
                    <a:cubicBezTo>
                      <a:pt x="247439" y="798813"/>
                      <a:pt x="252413" y="805526"/>
                      <a:pt x="252413" y="811680"/>
                    </a:cubicBezTo>
                    <a:cubicBezTo>
                      <a:pt x="252413" y="811680"/>
                      <a:pt x="252413" y="811680"/>
                      <a:pt x="252413" y="941462"/>
                    </a:cubicBezTo>
                    <a:cubicBezTo>
                      <a:pt x="252413" y="947615"/>
                      <a:pt x="247439" y="950972"/>
                      <a:pt x="241359" y="948175"/>
                    </a:cubicBezTo>
                    <a:cubicBezTo>
                      <a:pt x="241359" y="948175"/>
                      <a:pt x="241359" y="948175"/>
                      <a:pt x="188854" y="929155"/>
                    </a:cubicBezTo>
                    <a:cubicBezTo>
                      <a:pt x="182774" y="926917"/>
                      <a:pt x="177800" y="919645"/>
                      <a:pt x="177800" y="913492"/>
                    </a:cubicBezTo>
                    <a:cubicBezTo>
                      <a:pt x="177800" y="913492"/>
                      <a:pt x="177800" y="913492"/>
                      <a:pt x="177800" y="784269"/>
                    </a:cubicBezTo>
                    <a:cubicBezTo>
                      <a:pt x="177800" y="778115"/>
                      <a:pt x="182774" y="774759"/>
                      <a:pt x="188854" y="776997"/>
                    </a:cubicBezTo>
                    <a:close/>
                    <a:moveTo>
                      <a:pt x="99873" y="745247"/>
                    </a:moveTo>
                    <a:cubicBezTo>
                      <a:pt x="99873" y="745247"/>
                      <a:pt x="99873" y="745247"/>
                      <a:pt x="151992" y="764826"/>
                    </a:cubicBezTo>
                    <a:cubicBezTo>
                      <a:pt x="158576" y="767063"/>
                      <a:pt x="163513" y="773776"/>
                      <a:pt x="163513" y="779930"/>
                    </a:cubicBezTo>
                    <a:cubicBezTo>
                      <a:pt x="163513" y="779930"/>
                      <a:pt x="163513" y="779930"/>
                      <a:pt x="163513" y="909712"/>
                    </a:cubicBezTo>
                    <a:cubicBezTo>
                      <a:pt x="163513" y="915865"/>
                      <a:pt x="158576" y="919222"/>
                      <a:pt x="151992" y="916425"/>
                    </a:cubicBezTo>
                    <a:cubicBezTo>
                      <a:pt x="151992" y="916425"/>
                      <a:pt x="151992" y="916425"/>
                      <a:pt x="99873" y="897405"/>
                    </a:cubicBezTo>
                    <a:cubicBezTo>
                      <a:pt x="93838" y="895167"/>
                      <a:pt x="88900" y="887895"/>
                      <a:pt x="88900" y="881742"/>
                    </a:cubicBezTo>
                    <a:cubicBezTo>
                      <a:pt x="88900" y="881742"/>
                      <a:pt x="88900" y="881742"/>
                      <a:pt x="88900" y="752519"/>
                    </a:cubicBezTo>
                    <a:cubicBezTo>
                      <a:pt x="88900" y="746365"/>
                      <a:pt x="93838" y="743009"/>
                      <a:pt x="99873" y="745247"/>
                    </a:cubicBezTo>
                    <a:close/>
                    <a:moveTo>
                      <a:pt x="11054" y="713483"/>
                    </a:moveTo>
                    <a:cubicBezTo>
                      <a:pt x="11054" y="713483"/>
                      <a:pt x="11054" y="713483"/>
                      <a:pt x="63559" y="732948"/>
                    </a:cubicBezTo>
                    <a:cubicBezTo>
                      <a:pt x="69639" y="735172"/>
                      <a:pt x="74613" y="741846"/>
                      <a:pt x="74613" y="747963"/>
                    </a:cubicBezTo>
                    <a:cubicBezTo>
                      <a:pt x="74613" y="747963"/>
                      <a:pt x="74613" y="747963"/>
                      <a:pt x="74613" y="876430"/>
                    </a:cubicBezTo>
                    <a:cubicBezTo>
                      <a:pt x="74613" y="883103"/>
                      <a:pt x="69639" y="885884"/>
                      <a:pt x="63559" y="883659"/>
                    </a:cubicBezTo>
                    <a:cubicBezTo>
                      <a:pt x="63559" y="883659"/>
                      <a:pt x="63559" y="883659"/>
                      <a:pt x="11054" y="864751"/>
                    </a:cubicBezTo>
                    <a:cubicBezTo>
                      <a:pt x="4974" y="862526"/>
                      <a:pt x="0" y="855297"/>
                      <a:pt x="0" y="849179"/>
                    </a:cubicBezTo>
                    <a:cubicBezTo>
                      <a:pt x="0" y="849179"/>
                      <a:pt x="0" y="849179"/>
                      <a:pt x="0" y="720713"/>
                    </a:cubicBezTo>
                    <a:cubicBezTo>
                      <a:pt x="0" y="714596"/>
                      <a:pt x="4974" y="711259"/>
                      <a:pt x="11054" y="713483"/>
                    </a:cubicBezTo>
                    <a:close/>
                    <a:moveTo>
                      <a:pt x="276318" y="632521"/>
                    </a:moveTo>
                    <a:cubicBezTo>
                      <a:pt x="276318" y="632521"/>
                      <a:pt x="276318" y="632521"/>
                      <a:pt x="329546" y="651986"/>
                    </a:cubicBezTo>
                    <a:cubicBezTo>
                      <a:pt x="336270" y="654210"/>
                      <a:pt x="341312" y="660884"/>
                      <a:pt x="341312" y="667001"/>
                    </a:cubicBezTo>
                    <a:cubicBezTo>
                      <a:pt x="341312" y="667001"/>
                      <a:pt x="341312" y="667001"/>
                      <a:pt x="341312" y="795468"/>
                    </a:cubicBezTo>
                    <a:cubicBezTo>
                      <a:pt x="341312" y="802141"/>
                      <a:pt x="336270" y="804922"/>
                      <a:pt x="329546" y="802697"/>
                    </a:cubicBezTo>
                    <a:cubicBezTo>
                      <a:pt x="329546" y="802697"/>
                      <a:pt x="329546" y="802697"/>
                      <a:pt x="276318" y="783789"/>
                    </a:cubicBezTo>
                    <a:cubicBezTo>
                      <a:pt x="270155" y="781564"/>
                      <a:pt x="265112" y="774335"/>
                      <a:pt x="265112" y="768217"/>
                    </a:cubicBezTo>
                    <a:cubicBezTo>
                      <a:pt x="265112" y="768217"/>
                      <a:pt x="265112" y="768217"/>
                      <a:pt x="265112" y="639751"/>
                    </a:cubicBezTo>
                    <a:cubicBezTo>
                      <a:pt x="265112" y="633634"/>
                      <a:pt x="270155" y="630297"/>
                      <a:pt x="276318" y="632521"/>
                    </a:cubicBezTo>
                    <a:close/>
                    <a:moveTo>
                      <a:pt x="188854" y="599183"/>
                    </a:moveTo>
                    <a:cubicBezTo>
                      <a:pt x="188854" y="599183"/>
                      <a:pt x="188854" y="599183"/>
                      <a:pt x="241359" y="618648"/>
                    </a:cubicBezTo>
                    <a:cubicBezTo>
                      <a:pt x="247439" y="620872"/>
                      <a:pt x="252413" y="627546"/>
                      <a:pt x="252413" y="633663"/>
                    </a:cubicBezTo>
                    <a:cubicBezTo>
                      <a:pt x="252413" y="633663"/>
                      <a:pt x="252413" y="633663"/>
                      <a:pt x="252413" y="762130"/>
                    </a:cubicBezTo>
                    <a:cubicBezTo>
                      <a:pt x="252413" y="768803"/>
                      <a:pt x="247439" y="771584"/>
                      <a:pt x="241359" y="769359"/>
                    </a:cubicBezTo>
                    <a:cubicBezTo>
                      <a:pt x="241359" y="769359"/>
                      <a:pt x="241359" y="769359"/>
                      <a:pt x="188854" y="750451"/>
                    </a:cubicBezTo>
                    <a:cubicBezTo>
                      <a:pt x="182774" y="748226"/>
                      <a:pt x="177800" y="740997"/>
                      <a:pt x="177800" y="734879"/>
                    </a:cubicBezTo>
                    <a:cubicBezTo>
                      <a:pt x="177800" y="734879"/>
                      <a:pt x="177800" y="734879"/>
                      <a:pt x="177800" y="606413"/>
                    </a:cubicBezTo>
                    <a:cubicBezTo>
                      <a:pt x="177800" y="600296"/>
                      <a:pt x="182774" y="596959"/>
                      <a:pt x="188854" y="599183"/>
                    </a:cubicBezTo>
                    <a:close/>
                    <a:moveTo>
                      <a:pt x="99873" y="567433"/>
                    </a:moveTo>
                    <a:cubicBezTo>
                      <a:pt x="99873" y="567433"/>
                      <a:pt x="99873" y="567433"/>
                      <a:pt x="151992" y="586342"/>
                    </a:cubicBezTo>
                    <a:cubicBezTo>
                      <a:pt x="158576" y="589122"/>
                      <a:pt x="163513" y="595796"/>
                      <a:pt x="163513" y="601913"/>
                    </a:cubicBezTo>
                    <a:cubicBezTo>
                      <a:pt x="163513" y="601913"/>
                      <a:pt x="163513" y="601913"/>
                      <a:pt x="163513" y="730380"/>
                    </a:cubicBezTo>
                    <a:cubicBezTo>
                      <a:pt x="163513" y="737053"/>
                      <a:pt x="158576" y="739834"/>
                      <a:pt x="151992" y="737609"/>
                    </a:cubicBezTo>
                    <a:cubicBezTo>
                      <a:pt x="151992" y="737609"/>
                      <a:pt x="151992" y="737609"/>
                      <a:pt x="99873" y="718701"/>
                    </a:cubicBezTo>
                    <a:cubicBezTo>
                      <a:pt x="93838" y="716476"/>
                      <a:pt x="88900" y="709247"/>
                      <a:pt x="88900" y="703129"/>
                    </a:cubicBezTo>
                    <a:cubicBezTo>
                      <a:pt x="88900" y="703129"/>
                      <a:pt x="88900" y="703129"/>
                      <a:pt x="88900" y="574663"/>
                    </a:cubicBezTo>
                    <a:cubicBezTo>
                      <a:pt x="88900" y="568546"/>
                      <a:pt x="93838" y="565209"/>
                      <a:pt x="99873" y="567433"/>
                    </a:cubicBezTo>
                    <a:close/>
                    <a:moveTo>
                      <a:pt x="11054" y="535683"/>
                    </a:moveTo>
                    <a:cubicBezTo>
                      <a:pt x="11054" y="535683"/>
                      <a:pt x="11054" y="535683"/>
                      <a:pt x="63559" y="554592"/>
                    </a:cubicBezTo>
                    <a:cubicBezTo>
                      <a:pt x="69639" y="556816"/>
                      <a:pt x="74613" y="564046"/>
                      <a:pt x="74613" y="570163"/>
                    </a:cubicBezTo>
                    <a:cubicBezTo>
                      <a:pt x="74613" y="570163"/>
                      <a:pt x="74613" y="570163"/>
                      <a:pt x="74613" y="698630"/>
                    </a:cubicBezTo>
                    <a:cubicBezTo>
                      <a:pt x="74613" y="705303"/>
                      <a:pt x="69639" y="708084"/>
                      <a:pt x="63559" y="705859"/>
                    </a:cubicBezTo>
                    <a:cubicBezTo>
                      <a:pt x="63559" y="705859"/>
                      <a:pt x="63559" y="705859"/>
                      <a:pt x="11054" y="686951"/>
                    </a:cubicBezTo>
                    <a:cubicBezTo>
                      <a:pt x="4974" y="684726"/>
                      <a:pt x="0" y="677497"/>
                      <a:pt x="0" y="671379"/>
                    </a:cubicBezTo>
                    <a:cubicBezTo>
                      <a:pt x="0" y="671379"/>
                      <a:pt x="0" y="671379"/>
                      <a:pt x="0" y="542913"/>
                    </a:cubicBezTo>
                    <a:cubicBezTo>
                      <a:pt x="0" y="536796"/>
                      <a:pt x="4974" y="533459"/>
                      <a:pt x="11054" y="535683"/>
                    </a:cubicBezTo>
                    <a:close/>
                    <a:moveTo>
                      <a:pt x="276318" y="453154"/>
                    </a:moveTo>
                    <a:cubicBezTo>
                      <a:pt x="276318" y="453154"/>
                      <a:pt x="276318" y="453154"/>
                      <a:pt x="329546" y="472234"/>
                    </a:cubicBezTo>
                    <a:cubicBezTo>
                      <a:pt x="336270" y="474479"/>
                      <a:pt x="341312" y="481774"/>
                      <a:pt x="341312" y="487947"/>
                    </a:cubicBezTo>
                    <a:cubicBezTo>
                      <a:pt x="341312" y="487947"/>
                      <a:pt x="341312" y="487947"/>
                      <a:pt x="341312" y="617582"/>
                    </a:cubicBezTo>
                    <a:cubicBezTo>
                      <a:pt x="341312" y="624316"/>
                      <a:pt x="336270" y="627122"/>
                      <a:pt x="329546" y="624877"/>
                    </a:cubicBezTo>
                    <a:cubicBezTo>
                      <a:pt x="329546" y="624877"/>
                      <a:pt x="329546" y="624877"/>
                      <a:pt x="276318" y="605797"/>
                    </a:cubicBezTo>
                    <a:cubicBezTo>
                      <a:pt x="270155" y="603552"/>
                      <a:pt x="265112" y="596257"/>
                      <a:pt x="265112" y="590083"/>
                    </a:cubicBezTo>
                    <a:cubicBezTo>
                      <a:pt x="265112" y="590083"/>
                      <a:pt x="265112" y="590083"/>
                      <a:pt x="265112" y="460449"/>
                    </a:cubicBezTo>
                    <a:cubicBezTo>
                      <a:pt x="265112" y="454276"/>
                      <a:pt x="270155" y="450909"/>
                      <a:pt x="276318" y="453154"/>
                    </a:cubicBezTo>
                    <a:close/>
                    <a:moveTo>
                      <a:pt x="188854" y="421383"/>
                    </a:moveTo>
                    <a:cubicBezTo>
                      <a:pt x="188854" y="421383"/>
                      <a:pt x="188854" y="421383"/>
                      <a:pt x="241359" y="440292"/>
                    </a:cubicBezTo>
                    <a:cubicBezTo>
                      <a:pt x="247439" y="442516"/>
                      <a:pt x="252413" y="449746"/>
                      <a:pt x="252413" y="455863"/>
                    </a:cubicBezTo>
                    <a:cubicBezTo>
                      <a:pt x="252413" y="455863"/>
                      <a:pt x="252413" y="455863"/>
                      <a:pt x="252413" y="584330"/>
                    </a:cubicBezTo>
                    <a:cubicBezTo>
                      <a:pt x="252413" y="590447"/>
                      <a:pt x="247439" y="593784"/>
                      <a:pt x="241359" y="591559"/>
                    </a:cubicBezTo>
                    <a:cubicBezTo>
                      <a:pt x="241359" y="591559"/>
                      <a:pt x="241359" y="591559"/>
                      <a:pt x="188854" y="572651"/>
                    </a:cubicBezTo>
                    <a:cubicBezTo>
                      <a:pt x="182774" y="570426"/>
                      <a:pt x="177800" y="563197"/>
                      <a:pt x="177800" y="557079"/>
                    </a:cubicBezTo>
                    <a:cubicBezTo>
                      <a:pt x="177800" y="557079"/>
                      <a:pt x="177800" y="557079"/>
                      <a:pt x="177800" y="428613"/>
                    </a:cubicBezTo>
                    <a:cubicBezTo>
                      <a:pt x="177800" y="421940"/>
                      <a:pt x="182774" y="419159"/>
                      <a:pt x="188854" y="421383"/>
                    </a:cubicBezTo>
                    <a:close/>
                    <a:moveTo>
                      <a:pt x="99873" y="389633"/>
                    </a:moveTo>
                    <a:cubicBezTo>
                      <a:pt x="99873" y="389633"/>
                      <a:pt x="99873" y="389633"/>
                      <a:pt x="151992" y="408542"/>
                    </a:cubicBezTo>
                    <a:cubicBezTo>
                      <a:pt x="158576" y="410766"/>
                      <a:pt x="163513" y="417996"/>
                      <a:pt x="163513" y="424113"/>
                    </a:cubicBezTo>
                    <a:cubicBezTo>
                      <a:pt x="163513" y="424113"/>
                      <a:pt x="163513" y="424113"/>
                      <a:pt x="163513" y="552580"/>
                    </a:cubicBezTo>
                    <a:cubicBezTo>
                      <a:pt x="163513" y="558697"/>
                      <a:pt x="158576" y="562034"/>
                      <a:pt x="151992" y="559809"/>
                    </a:cubicBezTo>
                    <a:cubicBezTo>
                      <a:pt x="151992" y="559809"/>
                      <a:pt x="151992" y="559809"/>
                      <a:pt x="99873" y="540901"/>
                    </a:cubicBezTo>
                    <a:cubicBezTo>
                      <a:pt x="93838" y="538120"/>
                      <a:pt x="88900" y="531447"/>
                      <a:pt x="88900" y="525329"/>
                    </a:cubicBezTo>
                    <a:cubicBezTo>
                      <a:pt x="88900" y="525329"/>
                      <a:pt x="88900" y="525329"/>
                      <a:pt x="88900" y="396863"/>
                    </a:cubicBezTo>
                    <a:cubicBezTo>
                      <a:pt x="88900" y="390190"/>
                      <a:pt x="93838" y="387409"/>
                      <a:pt x="99873" y="389633"/>
                    </a:cubicBezTo>
                    <a:close/>
                    <a:moveTo>
                      <a:pt x="11054" y="356317"/>
                    </a:moveTo>
                    <a:cubicBezTo>
                      <a:pt x="11054" y="356317"/>
                      <a:pt x="11054" y="356317"/>
                      <a:pt x="63559" y="375397"/>
                    </a:cubicBezTo>
                    <a:cubicBezTo>
                      <a:pt x="69639" y="377642"/>
                      <a:pt x="74613" y="384937"/>
                      <a:pt x="74613" y="391110"/>
                    </a:cubicBezTo>
                    <a:cubicBezTo>
                      <a:pt x="74613" y="391110"/>
                      <a:pt x="74613" y="391110"/>
                      <a:pt x="74613" y="520745"/>
                    </a:cubicBezTo>
                    <a:cubicBezTo>
                      <a:pt x="74613" y="526918"/>
                      <a:pt x="69639" y="530285"/>
                      <a:pt x="63559" y="528040"/>
                    </a:cubicBezTo>
                    <a:cubicBezTo>
                      <a:pt x="63559" y="528040"/>
                      <a:pt x="63559" y="528040"/>
                      <a:pt x="11054" y="508960"/>
                    </a:cubicBezTo>
                    <a:cubicBezTo>
                      <a:pt x="4974" y="506154"/>
                      <a:pt x="0" y="499420"/>
                      <a:pt x="0" y="493246"/>
                    </a:cubicBezTo>
                    <a:cubicBezTo>
                      <a:pt x="0" y="493246"/>
                      <a:pt x="0" y="493246"/>
                      <a:pt x="0" y="363612"/>
                    </a:cubicBezTo>
                    <a:cubicBezTo>
                      <a:pt x="0" y="356878"/>
                      <a:pt x="4974" y="354072"/>
                      <a:pt x="11054" y="356317"/>
                    </a:cubicBezTo>
                    <a:close/>
                    <a:moveTo>
                      <a:pt x="276318" y="275333"/>
                    </a:moveTo>
                    <a:cubicBezTo>
                      <a:pt x="276318" y="275333"/>
                      <a:pt x="276318" y="275333"/>
                      <a:pt x="329546" y="294242"/>
                    </a:cubicBezTo>
                    <a:cubicBezTo>
                      <a:pt x="336270" y="296466"/>
                      <a:pt x="341312" y="303696"/>
                      <a:pt x="341312" y="309813"/>
                    </a:cubicBezTo>
                    <a:cubicBezTo>
                      <a:pt x="341312" y="309813"/>
                      <a:pt x="341312" y="309813"/>
                      <a:pt x="341312" y="438280"/>
                    </a:cubicBezTo>
                    <a:cubicBezTo>
                      <a:pt x="341312" y="444397"/>
                      <a:pt x="336270" y="447734"/>
                      <a:pt x="329546" y="445509"/>
                    </a:cubicBezTo>
                    <a:cubicBezTo>
                      <a:pt x="329546" y="445509"/>
                      <a:pt x="329546" y="445509"/>
                      <a:pt x="276318" y="426601"/>
                    </a:cubicBezTo>
                    <a:cubicBezTo>
                      <a:pt x="270155" y="423820"/>
                      <a:pt x="265112" y="417147"/>
                      <a:pt x="265112" y="411029"/>
                    </a:cubicBezTo>
                    <a:cubicBezTo>
                      <a:pt x="265112" y="411029"/>
                      <a:pt x="265112" y="411029"/>
                      <a:pt x="265112" y="282563"/>
                    </a:cubicBezTo>
                    <a:cubicBezTo>
                      <a:pt x="265112" y="275890"/>
                      <a:pt x="270155" y="273109"/>
                      <a:pt x="276318" y="275333"/>
                    </a:cubicBezTo>
                    <a:close/>
                    <a:moveTo>
                      <a:pt x="188854" y="243583"/>
                    </a:moveTo>
                    <a:cubicBezTo>
                      <a:pt x="188854" y="243583"/>
                      <a:pt x="188854" y="243583"/>
                      <a:pt x="241359" y="262492"/>
                    </a:cubicBezTo>
                    <a:cubicBezTo>
                      <a:pt x="247439" y="264716"/>
                      <a:pt x="252413" y="271946"/>
                      <a:pt x="252413" y="278063"/>
                    </a:cubicBezTo>
                    <a:cubicBezTo>
                      <a:pt x="252413" y="278063"/>
                      <a:pt x="252413" y="278063"/>
                      <a:pt x="252413" y="406530"/>
                    </a:cubicBezTo>
                    <a:cubicBezTo>
                      <a:pt x="252413" y="412647"/>
                      <a:pt x="247439" y="415984"/>
                      <a:pt x="241359" y="413759"/>
                    </a:cubicBezTo>
                    <a:cubicBezTo>
                      <a:pt x="241359" y="413759"/>
                      <a:pt x="241359" y="413759"/>
                      <a:pt x="188854" y="394295"/>
                    </a:cubicBezTo>
                    <a:cubicBezTo>
                      <a:pt x="182774" y="392070"/>
                      <a:pt x="177800" y="385397"/>
                      <a:pt x="177800" y="379279"/>
                    </a:cubicBezTo>
                    <a:cubicBezTo>
                      <a:pt x="177800" y="379279"/>
                      <a:pt x="177800" y="379279"/>
                      <a:pt x="177800" y="250813"/>
                    </a:cubicBezTo>
                    <a:cubicBezTo>
                      <a:pt x="177800" y="244140"/>
                      <a:pt x="182774" y="241359"/>
                      <a:pt x="188854" y="243583"/>
                    </a:cubicBezTo>
                    <a:close/>
                    <a:moveTo>
                      <a:pt x="99873" y="211833"/>
                    </a:moveTo>
                    <a:cubicBezTo>
                      <a:pt x="99873" y="211833"/>
                      <a:pt x="99873" y="211833"/>
                      <a:pt x="151992" y="230742"/>
                    </a:cubicBezTo>
                    <a:cubicBezTo>
                      <a:pt x="158576" y="232966"/>
                      <a:pt x="163513" y="240196"/>
                      <a:pt x="163513" y="246313"/>
                    </a:cubicBezTo>
                    <a:cubicBezTo>
                      <a:pt x="163513" y="246313"/>
                      <a:pt x="163513" y="246313"/>
                      <a:pt x="163513" y="374780"/>
                    </a:cubicBezTo>
                    <a:cubicBezTo>
                      <a:pt x="163513" y="380897"/>
                      <a:pt x="158576" y="384234"/>
                      <a:pt x="151992" y="382009"/>
                    </a:cubicBezTo>
                    <a:cubicBezTo>
                      <a:pt x="151992" y="382009"/>
                      <a:pt x="151992" y="382009"/>
                      <a:pt x="99873" y="362545"/>
                    </a:cubicBezTo>
                    <a:cubicBezTo>
                      <a:pt x="93838" y="360320"/>
                      <a:pt x="88900" y="353647"/>
                      <a:pt x="88900" y="347529"/>
                    </a:cubicBezTo>
                    <a:cubicBezTo>
                      <a:pt x="88900" y="347529"/>
                      <a:pt x="88900" y="347529"/>
                      <a:pt x="88900" y="219063"/>
                    </a:cubicBezTo>
                    <a:cubicBezTo>
                      <a:pt x="88900" y="212390"/>
                      <a:pt x="93838" y="209609"/>
                      <a:pt x="99873" y="211833"/>
                    </a:cubicBezTo>
                    <a:close/>
                    <a:moveTo>
                      <a:pt x="11054" y="179044"/>
                    </a:moveTo>
                    <a:cubicBezTo>
                      <a:pt x="11054" y="179044"/>
                      <a:pt x="11054" y="179044"/>
                      <a:pt x="63559" y="197892"/>
                    </a:cubicBezTo>
                    <a:cubicBezTo>
                      <a:pt x="69639" y="200110"/>
                      <a:pt x="74613" y="207316"/>
                      <a:pt x="74613" y="213414"/>
                    </a:cubicBezTo>
                    <a:cubicBezTo>
                      <a:pt x="74613" y="213414"/>
                      <a:pt x="74613" y="213414"/>
                      <a:pt x="74613" y="341473"/>
                    </a:cubicBezTo>
                    <a:cubicBezTo>
                      <a:pt x="74613" y="347571"/>
                      <a:pt x="69639" y="350897"/>
                      <a:pt x="63559" y="348679"/>
                    </a:cubicBezTo>
                    <a:cubicBezTo>
                      <a:pt x="63559" y="348679"/>
                      <a:pt x="63559" y="348679"/>
                      <a:pt x="11054" y="329277"/>
                    </a:cubicBezTo>
                    <a:cubicBezTo>
                      <a:pt x="4974" y="327059"/>
                      <a:pt x="0" y="320407"/>
                      <a:pt x="0" y="314309"/>
                    </a:cubicBezTo>
                    <a:cubicBezTo>
                      <a:pt x="0" y="314309"/>
                      <a:pt x="0" y="314309"/>
                      <a:pt x="0" y="185696"/>
                    </a:cubicBezTo>
                    <a:cubicBezTo>
                      <a:pt x="0" y="179598"/>
                      <a:pt x="4974" y="176272"/>
                      <a:pt x="11054" y="179044"/>
                    </a:cubicBezTo>
                    <a:close/>
                    <a:moveTo>
                      <a:pt x="276318" y="98081"/>
                    </a:moveTo>
                    <a:cubicBezTo>
                      <a:pt x="276318" y="98081"/>
                      <a:pt x="276318" y="98081"/>
                      <a:pt x="329546" y="116929"/>
                    </a:cubicBezTo>
                    <a:cubicBezTo>
                      <a:pt x="336270" y="119147"/>
                      <a:pt x="341312" y="126353"/>
                      <a:pt x="341312" y="132451"/>
                    </a:cubicBezTo>
                    <a:cubicBezTo>
                      <a:pt x="341312" y="132451"/>
                      <a:pt x="341312" y="132451"/>
                      <a:pt x="341312" y="260510"/>
                    </a:cubicBezTo>
                    <a:cubicBezTo>
                      <a:pt x="341312" y="266608"/>
                      <a:pt x="336270" y="269934"/>
                      <a:pt x="329546" y="267716"/>
                    </a:cubicBezTo>
                    <a:cubicBezTo>
                      <a:pt x="329546" y="267716"/>
                      <a:pt x="329546" y="267716"/>
                      <a:pt x="276318" y="248314"/>
                    </a:cubicBezTo>
                    <a:cubicBezTo>
                      <a:pt x="270155" y="246096"/>
                      <a:pt x="265112" y="239444"/>
                      <a:pt x="265112" y="233346"/>
                    </a:cubicBezTo>
                    <a:cubicBezTo>
                      <a:pt x="265112" y="233346"/>
                      <a:pt x="265112" y="233346"/>
                      <a:pt x="265112" y="104733"/>
                    </a:cubicBezTo>
                    <a:cubicBezTo>
                      <a:pt x="265112" y="98635"/>
                      <a:pt x="270155" y="95309"/>
                      <a:pt x="276318" y="98081"/>
                    </a:cubicBezTo>
                    <a:close/>
                    <a:moveTo>
                      <a:pt x="188854" y="66331"/>
                    </a:moveTo>
                    <a:cubicBezTo>
                      <a:pt x="188854" y="66331"/>
                      <a:pt x="188854" y="66331"/>
                      <a:pt x="241359" y="85179"/>
                    </a:cubicBezTo>
                    <a:cubicBezTo>
                      <a:pt x="247439" y="87397"/>
                      <a:pt x="252413" y="94603"/>
                      <a:pt x="252413" y="100701"/>
                    </a:cubicBezTo>
                    <a:cubicBezTo>
                      <a:pt x="252413" y="100701"/>
                      <a:pt x="252413" y="100701"/>
                      <a:pt x="252413" y="228760"/>
                    </a:cubicBezTo>
                    <a:cubicBezTo>
                      <a:pt x="252413" y="234858"/>
                      <a:pt x="247439" y="238184"/>
                      <a:pt x="241359" y="235966"/>
                    </a:cubicBezTo>
                    <a:cubicBezTo>
                      <a:pt x="241359" y="235966"/>
                      <a:pt x="241359" y="235966"/>
                      <a:pt x="188854" y="216564"/>
                    </a:cubicBezTo>
                    <a:cubicBezTo>
                      <a:pt x="182774" y="214346"/>
                      <a:pt x="177800" y="207694"/>
                      <a:pt x="177800" y="201596"/>
                    </a:cubicBezTo>
                    <a:cubicBezTo>
                      <a:pt x="177800" y="201596"/>
                      <a:pt x="177800" y="201596"/>
                      <a:pt x="177800" y="72983"/>
                    </a:cubicBezTo>
                    <a:cubicBezTo>
                      <a:pt x="177800" y="66885"/>
                      <a:pt x="182774" y="63559"/>
                      <a:pt x="188854" y="66331"/>
                    </a:cubicBezTo>
                    <a:close/>
                    <a:moveTo>
                      <a:pt x="99873" y="32460"/>
                    </a:moveTo>
                    <a:cubicBezTo>
                      <a:pt x="99873" y="32460"/>
                      <a:pt x="99873" y="32460"/>
                      <a:pt x="151992" y="52039"/>
                    </a:cubicBezTo>
                    <a:cubicBezTo>
                      <a:pt x="158576" y="54276"/>
                      <a:pt x="163513" y="61549"/>
                      <a:pt x="163513" y="67702"/>
                    </a:cubicBezTo>
                    <a:cubicBezTo>
                      <a:pt x="163513" y="67702"/>
                      <a:pt x="163513" y="67702"/>
                      <a:pt x="163513" y="196925"/>
                    </a:cubicBezTo>
                    <a:cubicBezTo>
                      <a:pt x="163513" y="203078"/>
                      <a:pt x="158576" y="206435"/>
                      <a:pt x="151992" y="204197"/>
                    </a:cubicBezTo>
                    <a:cubicBezTo>
                      <a:pt x="151992" y="204197"/>
                      <a:pt x="151992" y="204197"/>
                      <a:pt x="99873" y="184618"/>
                    </a:cubicBezTo>
                    <a:cubicBezTo>
                      <a:pt x="93838" y="182380"/>
                      <a:pt x="88900" y="175668"/>
                      <a:pt x="88900" y="169514"/>
                    </a:cubicBezTo>
                    <a:cubicBezTo>
                      <a:pt x="88900" y="169514"/>
                      <a:pt x="88900" y="169514"/>
                      <a:pt x="88900" y="39732"/>
                    </a:cubicBezTo>
                    <a:cubicBezTo>
                      <a:pt x="88900" y="33578"/>
                      <a:pt x="93838" y="30222"/>
                      <a:pt x="99873" y="32460"/>
                    </a:cubicBezTo>
                    <a:close/>
                    <a:moveTo>
                      <a:pt x="11054" y="689"/>
                    </a:moveTo>
                    <a:cubicBezTo>
                      <a:pt x="11054" y="689"/>
                      <a:pt x="11054" y="689"/>
                      <a:pt x="63559" y="20092"/>
                    </a:cubicBezTo>
                    <a:cubicBezTo>
                      <a:pt x="69639" y="22310"/>
                      <a:pt x="74613" y="28962"/>
                      <a:pt x="74613" y="35614"/>
                    </a:cubicBezTo>
                    <a:cubicBezTo>
                      <a:pt x="74613" y="35614"/>
                      <a:pt x="74613" y="35614"/>
                      <a:pt x="74613" y="163673"/>
                    </a:cubicBezTo>
                    <a:cubicBezTo>
                      <a:pt x="74613" y="169771"/>
                      <a:pt x="69639" y="173097"/>
                      <a:pt x="63559" y="170879"/>
                    </a:cubicBezTo>
                    <a:cubicBezTo>
                      <a:pt x="63559" y="170879"/>
                      <a:pt x="63559" y="170879"/>
                      <a:pt x="11054" y="151477"/>
                    </a:cubicBezTo>
                    <a:cubicBezTo>
                      <a:pt x="4974" y="149259"/>
                      <a:pt x="0" y="142607"/>
                      <a:pt x="0" y="136509"/>
                    </a:cubicBezTo>
                    <a:cubicBezTo>
                      <a:pt x="0" y="136509"/>
                      <a:pt x="0" y="136509"/>
                      <a:pt x="0" y="7896"/>
                    </a:cubicBezTo>
                    <a:cubicBezTo>
                      <a:pt x="0" y="1798"/>
                      <a:pt x="4974" y="-1528"/>
                      <a:pt x="11054" y="689"/>
                    </a:cubicBez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326" name="Freeform 79">
                <a:extLst>
                  <a:ext uri="{FF2B5EF4-FFF2-40B4-BE49-F238E27FC236}">
                    <a16:creationId xmlns:a16="http://schemas.microsoft.com/office/drawing/2014/main" id="{DC989F83-6E65-4FCB-9A18-797174A543FD}"/>
                  </a:ext>
                </a:extLst>
              </p:cNvPr>
              <p:cNvSpPr>
                <a:spLocks/>
              </p:cNvSpPr>
              <p:nvPr/>
            </p:nvSpPr>
            <p:spPr bwMode="auto">
              <a:xfrm>
                <a:off x="5935664" y="2032522"/>
                <a:ext cx="320675" cy="3439413"/>
              </a:xfrm>
              <a:custGeom>
                <a:avLst/>
                <a:gdLst>
                  <a:gd name="T0" fmla="*/ 288 w 577"/>
                  <a:gd name="T1" fmla="*/ 5130 h 5130"/>
                  <a:gd name="T2" fmla="*/ 288 w 577"/>
                  <a:gd name="T3" fmla="*/ 5130 h 5130"/>
                  <a:gd name="T4" fmla="*/ 0 w 577"/>
                  <a:gd name="T5" fmla="*/ 4841 h 5130"/>
                  <a:gd name="T6" fmla="*/ 0 w 577"/>
                  <a:gd name="T7" fmla="*/ 288 h 5130"/>
                  <a:gd name="T8" fmla="*/ 288 w 577"/>
                  <a:gd name="T9" fmla="*/ 0 h 5130"/>
                  <a:gd name="T10" fmla="*/ 288 w 577"/>
                  <a:gd name="T11" fmla="*/ 0 h 5130"/>
                  <a:gd name="T12" fmla="*/ 577 w 577"/>
                  <a:gd name="T13" fmla="*/ 288 h 5130"/>
                  <a:gd name="T14" fmla="*/ 577 w 577"/>
                  <a:gd name="T15" fmla="*/ 4841 h 5130"/>
                  <a:gd name="T16" fmla="*/ 288 w 577"/>
                  <a:gd name="T17" fmla="*/ 5130 h 5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7" h="5130">
                    <a:moveTo>
                      <a:pt x="288" y="5130"/>
                    </a:moveTo>
                    <a:cubicBezTo>
                      <a:pt x="288" y="5130"/>
                      <a:pt x="288" y="5130"/>
                      <a:pt x="288" y="5130"/>
                    </a:cubicBezTo>
                    <a:cubicBezTo>
                      <a:pt x="129" y="5130"/>
                      <a:pt x="0" y="5001"/>
                      <a:pt x="0" y="4841"/>
                    </a:cubicBezTo>
                    <a:cubicBezTo>
                      <a:pt x="0" y="288"/>
                      <a:pt x="0" y="288"/>
                      <a:pt x="0" y="288"/>
                    </a:cubicBezTo>
                    <a:cubicBezTo>
                      <a:pt x="0" y="129"/>
                      <a:pt x="129" y="0"/>
                      <a:pt x="288" y="0"/>
                    </a:cubicBezTo>
                    <a:cubicBezTo>
                      <a:pt x="288" y="0"/>
                      <a:pt x="288" y="0"/>
                      <a:pt x="288" y="0"/>
                    </a:cubicBezTo>
                    <a:cubicBezTo>
                      <a:pt x="448" y="0"/>
                      <a:pt x="577" y="129"/>
                      <a:pt x="577" y="288"/>
                    </a:cubicBezTo>
                    <a:cubicBezTo>
                      <a:pt x="577" y="4841"/>
                      <a:pt x="577" y="4841"/>
                      <a:pt x="577" y="4841"/>
                    </a:cubicBezTo>
                    <a:cubicBezTo>
                      <a:pt x="577" y="5001"/>
                      <a:pt x="448" y="5130"/>
                      <a:pt x="288" y="513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328" name="Oval 327">
              <a:extLst>
                <a:ext uri="{FF2B5EF4-FFF2-40B4-BE49-F238E27FC236}">
                  <a16:creationId xmlns:a16="http://schemas.microsoft.com/office/drawing/2014/main" id="{1B248DA5-5E33-4102-937B-07CCD4D28472}"/>
                </a:ext>
              </a:extLst>
            </p:cNvPr>
            <p:cNvSpPr/>
            <p:nvPr/>
          </p:nvSpPr>
          <p:spPr bwMode="gray">
            <a:xfrm>
              <a:off x="2886337" y="2547684"/>
              <a:ext cx="1005840" cy="731520"/>
            </a:xfrm>
            <a:prstGeom prst="ellipse">
              <a:avLst/>
            </a:prstGeom>
            <a:gradFill>
              <a:gsLst>
                <a:gs pos="0">
                  <a:schemeClr val="accent1">
                    <a:lumMod val="75000"/>
                  </a:schemeClr>
                </a:gs>
                <a:gs pos="65000">
                  <a:schemeClr val="accent1"/>
                </a:gs>
              </a:gsLst>
              <a:lin ang="189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7724" tIns="38862" rIns="77724" bIns="38862" numCol="1" spcCol="0" rtlCol="0" fromWordArt="0" anchor="ctr" anchorCtr="0" forceAA="0" compatLnSpc="1">
              <a:prstTxWarp prst="textNoShape">
                <a:avLst/>
              </a:prstTxWarp>
              <a:noAutofit/>
            </a:bodyPr>
            <a:lstStyle/>
            <a:p>
              <a:pPr algn="ctr"/>
              <a:endParaRPr lang="en-US" sz="6000" b="1" dirty="0" err="1">
                <a:solidFill>
                  <a:srgbClr val="314FD5"/>
                </a:solidFill>
                <a:latin typeface="Microsoft Sans Serif" panose="020B0604020202020204" pitchFamily="34" charset="0"/>
              </a:endParaRPr>
            </a:p>
          </p:txBody>
        </p:sp>
        <p:sp>
          <p:nvSpPr>
            <p:cNvPr id="329" name="Oval 328">
              <a:extLst>
                <a:ext uri="{FF2B5EF4-FFF2-40B4-BE49-F238E27FC236}">
                  <a16:creationId xmlns:a16="http://schemas.microsoft.com/office/drawing/2014/main" id="{A98B0118-AB25-4224-B5AB-71D6E7E80202}"/>
                </a:ext>
              </a:extLst>
            </p:cNvPr>
            <p:cNvSpPr/>
            <p:nvPr/>
          </p:nvSpPr>
          <p:spPr bwMode="gray">
            <a:xfrm>
              <a:off x="2936909" y="2593376"/>
              <a:ext cx="914400" cy="640080"/>
            </a:xfrm>
            <a:prstGeom prst="ellipse">
              <a:avLst/>
            </a:prstGeom>
            <a:gradFill>
              <a:gsLst>
                <a:gs pos="0">
                  <a:schemeClr val="accent5">
                    <a:lumMod val="20000"/>
                    <a:lumOff val="80000"/>
                  </a:schemeClr>
                </a:gs>
                <a:gs pos="100000">
                  <a:schemeClr val="accent6">
                    <a:lumMod val="20000"/>
                    <a:lumOff val="80000"/>
                  </a:schemeClr>
                </a:gs>
              </a:gsLst>
              <a:lin ang="18900000" scaled="0"/>
            </a:gradFill>
            <a:ln>
              <a:noFill/>
            </a:ln>
            <a:effectLst>
              <a:outerShdw blurRad="381000" dist="241300" dir="10800000" sx="68000" sy="68000" algn="r" rotWithShape="0">
                <a:prstClr val="black">
                  <a:alpha val="5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6000" dirty="0" err="1">
                <a:solidFill>
                  <a:prstClr val="white"/>
                </a:solidFill>
                <a:latin typeface="Microsoft Sans Serif" panose="020B0604020202020204" pitchFamily="34" charset="0"/>
              </a:endParaRPr>
            </a:p>
          </p:txBody>
        </p:sp>
        <p:sp>
          <p:nvSpPr>
            <p:cNvPr id="330" name="Oval 329">
              <a:extLst>
                <a:ext uri="{FF2B5EF4-FFF2-40B4-BE49-F238E27FC236}">
                  <a16:creationId xmlns:a16="http://schemas.microsoft.com/office/drawing/2014/main" id="{321DE140-5969-4F24-B2B6-AF8189ECA18D}"/>
                </a:ext>
              </a:extLst>
            </p:cNvPr>
            <p:cNvSpPr/>
            <p:nvPr/>
          </p:nvSpPr>
          <p:spPr bwMode="gray">
            <a:xfrm>
              <a:off x="2979212" y="2638259"/>
              <a:ext cx="822960" cy="548640"/>
            </a:xfrm>
            <a:prstGeom prst="ellipse">
              <a:avLst/>
            </a:prstGeom>
            <a:gradFill>
              <a:gsLst>
                <a:gs pos="0">
                  <a:srgbClr val="ECEFF3"/>
                </a:gs>
                <a:gs pos="65000">
                  <a:schemeClr val="bg1">
                    <a:lumMod val="0"/>
                    <a:lumOff val="100000"/>
                  </a:schemeClr>
                </a:gs>
              </a:gsLst>
              <a:lin ang="18900000" scaled="0"/>
            </a:gradFill>
            <a:ln>
              <a:noFill/>
            </a:ln>
            <a:effectLst>
              <a:outerShdw blurRad="241300" dist="190500" dir="8100000" sx="67000" sy="67000" algn="t" rotWithShape="0">
                <a:schemeClr val="tx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7724" tIns="38862" rIns="77724" bIns="38862" numCol="1" spcCol="0" rtlCol="0" fromWordArt="0" anchor="ctr" anchorCtr="0" forceAA="0" compatLnSpc="1">
              <a:prstTxWarp prst="textNoShape">
                <a:avLst/>
              </a:prstTxWarp>
              <a:noAutofit/>
            </a:bodyPr>
            <a:lstStyle/>
            <a:p>
              <a:pPr algn="ctr"/>
              <a:endParaRPr lang="en-US" sz="6000" b="1" dirty="0">
                <a:solidFill>
                  <a:srgbClr val="4A5A74"/>
                </a:solidFill>
                <a:effectLst>
                  <a:innerShdw blurRad="63500" dist="50800" dir="13500000">
                    <a:srgbClr val="314FD5">
                      <a:lumMod val="50000"/>
                      <a:alpha val="15000"/>
                    </a:srgbClr>
                  </a:innerShdw>
                </a:effectLst>
                <a:latin typeface="Microsoft Sans Serif" panose="020B0604020202020204" pitchFamily="34" charset="0"/>
              </a:endParaRPr>
            </a:p>
          </p:txBody>
        </p:sp>
        <p:sp>
          <p:nvSpPr>
            <p:cNvPr id="22" name="TextBox 21">
              <a:extLst>
                <a:ext uri="{FF2B5EF4-FFF2-40B4-BE49-F238E27FC236}">
                  <a16:creationId xmlns:a16="http://schemas.microsoft.com/office/drawing/2014/main" id="{A34C0C8F-BD45-43D4-9425-194E1737E14C}"/>
                </a:ext>
              </a:extLst>
            </p:cNvPr>
            <p:cNvSpPr txBox="1"/>
            <p:nvPr/>
          </p:nvSpPr>
          <p:spPr>
            <a:xfrm>
              <a:off x="3139116" y="2685822"/>
              <a:ext cx="492503" cy="472694"/>
            </a:xfrm>
            <a:prstGeom prst="rect">
              <a:avLst/>
            </a:prstGeom>
          </p:spPr>
          <p:txBody>
            <a:bodyPr wrap="square" lIns="0" tIns="0" rIns="0" bIns="0" rtlCol="0">
              <a:spAutoFit/>
            </a:bodyPr>
            <a:lstStyle/>
            <a:p>
              <a:pPr algn="ctr">
                <a:lnSpc>
                  <a:spcPct val="96000"/>
                </a:lnSpc>
              </a:pPr>
              <a:r>
                <a:rPr lang="en-US" sz="1600" dirty="0">
                  <a:solidFill>
                    <a:srgbClr val="0033CC"/>
                  </a:solidFill>
                  <a:latin typeface="Microsoft Sans Serif"/>
                  <a:cs typeface="Microsoft Sans Serif" panose="020B0604020202020204" pitchFamily="34" charset="0"/>
                </a:rPr>
                <a:t>NR/</a:t>
              </a:r>
            </a:p>
            <a:p>
              <a:pPr algn="ctr">
                <a:lnSpc>
                  <a:spcPct val="96000"/>
                </a:lnSpc>
              </a:pPr>
              <a:r>
                <a:rPr lang="en-US" sz="1600" dirty="0" err="1">
                  <a:solidFill>
                    <a:srgbClr val="0033CC"/>
                  </a:solidFill>
                  <a:latin typeface="Microsoft Sans Serif"/>
                  <a:cs typeface="Microsoft Sans Serif" panose="020B0604020202020204" pitchFamily="34" charset="0"/>
                </a:rPr>
                <a:t>gNB</a:t>
              </a:r>
              <a:endParaRPr lang="en-US" sz="1600" dirty="0">
                <a:solidFill>
                  <a:srgbClr val="0033CC"/>
                </a:solidFill>
                <a:latin typeface="Microsoft Sans Serif"/>
                <a:cs typeface="Microsoft Sans Serif" panose="020B0604020202020204" pitchFamily="34" charset="0"/>
              </a:endParaRPr>
            </a:p>
          </p:txBody>
        </p:sp>
        <p:sp>
          <p:nvSpPr>
            <p:cNvPr id="309" name="Rectangle: Rounded Corners 18">
              <a:extLst>
                <a:ext uri="{FF2B5EF4-FFF2-40B4-BE49-F238E27FC236}">
                  <a16:creationId xmlns:a16="http://schemas.microsoft.com/office/drawing/2014/main" id="{8A647813-214F-412B-8F27-A980BEB79A91}"/>
                </a:ext>
              </a:extLst>
            </p:cNvPr>
            <p:cNvSpPr/>
            <p:nvPr/>
          </p:nvSpPr>
          <p:spPr>
            <a:xfrm>
              <a:off x="5768207" y="2720576"/>
              <a:ext cx="1692598" cy="1353951"/>
            </a:xfrm>
            <a:prstGeom prst="roundRect">
              <a:avLst>
                <a:gd name="adj" fmla="val 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endParaRPr>
            </a:p>
          </p:txBody>
        </p:sp>
        <p:grpSp>
          <p:nvGrpSpPr>
            <p:cNvPr id="24" name="Group 23">
              <a:extLst>
                <a:ext uri="{FF2B5EF4-FFF2-40B4-BE49-F238E27FC236}">
                  <a16:creationId xmlns:a16="http://schemas.microsoft.com/office/drawing/2014/main" id="{AC577229-A5B5-4C9F-BC17-A612FC24A335}"/>
                </a:ext>
              </a:extLst>
            </p:cNvPr>
            <p:cNvGrpSpPr/>
            <p:nvPr/>
          </p:nvGrpSpPr>
          <p:grpSpPr>
            <a:xfrm>
              <a:off x="6070641" y="3474951"/>
              <a:ext cx="1075962" cy="516737"/>
              <a:chOff x="6102675" y="3344603"/>
              <a:chExt cx="989148" cy="605634"/>
            </a:xfrm>
          </p:grpSpPr>
          <p:sp>
            <p:nvSpPr>
              <p:cNvPr id="310" name="Freeform 12">
                <a:extLst>
                  <a:ext uri="{FF2B5EF4-FFF2-40B4-BE49-F238E27FC236}">
                    <a16:creationId xmlns:a16="http://schemas.microsoft.com/office/drawing/2014/main" id="{852F4B6F-7953-4410-84D3-11D7ED121A32}"/>
                  </a:ext>
                </a:extLst>
              </p:cNvPr>
              <p:cNvSpPr>
                <a:spLocks/>
              </p:cNvSpPr>
              <p:nvPr/>
            </p:nvSpPr>
            <p:spPr bwMode="auto">
              <a:xfrm>
                <a:off x="6102675" y="3344603"/>
                <a:ext cx="989148" cy="605634"/>
              </a:xfrm>
              <a:custGeom>
                <a:avLst/>
                <a:gdLst>
                  <a:gd name="connsiteX0" fmla="*/ 72361 w 2192528"/>
                  <a:gd name="connsiteY0" fmla="*/ 1028594 h 1463040"/>
                  <a:gd name="connsiteX1" fmla="*/ 2120167 w 2192528"/>
                  <a:gd name="connsiteY1" fmla="*/ 1028594 h 1463040"/>
                  <a:gd name="connsiteX2" fmla="*/ 2192528 w 2192528"/>
                  <a:gd name="connsiteY2" fmla="*/ 1101002 h 1463040"/>
                  <a:gd name="connsiteX3" fmla="*/ 2192528 w 2192528"/>
                  <a:gd name="connsiteY3" fmla="*/ 1390633 h 1463040"/>
                  <a:gd name="connsiteX4" fmla="*/ 2120167 w 2192528"/>
                  <a:gd name="connsiteY4" fmla="*/ 1463040 h 1463040"/>
                  <a:gd name="connsiteX5" fmla="*/ 72361 w 2192528"/>
                  <a:gd name="connsiteY5" fmla="*/ 1463040 h 1463040"/>
                  <a:gd name="connsiteX6" fmla="*/ 0 w 2192528"/>
                  <a:gd name="connsiteY6" fmla="*/ 1390633 h 1463040"/>
                  <a:gd name="connsiteX7" fmla="*/ 0 w 2192528"/>
                  <a:gd name="connsiteY7" fmla="*/ 1101002 h 1463040"/>
                  <a:gd name="connsiteX8" fmla="*/ 72361 w 2192528"/>
                  <a:gd name="connsiteY8" fmla="*/ 1028594 h 1463040"/>
                  <a:gd name="connsiteX9" fmla="*/ 72361 w 2192528"/>
                  <a:gd name="connsiteY9" fmla="*/ 514298 h 1463040"/>
                  <a:gd name="connsiteX10" fmla="*/ 2120167 w 2192528"/>
                  <a:gd name="connsiteY10" fmla="*/ 514298 h 1463040"/>
                  <a:gd name="connsiteX11" fmla="*/ 2192528 w 2192528"/>
                  <a:gd name="connsiteY11" fmla="*/ 586706 h 1463040"/>
                  <a:gd name="connsiteX12" fmla="*/ 2192528 w 2192528"/>
                  <a:gd name="connsiteY12" fmla="*/ 876337 h 1463040"/>
                  <a:gd name="connsiteX13" fmla="*/ 2120167 w 2192528"/>
                  <a:gd name="connsiteY13" fmla="*/ 948744 h 1463040"/>
                  <a:gd name="connsiteX14" fmla="*/ 72361 w 2192528"/>
                  <a:gd name="connsiteY14" fmla="*/ 948744 h 1463040"/>
                  <a:gd name="connsiteX15" fmla="*/ 0 w 2192528"/>
                  <a:gd name="connsiteY15" fmla="*/ 876337 h 1463040"/>
                  <a:gd name="connsiteX16" fmla="*/ 0 w 2192528"/>
                  <a:gd name="connsiteY16" fmla="*/ 586706 h 1463040"/>
                  <a:gd name="connsiteX17" fmla="*/ 72361 w 2192528"/>
                  <a:gd name="connsiteY17" fmla="*/ 514298 h 1463040"/>
                  <a:gd name="connsiteX18" fmla="*/ 72361 w 2192528"/>
                  <a:gd name="connsiteY18" fmla="*/ 0 h 1463040"/>
                  <a:gd name="connsiteX19" fmla="*/ 2120167 w 2192528"/>
                  <a:gd name="connsiteY19" fmla="*/ 0 h 1463040"/>
                  <a:gd name="connsiteX20" fmla="*/ 2192528 w 2192528"/>
                  <a:gd name="connsiteY20" fmla="*/ 72408 h 1463040"/>
                  <a:gd name="connsiteX21" fmla="*/ 2192528 w 2192528"/>
                  <a:gd name="connsiteY21" fmla="*/ 362038 h 1463040"/>
                  <a:gd name="connsiteX22" fmla="*/ 2120167 w 2192528"/>
                  <a:gd name="connsiteY22" fmla="*/ 434446 h 1463040"/>
                  <a:gd name="connsiteX23" fmla="*/ 72361 w 2192528"/>
                  <a:gd name="connsiteY23" fmla="*/ 434446 h 1463040"/>
                  <a:gd name="connsiteX24" fmla="*/ 0 w 2192528"/>
                  <a:gd name="connsiteY24" fmla="*/ 362038 h 1463040"/>
                  <a:gd name="connsiteX25" fmla="*/ 0 w 2192528"/>
                  <a:gd name="connsiteY25" fmla="*/ 72408 h 1463040"/>
                  <a:gd name="connsiteX26" fmla="*/ 72361 w 2192528"/>
                  <a:gd name="connsiteY26" fmla="*/ 0 h 14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92528" h="1463040">
                    <a:moveTo>
                      <a:pt x="72361" y="1028594"/>
                    </a:moveTo>
                    <a:cubicBezTo>
                      <a:pt x="2120167" y="1028594"/>
                      <a:pt x="2120167" y="1028594"/>
                      <a:pt x="2120167" y="1028594"/>
                    </a:cubicBezTo>
                    <a:cubicBezTo>
                      <a:pt x="2159966" y="1028594"/>
                      <a:pt x="2192528" y="1061178"/>
                      <a:pt x="2192528" y="1101002"/>
                    </a:cubicBezTo>
                    <a:lnTo>
                      <a:pt x="2192528" y="1390633"/>
                    </a:lnTo>
                    <a:cubicBezTo>
                      <a:pt x="2192528" y="1430457"/>
                      <a:pt x="2159966" y="1463040"/>
                      <a:pt x="2120167" y="1463040"/>
                    </a:cubicBezTo>
                    <a:cubicBezTo>
                      <a:pt x="72361" y="1463040"/>
                      <a:pt x="72361" y="1463040"/>
                      <a:pt x="72361" y="1463040"/>
                    </a:cubicBezTo>
                    <a:cubicBezTo>
                      <a:pt x="32562" y="1463040"/>
                      <a:pt x="0" y="1430457"/>
                      <a:pt x="0" y="1390633"/>
                    </a:cubicBezTo>
                    <a:cubicBezTo>
                      <a:pt x="0" y="1101002"/>
                      <a:pt x="0" y="1101002"/>
                      <a:pt x="0" y="1101002"/>
                    </a:cubicBezTo>
                    <a:cubicBezTo>
                      <a:pt x="0" y="1061178"/>
                      <a:pt x="32562" y="1028594"/>
                      <a:pt x="72361" y="1028594"/>
                    </a:cubicBezTo>
                    <a:close/>
                    <a:moveTo>
                      <a:pt x="72361" y="514298"/>
                    </a:moveTo>
                    <a:cubicBezTo>
                      <a:pt x="2120167" y="514298"/>
                      <a:pt x="2120167" y="514298"/>
                      <a:pt x="2120167" y="514298"/>
                    </a:cubicBezTo>
                    <a:cubicBezTo>
                      <a:pt x="2159966" y="514298"/>
                      <a:pt x="2192528" y="546882"/>
                      <a:pt x="2192528" y="586706"/>
                    </a:cubicBezTo>
                    <a:lnTo>
                      <a:pt x="2192528" y="876337"/>
                    </a:lnTo>
                    <a:cubicBezTo>
                      <a:pt x="2192528" y="916161"/>
                      <a:pt x="2159966" y="948744"/>
                      <a:pt x="2120167" y="948744"/>
                    </a:cubicBezTo>
                    <a:cubicBezTo>
                      <a:pt x="72361" y="948744"/>
                      <a:pt x="72361" y="948744"/>
                      <a:pt x="72361" y="948744"/>
                    </a:cubicBezTo>
                    <a:cubicBezTo>
                      <a:pt x="32562" y="948744"/>
                      <a:pt x="0" y="916161"/>
                      <a:pt x="0" y="876337"/>
                    </a:cubicBezTo>
                    <a:cubicBezTo>
                      <a:pt x="0" y="586706"/>
                      <a:pt x="0" y="586706"/>
                      <a:pt x="0" y="586706"/>
                    </a:cubicBezTo>
                    <a:cubicBezTo>
                      <a:pt x="0" y="546882"/>
                      <a:pt x="32562" y="514298"/>
                      <a:pt x="72361" y="514298"/>
                    </a:cubicBezTo>
                    <a:close/>
                    <a:moveTo>
                      <a:pt x="72361" y="0"/>
                    </a:moveTo>
                    <a:cubicBezTo>
                      <a:pt x="2120167" y="0"/>
                      <a:pt x="2120167" y="0"/>
                      <a:pt x="2120167" y="0"/>
                    </a:cubicBezTo>
                    <a:cubicBezTo>
                      <a:pt x="2159966" y="0"/>
                      <a:pt x="2192528" y="32584"/>
                      <a:pt x="2192528" y="72408"/>
                    </a:cubicBezTo>
                    <a:lnTo>
                      <a:pt x="2192528" y="362038"/>
                    </a:lnTo>
                    <a:cubicBezTo>
                      <a:pt x="2192528" y="401863"/>
                      <a:pt x="2159966" y="434446"/>
                      <a:pt x="2120167" y="434446"/>
                    </a:cubicBezTo>
                    <a:cubicBezTo>
                      <a:pt x="72361" y="434446"/>
                      <a:pt x="72361" y="434446"/>
                      <a:pt x="72361" y="434446"/>
                    </a:cubicBezTo>
                    <a:cubicBezTo>
                      <a:pt x="32562" y="434446"/>
                      <a:pt x="0" y="401863"/>
                      <a:pt x="0" y="362038"/>
                    </a:cubicBezTo>
                    <a:cubicBezTo>
                      <a:pt x="0" y="72408"/>
                      <a:pt x="0" y="72408"/>
                      <a:pt x="0" y="72408"/>
                    </a:cubicBezTo>
                    <a:cubicBezTo>
                      <a:pt x="0" y="32584"/>
                      <a:pt x="32562" y="0"/>
                      <a:pt x="72361" y="0"/>
                    </a:cubicBez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endParaRPr>
              </a:p>
            </p:txBody>
          </p:sp>
          <p:sp>
            <p:nvSpPr>
              <p:cNvPr id="312" name="Freeform: Shape 20">
                <a:extLst>
                  <a:ext uri="{FF2B5EF4-FFF2-40B4-BE49-F238E27FC236}">
                    <a16:creationId xmlns:a16="http://schemas.microsoft.com/office/drawing/2014/main" id="{068F950E-8D16-4ABF-A64A-6657D9749C8D}"/>
                  </a:ext>
                </a:extLst>
              </p:cNvPr>
              <p:cNvSpPr>
                <a:spLocks/>
              </p:cNvSpPr>
              <p:nvPr/>
            </p:nvSpPr>
            <p:spPr bwMode="auto">
              <a:xfrm>
                <a:off x="6136483" y="3399549"/>
                <a:ext cx="889622" cy="488821"/>
              </a:xfrm>
              <a:custGeom>
                <a:avLst/>
                <a:gdLst>
                  <a:gd name="connsiteX0" fmla="*/ 1313487 w 1971922"/>
                  <a:gd name="connsiteY0" fmla="*/ 1036039 h 1180855"/>
                  <a:gd name="connsiteX1" fmla="*/ 1385895 w 1971922"/>
                  <a:gd name="connsiteY1" fmla="*/ 1108447 h 1180855"/>
                  <a:gd name="connsiteX2" fmla="*/ 1313487 w 1971922"/>
                  <a:gd name="connsiteY2" fmla="*/ 1180855 h 1180855"/>
                  <a:gd name="connsiteX3" fmla="*/ 1241079 w 1971922"/>
                  <a:gd name="connsiteY3" fmla="*/ 1108447 h 1180855"/>
                  <a:gd name="connsiteX4" fmla="*/ 1313487 w 1971922"/>
                  <a:gd name="connsiteY4" fmla="*/ 1036039 h 1180855"/>
                  <a:gd name="connsiteX5" fmla="*/ 296734 w 1971922"/>
                  <a:gd name="connsiteY5" fmla="*/ 1036039 h 1180855"/>
                  <a:gd name="connsiteX6" fmla="*/ 368803 w 1971922"/>
                  <a:gd name="connsiteY6" fmla="*/ 1108447 h 1180855"/>
                  <a:gd name="connsiteX7" fmla="*/ 296734 w 1971922"/>
                  <a:gd name="connsiteY7" fmla="*/ 1180855 h 1180855"/>
                  <a:gd name="connsiteX8" fmla="*/ 224665 w 1971922"/>
                  <a:gd name="connsiteY8" fmla="*/ 1108447 h 1180855"/>
                  <a:gd name="connsiteX9" fmla="*/ 296734 w 1971922"/>
                  <a:gd name="connsiteY9" fmla="*/ 1036039 h 1180855"/>
                  <a:gd name="connsiteX10" fmla="*/ 72408 w 1971922"/>
                  <a:gd name="connsiteY10" fmla="*/ 1036039 h 1180855"/>
                  <a:gd name="connsiteX11" fmla="*/ 144816 w 1971922"/>
                  <a:gd name="connsiteY11" fmla="*/ 1108447 h 1180855"/>
                  <a:gd name="connsiteX12" fmla="*/ 72408 w 1971922"/>
                  <a:gd name="connsiteY12" fmla="*/ 1180855 h 1180855"/>
                  <a:gd name="connsiteX13" fmla="*/ 0 w 1971922"/>
                  <a:gd name="connsiteY13" fmla="*/ 1108447 h 1180855"/>
                  <a:gd name="connsiteX14" fmla="*/ 72408 w 1971922"/>
                  <a:gd name="connsiteY14" fmla="*/ 1036039 h 1180855"/>
                  <a:gd name="connsiteX15" fmla="*/ 1534059 w 1971922"/>
                  <a:gd name="connsiteY15" fmla="*/ 1028594 h 1180855"/>
                  <a:gd name="connsiteX16" fmla="*/ 1899548 w 1971922"/>
                  <a:gd name="connsiteY16" fmla="*/ 1028594 h 1180855"/>
                  <a:gd name="connsiteX17" fmla="*/ 1971922 w 1971922"/>
                  <a:gd name="connsiteY17" fmla="*/ 1101217 h 1180855"/>
                  <a:gd name="connsiteX18" fmla="*/ 1971922 w 1971922"/>
                  <a:gd name="connsiteY18" fmla="*/ 1104848 h 1180855"/>
                  <a:gd name="connsiteX19" fmla="*/ 1899548 w 1971922"/>
                  <a:gd name="connsiteY19" fmla="*/ 1177470 h 1180855"/>
                  <a:gd name="connsiteX20" fmla="*/ 1534059 w 1971922"/>
                  <a:gd name="connsiteY20" fmla="*/ 1177470 h 1180855"/>
                  <a:gd name="connsiteX21" fmla="*/ 1461685 w 1971922"/>
                  <a:gd name="connsiteY21" fmla="*/ 1104848 h 1180855"/>
                  <a:gd name="connsiteX22" fmla="*/ 1461685 w 1971922"/>
                  <a:gd name="connsiteY22" fmla="*/ 1101217 h 1180855"/>
                  <a:gd name="connsiteX23" fmla="*/ 1534059 w 1971922"/>
                  <a:gd name="connsiteY23" fmla="*/ 1028594 h 1180855"/>
                  <a:gd name="connsiteX24" fmla="*/ 1313487 w 1971922"/>
                  <a:gd name="connsiteY24" fmla="*/ 521741 h 1180855"/>
                  <a:gd name="connsiteX25" fmla="*/ 1385895 w 1971922"/>
                  <a:gd name="connsiteY25" fmla="*/ 594149 h 1180855"/>
                  <a:gd name="connsiteX26" fmla="*/ 1313487 w 1971922"/>
                  <a:gd name="connsiteY26" fmla="*/ 666557 h 1180855"/>
                  <a:gd name="connsiteX27" fmla="*/ 1241079 w 1971922"/>
                  <a:gd name="connsiteY27" fmla="*/ 594149 h 1180855"/>
                  <a:gd name="connsiteX28" fmla="*/ 1313487 w 1971922"/>
                  <a:gd name="connsiteY28" fmla="*/ 521741 h 1180855"/>
                  <a:gd name="connsiteX29" fmla="*/ 296734 w 1971922"/>
                  <a:gd name="connsiteY29" fmla="*/ 521741 h 1180855"/>
                  <a:gd name="connsiteX30" fmla="*/ 368803 w 1971922"/>
                  <a:gd name="connsiteY30" fmla="*/ 594149 h 1180855"/>
                  <a:gd name="connsiteX31" fmla="*/ 296734 w 1971922"/>
                  <a:gd name="connsiteY31" fmla="*/ 666557 h 1180855"/>
                  <a:gd name="connsiteX32" fmla="*/ 224665 w 1971922"/>
                  <a:gd name="connsiteY32" fmla="*/ 594149 h 1180855"/>
                  <a:gd name="connsiteX33" fmla="*/ 296734 w 1971922"/>
                  <a:gd name="connsiteY33" fmla="*/ 521741 h 1180855"/>
                  <a:gd name="connsiteX34" fmla="*/ 72408 w 1971922"/>
                  <a:gd name="connsiteY34" fmla="*/ 521741 h 1180855"/>
                  <a:gd name="connsiteX35" fmla="*/ 144816 w 1971922"/>
                  <a:gd name="connsiteY35" fmla="*/ 594149 h 1180855"/>
                  <a:gd name="connsiteX36" fmla="*/ 72408 w 1971922"/>
                  <a:gd name="connsiteY36" fmla="*/ 666557 h 1180855"/>
                  <a:gd name="connsiteX37" fmla="*/ 0 w 1971922"/>
                  <a:gd name="connsiteY37" fmla="*/ 594149 h 1180855"/>
                  <a:gd name="connsiteX38" fmla="*/ 72408 w 1971922"/>
                  <a:gd name="connsiteY38" fmla="*/ 521741 h 1180855"/>
                  <a:gd name="connsiteX39" fmla="*/ 1534059 w 1971922"/>
                  <a:gd name="connsiteY39" fmla="*/ 514298 h 1180855"/>
                  <a:gd name="connsiteX40" fmla="*/ 1899548 w 1971922"/>
                  <a:gd name="connsiteY40" fmla="*/ 514298 h 1180855"/>
                  <a:gd name="connsiteX41" fmla="*/ 1971922 w 1971922"/>
                  <a:gd name="connsiteY41" fmla="*/ 586920 h 1180855"/>
                  <a:gd name="connsiteX42" fmla="*/ 1971922 w 1971922"/>
                  <a:gd name="connsiteY42" fmla="*/ 590551 h 1180855"/>
                  <a:gd name="connsiteX43" fmla="*/ 1899548 w 1971922"/>
                  <a:gd name="connsiteY43" fmla="*/ 663174 h 1180855"/>
                  <a:gd name="connsiteX44" fmla="*/ 1534059 w 1971922"/>
                  <a:gd name="connsiteY44" fmla="*/ 663174 h 1180855"/>
                  <a:gd name="connsiteX45" fmla="*/ 1461685 w 1971922"/>
                  <a:gd name="connsiteY45" fmla="*/ 590551 h 1180855"/>
                  <a:gd name="connsiteX46" fmla="*/ 1461685 w 1971922"/>
                  <a:gd name="connsiteY46" fmla="*/ 586920 h 1180855"/>
                  <a:gd name="connsiteX47" fmla="*/ 1534059 w 1971922"/>
                  <a:gd name="connsiteY47" fmla="*/ 514298 h 1180855"/>
                  <a:gd name="connsiteX48" fmla="*/ 1313487 w 1971922"/>
                  <a:gd name="connsiteY48" fmla="*/ 7445 h 1180855"/>
                  <a:gd name="connsiteX49" fmla="*/ 1385895 w 1971922"/>
                  <a:gd name="connsiteY49" fmla="*/ 79853 h 1180855"/>
                  <a:gd name="connsiteX50" fmla="*/ 1313487 w 1971922"/>
                  <a:gd name="connsiteY50" fmla="*/ 152261 h 1180855"/>
                  <a:gd name="connsiteX51" fmla="*/ 1241079 w 1971922"/>
                  <a:gd name="connsiteY51" fmla="*/ 79853 h 1180855"/>
                  <a:gd name="connsiteX52" fmla="*/ 1313487 w 1971922"/>
                  <a:gd name="connsiteY52" fmla="*/ 7445 h 1180855"/>
                  <a:gd name="connsiteX53" fmla="*/ 296734 w 1971922"/>
                  <a:gd name="connsiteY53" fmla="*/ 7445 h 1180855"/>
                  <a:gd name="connsiteX54" fmla="*/ 368803 w 1971922"/>
                  <a:gd name="connsiteY54" fmla="*/ 79853 h 1180855"/>
                  <a:gd name="connsiteX55" fmla="*/ 296734 w 1971922"/>
                  <a:gd name="connsiteY55" fmla="*/ 152261 h 1180855"/>
                  <a:gd name="connsiteX56" fmla="*/ 224665 w 1971922"/>
                  <a:gd name="connsiteY56" fmla="*/ 79853 h 1180855"/>
                  <a:gd name="connsiteX57" fmla="*/ 296734 w 1971922"/>
                  <a:gd name="connsiteY57" fmla="*/ 7445 h 1180855"/>
                  <a:gd name="connsiteX58" fmla="*/ 72408 w 1971922"/>
                  <a:gd name="connsiteY58" fmla="*/ 7445 h 1180855"/>
                  <a:gd name="connsiteX59" fmla="*/ 144816 w 1971922"/>
                  <a:gd name="connsiteY59" fmla="*/ 79853 h 1180855"/>
                  <a:gd name="connsiteX60" fmla="*/ 72408 w 1971922"/>
                  <a:gd name="connsiteY60" fmla="*/ 152261 h 1180855"/>
                  <a:gd name="connsiteX61" fmla="*/ 0 w 1971922"/>
                  <a:gd name="connsiteY61" fmla="*/ 79853 h 1180855"/>
                  <a:gd name="connsiteX62" fmla="*/ 72408 w 1971922"/>
                  <a:gd name="connsiteY62" fmla="*/ 7445 h 1180855"/>
                  <a:gd name="connsiteX63" fmla="*/ 1534059 w 1971922"/>
                  <a:gd name="connsiteY63" fmla="*/ 0 h 1180855"/>
                  <a:gd name="connsiteX64" fmla="*/ 1899548 w 1971922"/>
                  <a:gd name="connsiteY64" fmla="*/ 0 h 1180855"/>
                  <a:gd name="connsiteX65" fmla="*/ 1971922 w 1971922"/>
                  <a:gd name="connsiteY65" fmla="*/ 72622 h 1180855"/>
                  <a:gd name="connsiteX66" fmla="*/ 1971922 w 1971922"/>
                  <a:gd name="connsiteY66" fmla="*/ 76253 h 1180855"/>
                  <a:gd name="connsiteX67" fmla="*/ 1899548 w 1971922"/>
                  <a:gd name="connsiteY67" fmla="*/ 148876 h 1180855"/>
                  <a:gd name="connsiteX68" fmla="*/ 1534059 w 1971922"/>
                  <a:gd name="connsiteY68" fmla="*/ 148876 h 1180855"/>
                  <a:gd name="connsiteX69" fmla="*/ 1461685 w 1971922"/>
                  <a:gd name="connsiteY69" fmla="*/ 76253 h 1180855"/>
                  <a:gd name="connsiteX70" fmla="*/ 1461685 w 1971922"/>
                  <a:gd name="connsiteY70" fmla="*/ 72622 h 1180855"/>
                  <a:gd name="connsiteX71" fmla="*/ 1534059 w 1971922"/>
                  <a:gd name="connsiteY71" fmla="*/ 0 h 11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971922" h="1180855">
                    <a:moveTo>
                      <a:pt x="1313487" y="1036039"/>
                    </a:moveTo>
                    <a:cubicBezTo>
                      <a:pt x="1353311" y="1036039"/>
                      <a:pt x="1385895" y="1068623"/>
                      <a:pt x="1385895" y="1108447"/>
                    </a:cubicBezTo>
                    <a:cubicBezTo>
                      <a:pt x="1385895" y="1148272"/>
                      <a:pt x="1353311" y="1180855"/>
                      <a:pt x="1313487" y="1180855"/>
                    </a:cubicBezTo>
                    <a:cubicBezTo>
                      <a:pt x="1273662" y="1180855"/>
                      <a:pt x="1241079" y="1148272"/>
                      <a:pt x="1241079" y="1108447"/>
                    </a:cubicBezTo>
                    <a:cubicBezTo>
                      <a:pt x="1241079" y="1068623"/>
                      <a:pt x="1273662" y="1036039"/>
                      <a:pt x="1313487" y="1036039"/>
                    </a:cubicBezTo>
                    <a:close/>
                    <a:moveTo>
                      <a:pt x="296734" y="1036039"/>
                    </a:moveTo>
                    <a:cubicBezTo>
                      <a:pt x="336372" y="1036039"/>
                      <a:pt x="368803" y="1068623"/>
                      <a:pt x="368803" y="1108447"/>
                    </a:cubicBezTo>
                    <a:cubicBezTo>
                      <a:pt x="368803" y="1148272"/>
                      <a:pt x="336372" y="1180855"/>
                      <a:pt x="296734" y="1180855"/>
                    </a:cubicBezTo>
                    <a:cubicBezTo>
                      <a:pt x="257096" y="1180855"/>
                      <a:pt x="224665" y="1148272"/>
                      <a:pt x="224665" y="1108447"/>
                    </a:cubicBezTo>
                    <a:cubicBezTo>
                      <a:pt x="224665" y="1068623"/>
                      <a:pt x="257096" y="1036039"/>
                      <a:pt x="296734" y="1036039"/>
                    </a:cubicBezTo>
                    <a:close/>
                    <a:moveTo>
                      <a:pt x="72408" y="1036039"/>
                    </a:moveTo>
                    <a:cubicBezTo>
                      <a:pt x="112232" y="1036039"/>
                      <a:pt x="144816" y="1068623"/>
                      <a:pt x="144816" y="1108447"/>
                    </a:cubicBezTo>
                    <a:cubicBezTo>
                      <a:pt x="144816" y="1148272"/>
                      <a:pt x="112232" y="1180855"/>
                      <a:pt x="72408" y="1180855"/>
                    </a:cubicBezTo>
                    <a:cubicBezTo>
                      <a:pt x="32583" y="1180855"/>
                      <a:pt x="0" y="1148272"/>
                      <a:pt x="0" y="1108447"/>
                    </a:cubicBezTo>
                    <a:cubicBezTo>
                      <a:pt x="0" y="1068623"/>
                      <a:pt x="32583" y="1036039"/>
                      <a:pt x="72408" y="1036039"/>
                    </a:cubicBezTo>
                    <a:close/>
                    <a:moveTo>
                      <a:pt x="1534059" y="1028594"/>
                    </a:moveTo>
                    <a:cubicBezTo>
                      <a:pt x="1899548" y="1028594"/>
                      <a:pt x="1899548" y="1028594"/>
                      <a:pt x="1899548" y="1028594"/>
                    </a:cubicBezTo>
                    <a:cubicBezTo>
                      <a:pt x="1939354" y="1028594"/>
                      <a:pt x="1971922" y="1061274"/>
                      <a:pt x="1971922" y="1101217"/>
                    </a:cubicBezTo>
                    <a:lnTo>
                      <a:pt x="1971922" y="1104848"/>
                    </a:lnTo>
                    <a:cubicBezTo>
                      <a:pt x="1971922" y="1144790"/>
                      <a:pt x="1939354" y="1177470"/>
                      <a:pt x="1899548" y="1177470"/>
                    </a:cubicBezTo>
                    <a:cubicBezTo>
                      <a:pt x="1534059" y="1177470"/>
                      <a:pt x="1534059" y="1177470"/>
                      <a:pt x="1534059" y="1177470"/>
                    </a:cubicBezTo>
                    <a:cubicBezTo>
                      <a:pt x="1494253" y="1177470"/>
                      <a:pt x="1461685" y="1144790"/>
                      <a:pt x="1461685" y="1104848"/>
                    </a:cubicBezTo>
                    <a:cubicBezTo>
                      <a:pt x="1461685" y="1101217"/>
                      <a:pt x="1461685" y="1101217"/>
                      <a:pt x="1461685" y="1101217"/>
                    </a:cubicBezTo>
                    <a:cubicBezTo>
                      <a:pt x="1461685" y="1061274"/>
                      <a:pt x="1494253" y="1028594"/>
                      <a:pt x="1534059" y="1028594"/>
                    </a:cubicBezTo>
                    <a:close/>
                    <a:moveTo>
                      <a:pt x="1313487" y="521741"/>
                    </a:moveTo>
                    <a:cubicBezTo>
                      <a:pt x="1353311" y="521741"/>
                      <a:pt x="1385895" y="554324"/>
                      <a:pt x="1385895" y="594149"/>
                    </a:cubicBezTo>
                    <a:cubicBezTo>
                      <a:pt x="1385895" y="633973"/>
                      <a:pt x="1353311" y="666557"/>
                      <a:pt x="1313487" y="666557"/>
                    </a:cubicBezTo>
                    <a:cubicBezTo>
                      <a:pt x="1273662" y="666557"/>
                      <a:pt x="1241079" y="633973"/>
                      <a:pt x="1241079" y="594149"/>
                    </a:cubicBezTo>
                    <a:cubicBezTo>
                      <a:pt x="1241079" y="554324"/>
                      <a:pt x="1273662" y="521741"/>
                      <a:pt x="1313487" y="521741"/>
                    </a:cubicBezTo>
                    <a:close/>
                    <a:moveTo>
                      <a:pt x="296734" y="521741"/>
                    </a:moveTo>
                    <a:cubicBezTo>
                      <a:pt x="336372" y="521741"/>
                      <a:pt x="368803" y="554324"/>
                      <a:pt x="368803" y="594149"/>
                    </a:cubicBezTo>
                    <a:cubicBezTo>
                      <a:pt x="368803" y="633973"/>
                      <a:pt x="336372" y="666557"/>
                      <a:pt x="296734" y="666557"/>
                    </a:cubicBezTo>
                    <a:cubicBezTo>
                      <a:pt x="257096" y="666557"/>
                      <a:pt x="224665" y="633973"/>
                      <a:pt x="224665" y="594149"/>
                    </a:cubicBezTo>
                    <a:cubicBezTo>
                      <a:pt x="224665" y="554324"/>
                      <a:pt x="257096" y="521741"/>
                      <a:pt x="296734" y="521741"/>
                    </a:cubicBezTo>
                    <a:close/>
                    <a:moveTo>
                      <a:pt x="72408" y="521741"/>
                    </a:moveTo>
                    <a:cubicBezTo>
                      <a:pt x="112232" y="521741"/>
                      <a:pt x="144816" y="554324"/>
                      <a:pt x="144816" y="594149"/>
                    </a:cubicBezTo>
                    <a:cubicBezTo>
                      <a:pt x="144816" y="633973"/>
                      <a:pt x="112232" y="666557"/>
                      <a:pt x="72408" y="666557"/>
                    </a:cubicBezTo>
                    <a:cubicBezTo>
                      <a:pt x="32583" y="666557"/>
                      <a:pt x="0" y="633973"/>
                      <a:pt x="0" y="594149"/>
                    </a:cubicBezTo>
                    <a:cubicBezTo>
                      <a:pt x="0" y="554324"/>
                      <a:pt x="32583" y="521741"/>
                      <a:pt x="72408" y="521741"/>
                    </a:cubicBezTo>
                    <a:close/>
                    <a:moveTo>
                      <a:pt x="1534059" y="514298"/>
                    </a:moveTo>
                    <a:cubicBezTo>
                      <a:pt x="1899548" y="514298"/>
                      <a:pt x="1899548" y="514298"/>
                      <a:pt x="1899548" y="514298"/>
                    </a:cubicBezTo>
                    <a:cubicBezTo>
                      <a:pt x="1939354" y="514298"/>
                      <a:pt x="1971922" y="546978"/>
                      <a:pt x="1971922" y="586920"/>
                    </a:cubicBezTo>
                    <a:lnTo>
                      <a:pt x="1971922" y="590551"/>
                    </a:lnTo>
                    <a:cubicBezTo>
                      <a:pt x="1971922" y="630494"/>
                      <a:pt x="1939354" y="663174"/>
                      <a:pt x="1899548" y="663174"/>
                    </a:cubicBezTo>
                    <a:cubicBezTo>
                      <a:pt x="1534059" y="663174"/>
                      <a:pt x="1534059" y="663174"/>
                      <a:pt x="1534059" y="663174"/>
                    </a:cubicBezTo>
                    <a:cubicBezTo>
                      <a:pt x="1494253" y="663174"/>
                      <a:pt x="1461685" y="630494"/>
                      <a:pt x="1461685" y="590551"/>
                    </a:cubicBezTo>
                    <a:cubicBezTo>
                      <a:pt x="1461685" y="586920"/>
                      <a:pt x="1461685" y="586920"/>
                      <a:pt x="1461685" y="586920"/>
                    </a:cubicBezTo>
                    <a:cubicBezTo>
                      <a:pt x="1461685" y="546978"/>
                      <a:pt x="1494253" y="514298"/>
                      <a:pt x="1534059" y="514298"/>
                    </a:cubicBezTo>
                    <a:close/>
                    <a:moveTo>
                      <a:pt x="1313487" y="7445"/>
                    </a:moveTo>
                    <a:cubicBezTo>
                      <a:pt x="1353311" y="7445"/>
                      <a:pt x="1385895" y="40028"/>
                      <a:pt x="1385895" y="79853"/>
                    </a:cubicBezTo>
                    <a:cubicBezTo>
                      <a:pt x="1385895" y="119677"/>
                      <a:pt x="1353311" y="152261"/>
                      <a:pt x="1313487" y="152261"/>
                    </a:cubicBezTo>
                    <a:cubicBezTo>
                      <a:pt x="1273662" y="152261"/>
                      <a:pt x="1241079" y="119677"/>
                      <a:pt x="1241079" y="79853"/>
                    </a:cubicBezTo>
                    <a:cubicBezTo>
                      <a:pt x="1241079" y="40028"/>
                      <a:pt x="1273662" y="7445"/>
                      <a:pt x="1313487" y="7445"/>
                    </a:cubicBezTo>
                    <a:close/>
                    <a:moveTo>
                      <a:pt x="296734" y="7445"/>
                    </a:moveTo>
                    <a:cubicBezTo>
                      <a:pt x="336372" y="7445"/>
                      <a:pt x="368803" y="40028"/>
                      <a:pt x="368803" y="79853"/>
                    </a:cubicBezTo>
                    <a:cubicBezTo>
                      <a:pt x="368803" y="119677"/>
                      <a:pt x="336372" y="152261"/>
                      <a:pt x="296734" y="152261"/>
                    </a:cubicBezTo>
                    <a:cubicBezTo>
                      <a:pt x="257096" y="152261"/>
                      <a:pt x="224665" y="119677"/>
                      <a:pt x="224665" y="79853"/>
                    </a:cubicBezTo>
                    <a:cubicBezTo>
                      <a:pt x="224665" y="40028"/>
                      <a:pt x="257096" y="7445"/>
                      <a:pt x="296734" y="7445"/>
                    </a:cubicBezTo>
                    <a:close/>
                    <a:moveTo>
                      <a:pt x="72408" y="7445"/>
                    </a:moveTo>
                    <a:cubicBezTo>
                      <a:pt x="112232" y="7445"/>
                      <a:pt x="144816" y="40028"/>
                      <a:pt x="144816" y="79853"/>
                    </a:cubicBezTo>
                    <a:cubicBezTo>
                      <a:pt x="144816" y="119677"/>
                      <a:pt x="112232" y="152261"/>
                      <a:pt x="72408" y="152261"/>
                    </a:cubicBezTo>
                    <a:cubicBezTo>
                      <a:pt x="32583" y="152261"/>
                      <a:pt x="0" y="119677"/>
                      <a:pt x="0" y="79853"/>
                    </a:cubicBezTo>
                    <a:cubicBezTo>
                      <a:pt x="0" y="40028"/>
                      <a:pt x="32583" y="7445"/>
                      <a:pt x="72408" y="7445"/>
                    </a:cubicBezTo>
                    <a:close/>
                    <a:moveTo>
                      <a:pt x="1534059" y="0"/>
                    </a:moveTo>
                    <a:cubicBezTo>
                      <a:pt x="1899548" y="0"/>
                      <a:pt x="1899548" y="0"/>
                      <a:pt x="1899548" y="0"/>
                    </a:cubicBezTo>
                    <a:cubicBezTo>
                      <a:pt x="1939354" y="0"/>
                      <a:pt x="1971922" y="32680"/>
                      <a:pt x="1971922" y="72622"/>
                    </a:cubicBezTo>
                    <a:lnTo>
                      <a:pt x="1971922" y="76253"/>
                    </a:lnTo>
                    <a:cubicBezTo>
                      <a:pt x="1971922" y="116196"/>
                      <a:pt x="1939354" y="148876"/>
                      <a:pt x="1899548" y="148876"/>
                    </a:cubicBezTo>
                    <a:cubicBezTo>
                      <a:pt x="1534059" y="148876"/>
                      <a:pt x="1534059" y="148876"/>
                      <a:pt x="1534059" y="148876"/>
                    </a:cubicBezTo>
                    <a:cubicBezTo>
                      <a:pt x="1494253" y="148876"/>
                      <a:pt x="1461685" y="116196"/>
                      <a:pt x="1461685" y="76253"/>
                    </a:cubicBezTo>
                    <a:cubicBezTo>
                      <a:pt x="1461685" y="72622"/>
                      <a:pt x="1461685" y="72622"/>
                      <a:pt x="1461685" y="72622"/>
                    </a:cubicBezTo>
                    <a:cubicBezTo>
                      <a:pt x="1461685" y="32680"/>
                      <a:pt x="1494253" y="0"/>
                      <a:pt x="1534059" y="0"/>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endParaRPr>
              </a:p>
            </p:txBody>
          </p:sp>
        </p:grpSp>
        <p:sp>
          <p:nvSpPr>
            <p:cNvPr id="25" name="Rectangle 24">
              <a:extLst>
                <a:ext uri="{FF2B5EF4-FFF2-40B4-BE49-F238E27FC236}">
                  <a16:creationId xmlns:a16="http://schemas.microsoft.com/office/drawing/2014/main" id="{8C3BED72-6AA4-4DB7-9797-AB679770CCFB}"/>
                </a:ext>
              </a:extLst>
            </p:cNvPr>
            <p:cNvSpPr/>
            <p:nvPr/>
          </p:nvSpPr>
          <p:spPr>
            <a:xfrm>
              <a:off x="5932444" y="2799224"/>
              <a:ext cx="1386289" cy="60674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US" sz="1200" dirty="0">
                  <a:solidFill>
                    <a:schemeClr val="bg1"/>
                  </a:solidFill>
                  <a:latin typeface="Microsoft Sans Serif"/>
                  <a:cs typeface="Microsoft Sans Serif" panose="020B0604020202020204" pitchFamily="34" charset="0"/>
                </a:rPr>
                <a:t>Data Collection</a:t>
              </a:r>
            </a:p>
            <a:p>
              <a:pPr algn="ctr">
                <a:lnSpc>
                  <a:spcPct val="96000"/>
                </a:lnSpc>
              </a:pPr>
              <a:r>
                <a:rPr lang="en-US" sz="1200" dirty="0">
                  <a:solidFill>
                    <a:schemeClr val="bg1"/>
                  </a:solidFill>
                  <a:latin typeface="Microsoft Sans Serif"/>
                  <a:cs typeface="Microsoft Sans Serif" panose="020B0604020202020204" pitchFamily="34" charset="0"/>
                </a:rPr>
                <a:t>Application Function</a:t>
              </a:r>
            </a:p>
          </p:txBody>
        </p:sp>
        <p:cxnSp>
          <p:nvCxnSpPr>
            <p:cNvPr id="185" name="Straight Arrow Connector 184">
              <a:extLst>
                <a:ext uri="{FF2B5EF4-FFF2-40B4-BE49-F238E27FC236}">
                  <a16:creationId xmlns:a16="http://schemas.microsoft.com/office/drawing/2014/main" id="{5C2AC818-A4C7-4229-A4C2-6714AB2D8867}"/>
                </a:ext>
              </a:extLst>
            </p:cNvPr>
            <p:cNvCxnSpPr>
              <a:cxnSpLocks/>
            </p:cNvCxnSpPr>
            <p:nvPr/>
          </p:nvCxnSpPr>
          <p:spPr>
            <a:xfrm flipV="1">
              <a:off x="7318733" y="2908110"/>
              <a:ext cx="320040" cy="7587"/>
            </a:xfrm>
            <a:prstGeom prst="straightConnector1">
              <a:avLst/>
            </a:prstGeom>
            <a:ln w="28575" cap="flat" cmpd="sng" algn="ctr">
              <a:solidFill>
                <a:srgbClr val="0033CC"/>
              </a:solidFill>
              <a:prstDash val="sys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0" name="Straight Arrow Connector 209">
              <a:extLst>
                <a:ext uri="{FF2B5EF4-FFF2-40B4-BE49-F238E27FC236}">
                  <a16:creationId xmlns:a16="http://schemas.microsoft.com/office/drawing/2014/main" id="{B46C9A18-33F8-4A5A-B16B-083BC6363E4C}"/>
                </a:ext>
              </a:extLst>
            </p:cNvPr>
            <p:cNvCxnSpPr>
              <a:cxnSpLocks/>
            </p:cNvCxnSpPr>
            <p:nvPr/>
          </p:nvCxnSpPr>
          <p:spPr>
            <a:xfrm flipH="1">
              <a:off x="7318733" y="3102595"/>
              <a:ext cx="142072" cy="1"/>
            </a:xfrm>
            <a:prstGeom prst="straightConnector1">
              <a:avLst/>
            </a:prstGeom>
            <a:ln w="28575" cap="flat" cmpd="sng" algn="ctr">
              <a:solidFill>
                <a:srgbClr val="0033CC"/>
              </a:solidFill>
              <a:prstDash val="sys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284" name="Group 283">
              <a:extLst>
                <a:ext uri="{FF2B5EF4-FFF2-40B4-BE49-F238E27FC236}">
                  <a16:creationId xmlns:a16="http://schemas.microsoft.com/office/drawing/2014/main" id="{DFB5D25C-E75C-433B-B47A-E70A0CBCF614}"/>
                </a:ext>
              </a:extLst>
            </p:cNvPr>
            <p:cNvGrpSpPr/>
            <p:nvPr/>
          </p:nvGrpSpPr>
          <p:grpSpPr>
            <a:xfrm>
              <a:off x="9290726" y="2464537"/>
              <a:ext cx="1973882" cy="2376238"/>
              <a:chOff x="9260398" y="1960236"/>
              <a:chExt cx="2316673" cy="2662163"/>
            </a:xfrm>
          </p:grpSpPr>
          <p:sp>
            <p:nvSpPr>
              <p:cNvPr id="258" name="Oval 257">
                <a:extLst>
                  <a:ext uri="{FF2B5EF4-FFF2-40B4-BE49-F238E27FC236}">
                    <a16:creationId xmlns:a16="http://schemas.microsoft.com/office/drawing/2014/main" id="{8DD73BF9-1825-4CDB-9CE4-DD77974C9722}"/>
                  </a:ext>
                </a:extLst>
              </p:cNvPr>
              <p:cNvSpPr/>
              <p:nvPr/>
            </p:nvSpPr>
            <p:spPr>
              <a:xfrm>
                <a:off x="9260398" y="1960236"/>
                <a:ext cx="2316673" cy="2662163"/>
              </a:xfrm>
              <a:prstGeom prst="ellips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pic>
            <p:nvPicPr>
              <p:cNvPr id="31" name="Graphic 30" descr="Server outline">
                <a:extLst>
                  <a:ext uri="{FF2B5EF4-FFF2-40B4-BE49-F238E27FC236}">
                    <a16:creationId xmlns:a16="http://schemas.microsoft.com/office/drawing/2014/main" id="{87C4DCD6-CFE1-4D4D-82E2-46DBC74692A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750321" y="3440467"/>
                <a:ext cx="1330389" cy="976076"/>
              </a:xfrm>
              <a:prstGeom prst="rect">
                <a:avLst/>
              </a:prstGeom>
            </p:spPr>
          </p:pic>
          <p:sp>
            <p:nvSpPr>
              <p:cNvPr id="264" name="TextBox 263">
                <a:extLst>
                  <a:ext uri="{FF2B5EF4-FFF2-40B4-BE49-F238E27FC236}">
                    <a16:creationId xmlns:a16="http://schemas.microsoft.com/office/drawing/2014/main" id="{6A48F94E-4AE4-4BCF-AA77-B5DA4610CEE7}"/>
                  </a:ext>
                </a:extLst>
              </p:cNvPr>
              <p:cNvSpPr txBox="1"/>
              <p:nvPr/>
            </p:nvSpPr>
            <p:spPr>
              <a:xfrm>
                <a:off x="9825274" y="2402218"/>
                <a:ext cx="1133325" cy="797719"/>
              </a:xfrm>
              <a:prstGeom prst="rect">
                <a:avLst/>
              </a:prstGeom>
            </p:spPr>
            <p:txBody>
              <a:bodyPr wrap="none" lIns="0" tIns="0" rIns="0" bIns="0" rtlCol="0">
                <a:spAutoFit/>
              </a:bodyPr>
              <a:lstStyle/>
              <a:p>
                <a:pPr algn="ctr">
                  <a:lnSpc>
                    <a:spcPct val="96000"/>
                  </a:lnSpc>
                </a:pPr>
                <a:r>
                  <a:rPr lang="en-US" dirty="0">
                    <a:solidFill>
                      <a:schemeClr val="tx2"/>
                    </a:solidFill>
                    <a:latin typeface="Microsoft Sans Serif"/>
                    <a:cs typeface="Microsoft Sans Serif" panose="020B0604020202020204" pitchFamily="34" charset="0"/>
                  </a:rPr>
                  <a:t>Application</a:t>
                </a:r>
              </a:p>
              <a:p>
                <a:pPr algn="ctr">
                  <a:lnSpc>
                    <a:spcPct val="96000"/>
                  </a:lnSpc>
                </a:pPr>
                <a:r>
                  <a:rPr lang="en-US" dirty="0">
                    <a:solidFill>
                      <a:schemeClr val="tx2"/>
                    </a:solidFill>
                    <a:latin typeface="Microsoft Sans Serif"/>
                    <a:cs typeface="Microsoft Sans Serif" panose="020B0604020202020204" pitchFamily="34" charset="0"/>
                  </a:rPr>
                  <a:t>Service</a:t>
                </a:r>
              </a:p>
              <a:p>
                <a:pPr algn="ctr">
                  <a:lnSpc>
                    <a:spcPct val="96000"/>
                  </a:lnSpc>
                </a:pPr>
                <a:r>
                  <a:rPr lang="en-US" dirty="0">
                    <a:solidFill>
                      <a:schemeClr val="tx2"/>
                    </a:solidFill>
                    <a:latin typeface="Microsoft Sans Serif"/>
                    <a:cs typeface="Microsoft Sans Serif" panose="020B0604020202020204" pitchFamily="34" charset="0"/>
                  </a:rPr>
                  <a:t>Provider</a:t>
                </a:r>
              </a:p>
            </p:txBody>
          </p:sp>
        </p:grpSp>
        <p:cxnSp>
          <p:nvCxnSpPr>
            <p:cNvPr id="197" name="Straight Arrow Connector 196">
              <a:extLst>
                <a:ext uri="{FF2B5EF4-FFF2-40B4-BE49-F238E27FC236}">
                  <a16:creationId xmlns:a16="http://schemas.microsoft.com/office/drawing/2014/main" id="{A41A37C7-54AC-4D03-B316-4BD1674CDC4D}"/>
                </a:ext>
              </a:extLst>
            </p:cNvPr>
            <p:cNvCxnSpPr>
              <a:cxnSpLocks/>
            </p:cNvCxnSpPr>
            <p:nvPr/>
          </p:nvCxnSpPr>
          <p:spPr>
            <a:xfrm>
              <a:off x="3835070" y="2740058"/>
              <a:ext cx="1737360" cy="0"/>
            </a:xfrm>
            <a:prstGeom prst="straightConnector1">
              <a:avLst/>
            </a:prstGeom>
            <a:ln w="38100" cap="flat" cmpd="sng" algn="ctr">
              <a:solidFill>
                <a:srgbClr val="0033CC"/>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8" name="Straight Arrow Connector 197">
              <a:extLst>
                <a:ext uri="{FF2B5EF4-FFF2-40B4-BE49-F238E27FC236}">
                  <a16:creationId xmlns:a16="http://schemas.microsoft.com/office/drawing/2014/main" id="{1ED0CDBD-179D-4C93-8B43-839D081FF222}"/>
                </a:ext>
              </a:extLst>
            </p:cNvPr>
            <p:cNvCxnSpPr>
              <a:cxnSpLocks/>
            </p:cNvCxnSpPr>
            <p:nvPr/>
          </p:nvCxnSpPr>
          <p:spPr>
            <a:xfrm flipH="1">
              <a:off x="7505861" y="3103810"/>
              <a:ext cx="1828800" cy="5150"/>
            </a:xfrm>
            <a:prstGeom prst="straightConnector1">
              <a:avLst/>
            </a:prstGeom>
            <a:ln w="38100" cap="flat" cmpd="sng" algn="ctr">
              <a:solidFill>
                <a:srgbClr val="0033CC"/>
              </a:solidFill>
              <a:prstDash val="sysDash"/>
              <a:round/>
              <a:headEnd type="arrow" w="med" len="med"/>
              <a:tailEnd type="none" w="med" len="med"/>
            </a:ln>
          </p:spPr>
          <p:style>
            <a:lnRef idx="0">
              <a:scrgbClr r="0" g="0" b="0"/>
            </a:lnRef>
            <a:fillRef idx="0">
              <a:scrgbClr r="0" g="0" b="0"/>
            </a:fillRef>
            <a:effectRef idx="0">
              <a:scrgbClr r="0" g="0" b="0"/>
            </a:effectRef>
            <a:fontRef idx="minor">
              <a:schemeClr val="tx1"/>
            </a:fontRef>
          </p:style>
        </p:cxnSp>
        <p:cxnSp>
          <p:nvCxnSpPr>
            <p:cNvPr id="211" name="Straight Arrow Connector 210">
              <a:extLst>
                <a:ext uri="{FF2B5EF4-FFF2-40B4-BE49-F238E27FC236}">
                  <a16:creationId xmlns:a16="http://schemas.microsoft.com/office/drawing/2014/main" id="{B8848AC9-C980-453A-9065-F3FDDC0F0812}"/>
                </a:ext>
              </a:extLst>
            </p:cNvPr>
            <p:cNvCxnSpPr>
              <a:cxnSpLocks/>
            </p:cNvCxnSpPr>
            <p:nvPr/>
          </p:nvCxnSpPr>
          <p:spPr>
            <a:xfrm flipV="1">
              <a:off x="5515485" y="3001150"/>
              <a:ext cx="429768" cy="1"/>
            </a:xfrm>
            <a:prstGeom prst="straightConnector1">
              <a:avLst/>
            </a:prstGeom>
            <a:ln w="28575" cap="flat" cmpd="sng" algn="ctr">
              <a:solidFill>
                <a:srgbClr val="0033CC"/>
              </a:solidFill>
              <a:prstDash val="sysDot"/>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12" name="Straight Arrow Connector 211">
              <a:extLst>
                <a:ext uri="{FF2B5EF4-FFF2-40B4-BE49-F238E27FC236}">
                  <a16:creationId xmlns:a16="http://schemas.microsoft.com/office/drawing/2014/main" id="{40E31C06-1940-4AA8-8320-FCECC21DB9A0}"/>
                </a:ext>
              </a:extLst>
            </p:cNvPr>
            <p:cNvCxnSpPr>
              <a:cxnSpLocks/>
            </p:cNvCxnSpPr>
            <p:nvPr/>
          </p:nvCxnSpPr>
          <p:spPr>
            <a:xfrm flipH="1" flipV="1">
              <a:off x="7591145" y="1553047"/>
              <a:ext cx="1097280" cy="1207"/>
            </a:xfrm>
            <a:prstGeom prst="straightConnector1">
              <a:avLst/>
            </a:prstGeom>
            <a:ln w="38100" cap="flat" cmpd="sng" algn="ctr">
              <a:solidFill>
                <a:srgbClr val="0033CC"/>
              </a:solidFill>
              <a:prstDash val="sysDash"/>
              <a:round/>
              <a:headEnd type="arrow" w="med" len="med"/>
              <a:tailEnd type="none" w="med" len="med"/>
            </a:ln>
          </p:spPr>
          <p:style>
            <a:lnRef idx="0">
              <a:scrgbClr r="0" g="0" b="0"/>
            </a:lnRef>
            <a:fillRef idx="0">
              <a:scrgbClr r="0" g="0" b="0"/>
            </a:fillRef>
            <a:effectRef idx="0">
              <a:scrgbClr r="0" g="0" b="0"/>
            </a:effectRef>
            <a:fontRef idx="minor">
              <a:schemeClr val="tx1"/>
            </a:fontRef>
          </p:style>
        </p:cxnSp>
        <p:pic>
          <p:nvPicPr>
            <p:cNvPr id="286" name="Picture 285" descr="Icon&#10;&#10;Description automatically generated">
              <a:extLst>
                <a:ext uri="{FF2B5EF4-FFF2-40B4-BE49-F238E27FC236}">
                  <a16:creationId xmlns:a16="http://schemas.microsoft.com/office/drawing/2014/main" id="{95338B7B-0407-4596-BCEB-C3EC354D541B}"/>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flipH="1">
              <a:off x="8543854" y="987392"/>
              <a:ext cx="1542664" cy="1542664"/>
            </a:xfrm>
            <a:prstGeom prst="rect">
              <a:avLst/>
            </a:prstGeom>
          </p:spPr>
        </p:pic>
        <p:sp>
          <p:nvSpPr>
            <p:cNvPr id="64" name="TextBox 63">
              <a:extLst>
                <a:ext uri="{FF2B5EF4-FFF2-40B4-BE49-F238E27FC236}">
                  <a16:creationId xmlns:a16="http://schemas.microsoft.com/office/drawing/2014/main" id="{B071756E-7A10-4C8F-91E7-D0B587967E95}"/>
                </a:ext>
              </a:extLst>
            </p:cNvPr>
            <p:cNvSpPr txBox="1"/>
            <p:nvPr/>
          </p:nvSpPr>
          <p:spPr>
            <a:xfrm>
              <a:off x="6307126" y="977202"/>
              <a:ext cx="45719" cy="236347"/>
            </a:xfrm>
            <a:prstGeom prst="rect">
              <a:avLst/>
            </a:prstGeom>
          </p:spPr>
          <p:txBody>
            <a:bodyPr wrap="square" lIns="0" tIns="0" rIns="0" bIns="0" rtlCol="0">
              <a:spAutoFit/>
            </a:bodyPr>
            <a:lstStyle/>
            <a:p>
              <a:pPr algn="l">
                <a:lnSpc>
                  <a:spcPct val="96000"/>
                </a:lnSpc>
              </a:pPr>
              <a:endParaRPr lang="en-US" sz="1600" dirty="0">
                <a:solidFill>
                  <a:schemeClr val="tx2"/>
                </a:solidFill>
                <a:latin typeface="Microsoft Sans Serif"/>
                <a:cs typeface="Microsoft Sans Serif" panose="020B0604020202020204" pitchFamily="34" charset="0"/>
              </a:endParaRPr>
            </a:p>
          </p:txBody>
        </p:sp>
        <p:cxnSp>
          <p:nvCxnSpPr>
            <p:cNvPr id="161" name="Straight Arrow Connector 160">
              <a:extLst>
                <a:ext uri="{FF2B5EF4-FFF2-40B4-BE49-F238E27FC236}">
                  <a16:creationId xmlns:a16="http://schemas.microsoft.com/office/drawing/2014/main" id="{85ECD314-E5CF-4967-BD09-A90F9EE08C4D}"/>
                </a:ext>
              </a:extLst>
            </p:cNvPr>
            <p:cNvCxnSpPr>
              <a:cxnSpLocks/>
            </p:cNvCxnSpPr>
            <p:nvPr/>
          </p:nvCxnSpPr>
          <p:spPr>
            <a:xfrm flipV="1">
              <a:off x="7619019" y="1593287"/>
              <a:ext cx="1686" cy="1265893"/>
            </a:xfrm>
            <a:prstGeom prst="straightConnector1">
              <a:avLst/>
            </a:prstGeom>
            <a:ln w="38100" cap="flat" cmpd="sng" algn="ctr">
              <a:solidFill>
                <a:srgbClr val="0033CC"/>
              </a:solidFill>
              <a:prstDash val="sys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6" name="Straight Arrow Connector 165">
              <a:extLst>
                <a:ext uri="{FF2B5EF4-FFF2-40B4-BE49-F238E27FC236}">
                  <a16:creationId xmlns:a16="http://schemas.microsoft.com/office/drawing/2014/main" id="{97718928-3330-4D46-BB1C-C77262E162B5}"/>
                </a:ext>
              </a:extLst>
            </p:cNvPr>
            <p:cNvCxnSpPr>
              <a:cxnSpLocks/>
            </p:cNvCxnSpPr>
            <p:nvPr/>
          </p:nvCxnSpPr>
          <p:spPr>
            <a:xfrm>
              <a:off x="7331991" y="3272920"/>
              <a:ext cx="1965960" cy="0"/>
            </a:xfrm>
            <a:prstGeom prst="straightConnector1">
              <a:avLst/>
            </a:prstGeom>
            <a:ln w="38100" cap="flat" cmpd="sng" algn="ctr">
              <a:solidFill>
                <a:srgbClr val="C00000"/>
              </a:solidFill>
              <a:prstDash val="sysDot"/>
              <a:round/>
              <a:headEnd type="arrow" w="sm" len="sm"/>
              <a:tailEnd type="none" w="sm" len="med"/>
            </a:ln>
          </p:spPr>
          <p:style>
            <a:lnRef idx="0">
              <a:scrgbClr r="0" g="0" b="0"/>
            </a:lnRef>
            <a:fillRef idx="0">
              <a:scrgbClr r="0" g="0" b="0"/>
            </a:fillRef>
            <a:effectRef idx="0">
              <a:scrgbClr r="0" g="0" b="0"/>
            </a:effectRef>
            <a:fontRef idx="minor">
              <a:schemeClr val="tx1"/>
            </a:fontRef>
          </p:style>
        </p:cxnSp>
        <p:cxnSp>
          <p:nvCxnSpPr>
            <p:cNvPr id="169" name="Straight Arrow Connector 168">
              <a:extLst>
                <a:ext uri="{FF2B5EF4-FFF2-40B4-BE49-F238E27FC236}">
                  <a16:creationId xmlns:a16="http://schemas.microsoft.com/office/drawing/2014/main" id="{22C43068-4FBB-4CEA-A90D-5A051BFC02DC}"/>
                </a:ext>
              </a:extLst>
            </p:cNvPr>
            <p:cNvCxnSpPr>
              <a:cxnSpLocks/>
            </p:cNvCxnSpPr>
            <p:nvPr/>
          </p:nvCxnSpPr>
          <p:spPr>
            <a:xfrm>
              <a:off x="1401331" y="2748540"/>
              <a:ext cx="1508760" cy="0"/>
            </a:xfrm>
            <a:prstGeom prst="straightConnector1">
              <a:avLst/>
            </a:prstGeom>
            <a:ln w="38100" cap="flat" cmpd="sng" algn="ctr">
              <a:solidFill>
                <a:srgbClr val="0033CC"/>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0" name="Straight Arrow Connector 179">
              <a:extLst>
                <a:ext uri="{FF2B5EF4-FFF2-40B4-BE49-F238E27FC236}">
                  <a16:creationId xmlns:a16="http://schemas.microsoft.com/office/drawing/2014/main" id="{47A94A82-7586-4761-9F58-A0301A4DB4A0}"/>
                </a:ext>
              </a:extLst>
            </p:cNvPr>
            <p:cNvCxnSpPr>
              <a:cxnSpLocks/>
            </p:cNvCxnSpPr>
            <p:nvPr/>
          </p:nvCxnSpPr>
          <p:spPr>
            <a:xfrm>
              <a:off x="4645016" y="3243944"/>
              <a:ext cx="1280160" cy="0"/>
            </a:xfrm>
            <a:prstGeom prst="straightConnector1">
              <a:avLst/>
            </a:prstGeom>
            <a:ln w="38100" cap="flat" cmpd="sng" algn="ctr">
              <a:solidFill>
                <a:srgbClr val="C00000"/>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9" name="Straight Arrow Connector 188">
              <a:extLst>
                <a:ext uri="{FF2B5EF4-FFF2-40B4-BE49-F238E27FC236}">
                  <a16:creationId xmlns:a16="http://schemas.microsoft.com/office/drawing/2014/main" id="{A9809BD3-4C96-4AD4-8551-5F464D4E32F9}"/>
                </a:ext>
              </a:extLst>
            </p:cNvPr>
            <p:cNvCxnSpPr>
              <a:cxnSpLocks/>
            </p:cNvCxnSpPr>
            <p:nvPr/>
          </p:nvCxnSpPr>
          <p:spPr>
            <a:xfrm rot="5400000">
              <a:off x="5414095" y="2897808"/>
              <a:ext cx="228600" cy="0"/>
            </a:xfrm>
            <a:prstGeom prst="straightConnector1">
              <a:avLst/>
            </a:prstGeom>
            <a:ln w="38100" cap="flat" cmpd="sng" algn="ctr">
              <a:solidFill>
                <a:srgbClr val="0033CC"/>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3" name="Straight Arrow Connector 192">
              <a:extLst>
                <a:ext uri="{FF2B5EF4-FFF2-40B4-BE49-F238E27FC236}">
                  <a16:creationId xmlns:a16="http://schemas.microsoft.com/office/drawing/2014/main" id="{3C7DABEE-7234-4C78-9E57-7D7201B3C958}"/>
                </a:ext>
              </a:extLst>
            </p:cNvPr>
            <p:cNvCxnSpPr>
              <a:cxnSpLocks/>
            </p:cNvCxnSpPr>
            <p:nvPr/>
          </p:nvCxnSpPr>
          <p:spPr>
            <a:xfrm rot="5400000">
              <a:off x="4572626" y="3163845"/>
              <a:ext cx="182880" cy="0"/>
            </a:xfrm>
            <a:prstGeom prst="straightConnector1">
              <a:avLst/>
            </a:prstGeom>
            <a:ln w="38100" cap="flat" cmpd="sng" algn="ctr">
              <a:solidFill>
                <a:srgbClr val="C00000"/>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65" name="TextBox 64">
            <a:extLst>
              <a:ext uri="{FF2B5EF4-FFF2-40B4-BE49-F238E27FC236}">
                <a16:creationId xmlns:a16="http://schemas.microsoft.com/office/drawing/2014/main" id="{48647712-72E9-4289-9F88-04E9A42FAF70}"/>
              </a:ext>
            </a:extLst>
          </p:cNvPr>
          <p:cNvSpPr txBox="1"/>
          <p:nvPr/>
        </p:nvSpPr>
        <p:spPr>
          <a:xfrm>
            <a:off x="1958992" y="4024759"/>
            <a:ext cx="1576644" cy="387798"/>
          </a:xfrm>
          <a:prstGeom prst="rect">
            <a:avLst/>
          </a:prstGeom>
        </p:spPr>
        <p:txBody>
          <a:bodyPr wrap="square" lIns="0" tIns="0" rIns="0" bIns="0" rtlCol="0">
            <a:spAutoFit/>
          </a:bodyPr>
          <a:lstStyle/>
          <a:p>
            <a:pPr algn="ctr">
              <a:lnSpc>
                <a:spcPct val="90000"/>
              </a:lnSpc>
            </a:pPr>
            <a:r>
              <a:rPr lang="en-US" sz="1400" dirty="0">
                <a:solidFill>
                  <a:srgbClr val="0033CC"/>
                </a:solidFill>
                <a:latin typeface="Microsoft Sans Serif"/>
                <a:cs typeface="Microsoft Sans Serif" panose="020B0604020202020204" pitchFamily="34" charset="0"/>
              </a:rPr>
              <a:t>Media/Service</a:t>
            </a:r>
          </a:p>
          <a:p>
            <a:pPr algn="ctr">
              <a:lnSpc>
                <a:spcPct val="90000"/>
              </a:lnSpc>
            </a:pPr>
            <a:r>
              <a:rPr lang="en-US" sz="1400" dirty="0">
                <a:solidFill>
                  <a:srgbClr val="0033CC"/>
                </a:solidFill>
                <a:latin typeface="Microsoft Sans Serif"/>
                <a:cs typeface="Microsoft Sans Serif" panose="020B0604020202020204" pitchFamily="34" charset="0"/>
              </a:rPr>
              <a:t>Content</a:t>
            </a:r>
          </a:p>
        </p:txBody>
      </p:sp>
      <p:sp>
        <p:nvSpPr>
          <p:cNvPr id="67" name="TextBox 66">
            <a:extLst>
              <a:ext uri="{FF2B5EF4-FFF2-40B4-BE49-F238E27FC236}">
                <a16:creationId xmlns:a16="http://schemas.microsoft.com/office/drawing/2014/main" id="{522AC463-B9E8-40AE-9AFA-D3006971DC73}"/>
              </a:ext>
            </a:extLst>
          </p:cNvPr>
          <p:cNvSpPr txBox="1"/>
          <p:nvPr/>
        </p:nvSpPr>
        <p:spPr>
          <a:xfrm>
            <a:off x="10225181" y="1218139"/>
            <a:ext cx="1474763" cy="797719"/>
          </a:xfrm>
          <a:prstGeom prst="rect">
            <a:avLst/>
          </a:prstGeom>
        </p:spPr>
        <p:txBody>
          <a:bodyPr wrap="none" lIns="0" tIns="0" rIns="0" bIns="0" rtlCol="0">
            <a:spAutoFit/>
          </a:bodyPr>
          <a:lstStyle/>
          <a:p>
            <a:pPr algn="l">
              <a:lnSpc>
                <a:spcPct val="96000"/>
              </a:lnSpc>
            </a:pPr>
            <a:r>
              <a:rPr lang="en-US" dirty="0">
                <a:solidFill>
                  <a:schemeClr val="tx2"/>
                </a:solidFill>
                <a:latin typeface="Microsoft Sans Serif"/>
                <a:cs typeface="Microsoft Sans Serif" panose="020B0604020202020204" pitchFamily="34" charset="0"/>
              </a:rPr>
              <a:t>Network &amp;</a:t>
            </a:r>
          </a:p>
          <a:p>
            <a:pPr algn="l">
              <a:lnSpc>
                <a:spcPct val="96000"/>
              </a:lnSpc>
            </a:pPr>
            <a:r>
              <a:rPr lang="en-US" dirty="0">
                <a:solidFill>
                  <a:schemeClr val="tx2"/>
                </a:solidFill>
                <a:latin typeface="Microsoft Sans Serif"/>
                <a:cs typeface="Microsoft Sans Serif" panose="020B0604020202020204" pitchFamily="34" charset="0"/>
              </a:rPr>
              <a:t>Data Analytics</a:t>
            </a:r>
          </a:p>
          <a:p>
            <a:pPr algn="l">
              <a:lnSpc>
                <a:spcPct val="96000"/>
              </a:lnSpc>
            </a:pPr>
            <a:r>
              <a:rPr lang="en-US" dirty="0">
                <a:solidFill>
                  <a:schemeClr val="tx2"/>
                </a:solidFill>
                <a:latin typeface="Microsoft Sans Serif"/>
                <a:cs typeface="Microsoft Sans Serif" panose="020B0604020202020204" pitchFamily="34" charset="0"/>
              </a:rPr>
              <a:t>Function</a:t>
            </a:r>
          </a:p>
        </p:txBody>
      </p:sp>
      <p:sp>
        <p:nvSpPr>
          <p:cNvPr id="289" name="TextBox 288">
            <a:extLst>
              <a:ext uri="{FF2B5EF4-FFF2-40B4-BE49-F238E27FC236}">
                <a16:creationId xmlns:a16="http://schemas.microsoft.com/office/drawing/2014/main" id="{5A5A503E-39DB-44F8-A58B-BC4243C4DE02}"/>
              </a:ext>
            </a:extLst>
          </p:cNvPr>
          <p:cNvSpPr txBox="1"/>
          <p:nvPr/>
        </p:nvSpPr>
        <p:spPr>
          <a:xfrm>
            <a:off x="1842196" y="2326171"/>
            <a:ext cx="3491446" cy="206851"/>
          </a:xfrm>
          <a:prstGeom prst="rect">
            <a:avLst/>
          </a:prstGeom>
        </p:spPr>
        <p:txBody>
          <a:bodyPr wrap="square" lIns="0" tIns="0" rIns="0" bIns="0" rtlCol="0">
            <a:spAutoFit/>
          </a:bodyPr>
          <a:lstStyle/>
          <a:p>
            <a:pPr algn="ctr">
              <a:lnSpc>
                <a:spcPct val="96000"/>
              </a:lnSpc>
            </a:pPr>
            <a:r>
              <a:rPr lang="en-US" sz="1400" dirty="0">
                <a:solidFill>
                  <a:srgbClr val="0033CC"/>
                </a:solidFill>
                <a:latin typeface="Microsoft Sans Serif"/>
                <a:cs typeface="Microsoft Sans Serif" panose="020B0604020202020204" pitchFamily="34" charset="0"/>
              </a:rPr>
              <a:t>UE Data Measurement / Reporting</a:t>
            </a:r>
          </a:p>
        </p:txBody>
      </p:sp>
      <p:sp>
        <p:nvSpPr>
          <p:cNvPr id="291" name="TextBox 290">
            <a:extLst>
              <a:ext uri="{FF2B5EF4-FFF2-40B4-BE49-F238E27FC236}">
                <a16:creationId xmlns:a16="http://schemas.microsoft.com/office/drawing/2014/main" id="{61883DCA-A69F-4570-A691-FDCE9E1AD56B}"/>
              </a:ext>
            </a:extLst>
          </p:cNvPr>
          <p:cNvSpPr txBox="1"/>
          <p:nvPr/>
        </p:nvSpPr>
        <p:spPr>
          <a:xfrm>
            <a:off x="8015159" y="1984288"/>
            <a:ext cx="1285434" cy="664797"/>
          </a:xfrm>
          <a:prstGeom prst="rect">
            <a:avLst/>
          </a:prstGeom>
        </p:spPr>
        <p:txBody>
          <a:bodyPr wrap="square" lIns="0" tIns="0" rIns="0" bIns="0" rtlCol="0">
            <a:spAutoFit/>
          </a:bodyPr>
          <a:lstStyle/>
          <a:p>
            <a:pPr algn="ctr">
              <a:lnSpc>
                <a:spcPct val="90000"/>
              </a:lnSpc>
            </a:pPr>
            <a:r>
              <a:rPr lang="en-US" sz="1600" dirty="0">
                <a:solidFill>
                  <a:srgbClr val="0033CC"/>
                </a:solidFill>
                <a:latin typeface="Microsoft Sans Serif"/>
                <a:cs typeface="Microsoft Sans Serif" panose="020B0604020202020204" pitchFamily="34" charset="0"/>
              </a:rPr>
              <a:t>Event Exposure</a:t>
            </a:r>
          </a:p>
          <a:p>
            <a:pPr algn="ctr">
              <a:lnSpc>
                <a:spcPct val="90000"/>
              </a:lnSpc>
            </a:pPr>
            <a:r>
              <a:rPr lang="en-US" sz="1600" dirty="0">
                <a:solidFill>
                  <a:srgbClr val="0033CC"/>
                </a:solidFill>
                <a:latin typeface="Microsoft Sans Serif"/>
                <a:cs typeface="Microsoft Sans Serif" panose="020B0604020202020204" pitchFamily="34" charset="0"/>
              </a:rPr>
              <a:t>Service</a:t>
            </a:r>
          </a:p>
        </p:txBody>
      </p:sp>
      <p:sp>
        <p:nvSpPr>
          <p:cNvPr id="181" name="TextBox 180">
            <a:extLst>
              <a:ext uri="{FF2B5EF4-FFF2-40B4-BE49-F238E27FC236}">
                <a16:creationId xmlns:a16="http://schemas.microsoft.com/office/drawing/2014/main" id="{C35359A3-86E9-45DA-A601-901B87572B0B}"/>
              </a:ext>
            </a:extLst>
          </p:cNvPr>
          <p:cNvSpPr txBox="1"/>
          <p:nvPr/>
        </p:nvSpPr>
        <p:spPr>
          <a:xfrm>
            <a:off x="2077934" y="3294921"/>
            <a:ext cx="3383280" cy="206851"/>
          </a:xfrm>
          <a:prstGeom prst="rect">
            <a:avLst/>
          </a:prstGeom>
          <a:noFill/>
        </p:spPr>
        <p:txBody>
          <a:bodyPr wrap="square" lIns="0" tIns="0" rIns="0" bIns="0" rtlCol="0">
            <a:spAutoFit/>
          </a:bodyPr>
          <a:lstStyle/>
          <a:p>
            <a:pPr algn="ctr">
              <a:lnSpc>
                <a:spcPct val="96000"/>
              </a:lnSpc>
            </a:pPr>
            <a:r>
              <a:rPr lang="en-US" sz="1400" dirty="0">
                <a:solidFill>
                  <a:srgbClr val="C00000"/>
                </a:solidFill>
                <a:latin typeface="Microsoft Sans Serif"/>
                <a:cs typeface="Microsoft Sans Serif" panose="020B0604020202020204" pitchFamily="34" charset="0"/>
              </a:rPr>
              <a:t>Data Collection &amp; Reporting Configuration</a:t>
            </a:r>
          </a:p>
        </p:txBody>
      </p:sp>
      <p:sp>
        <p:nvSpPr>
          <p:cNvPr id="184" name="TextBox 183">
            <a:extLst>
              <a:ext uri="{FF2B5EF4-FFF2-40B4-BE49-F238E27FC236}">
                <a16:creationId xmlns:a16="http://schemas.microsoft.com/office/drawing/2014/main" id="{3432B7FB-5B68-4959-8581-28E2615C4632}"/>
              </a:ext>
            </a:extLst>
          </p:cNvPr>
          <p:cNvSpPr txBox="1"/>
          <p:nvPr/>
        </p:nvSpPr>
        <p:spPr>
          <a:xfrm>
            <a:off x="7906773" y="3317932"/>
            <a:ext cx="2074558" cy="206851"/>
          </a:xfrm>
          <a:prstGeom prst="rect">
            <a:avLst/>
          </a:prstGeom>
        </p:spPr>
        <p:txBody>
          <a:bodyPr wrap="square" lIns="0" tIns="0" rIns="0" bIns="0" rtlCol="0">
            <a:spAutoFit/>
          </a:bodyPr>
          <a:lstStyle/>
          <a:p>
            <a:pPr algn="ctr">
              <a:lnSpc>
                <a:spcPct val="96000"/>
              </a:lnSpc>
            </a:pPr>
            <a:r>
              <a:rPr lang="en-US" sz="1400" dirty="0">
                <a:solidFill>
                  <a:srgbClr val="C00000"/>
                </a:solidFill>
                <a:latin typeface="Microsoft Sans Serif"/>
                <a:cs typeface="Microsoft Sans Serif" panose="020B0604020202020204" pitchFamily="34" charset="0"/>
              </a:rPr>
              <a:t>Provisioning Info</a:t>
            </a:r>
          </a:p>
        </p:txBody>
      </p:sp>
      <p:sp>
        <p:nvSpPr>
          <p:cNvPr id="269" name="Arc 268">
            <a:extLst>
              <a:ext uri="{FF2B5EF4-FFF2-40B4-BE49-F238E27FC236}">
                <a16:creationId xmlns:a16="http://schemas.microsoft.com/office/drawing/2014/main" id="{98BBFACB-4663-4258-BBCB-1858E6C70B20}"/>
              </a:ext>
            </a:extLst>
          </p:cNvPr>
          <p:cNvSpPr/>
          <p:nvPr/>
        </p:nvSpPr>
        <p:spPr>
          <a:xfrm>
            <a:off x="4388386" y="2524154"/>
            <a:ext cx="154822" cy="230598"/>
          </a:xfrm>
          <a:prstGeom prst="arc">
            <a:avLst>
              <a:gd name="adj1" fmla="val 17264035"/>
              <a:gd name="adj2" fmla="val 2086698"/>
            </a:avLst>
          </a:prstGeom>
          <a:ln w="12700" cap="rnd">
            <a:solidFill>
              <a:srgbClr val="0033CC"/>
            </a:solidFill>
            <a:round/>
            <a:headEnd type="non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4" name="Arc 193">
            <a:extLst>
              <a:ext uri="{FF2B5EF4-FFF2-40B4-BE49-F238E27FC236}">
                <a16:creationId xmlns:a16="http://schemas.microsoft.com/office/drawing/2014/main" id="{C828A919-3435-4B79-B4A2-39C86CDD1414}"/>
              </a:ext>
            </a:extLst>
          </p:cNvPr>
          <p:cNvSpPr/>
          <p:nvPr/>
        </p:nvSpPr>
        <p:spPr>
          <a:xfrm rot="10800000" flipH="1">
            <a:off x="4398698" y="3084664"/>
            <a:ext cx="154822" cy="230598"/>
          </a:xfrm>
          <a:prstGeom prst="arc">
            <a:avLst>
              <a:gd name="adj1" fmla="val 17264035"/>
              <a:gd name="adj2" fmla="val 2086698"/>
            </a:avLst>
          </a:prstGeom>
          <a:ln w="12700" cap="rnd">
            <a:solidFill>
              <a:srgbClr val="C00000"/>
            </a:solidFill>
            <a:round/>
            <a:headEnd type="non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71" name="Straight Arrow Connector 270">
            <a:extLst>
              <a:ext uri="{FF2B5EF4-FFF2-40B4-BE49-F238E27FC236}">
                <a16:creationId xmlns:a16="http://schemas.microsoft.com/office/drawing/2014/main" id="{0D46118A-D151-4AFB-87AD-588ADE65887F}"/>
              </a:ext>
            </a:extLst>
          </p:cNvPr>
          <p:cNvCxnSpPr/>
          <p:nvPr/>
        </p:nvCxnSpPr>
        <p:spPr>
          <a:xfrm>
            <a:off x="8613691" y="2660043"/>
            <a:ext cx="0" cy="393192"/>
          </a:xfrm>
          <a:prstGeom prst="straightConnector1">
            <a:avLst/>
          </a:prstGeom>
          <a:ln w="12700" cap="rnd">
            <a:solidFill>
              <a:srgbClr val="0033CC"/>
            </a:solidFill>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96" name="Straight Arrow Connector 195">
            <a:extLst>
              <a:ext uri="{FF2B5EF4-FFF2-40B4-BE49-F238E27FC236}">
                <a16:creationId xmlns:a16="http://schemas.microsoft.com/office/drawing/2014/main" id="{72693E03-E841-434E-B54C-10D95E6C0C09}"/>
              </a:ext>
            </a:extLst>
          </p:cNvPr>
          <p:cNvCxnSpPr>
            <a:cxnSpLocks/>
          </p:cNvCxnSpPr>
          <p:nvPr/>
        </p:nvCxnSpPr>
        <p:spPr>
          <a:xfrm flipH="1" flipV="1">
            <a:off x="8604066" y="1600815"/>
            <a:ext cx="0" cy="365760"/>
          </a:xfrm>
          <a:prstGeom prst="straightConnector1">
            <a:avLst/>
          </a:prstGeom>
          <a:ln w="12700" cap="rnd">
            <a:solidFill>
              <a:srgbClr val="0033CC"/>
            </a:solidFill>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852FB02E-5F35-47B4-8DFA-B24EE0300D7A}"/>
              </a:ext>
            </a:extLst>
          </p:cNvPr>
          <p:cNvSpPr txBox="1"/>
          <p:nvPr/>
        </p:nvSpPr>
        <p:spPr>
          <a:xfrm>
            <a:off x="4845023" y="3993603"/>
            <a:ext cx="1576644" cy="387798"/>
          </a:xfrm>
          <a:prstGeom prst="rect">
            <a:avLst/>
          </a:prstGeom>
        </p:spPr>
        <p:txBody>
          <a:bodyPr wrap="square" lIns="0" tIns="0" rIns="0" bIns="0" rtlCol="0">
            <a:spAutoFit/>
          </a:bodyPr>
          <a:lstStyle/>
          <a:p>
            <a:pPr algn="ctr">
              <a:lnSpc>
                <a:spcPct val="90000"/>
              </a:lnSpc>
            </a:pPr>
            <a:r>
              <a:rPr lang="en-US" sz="1400" dirty="0">
                <a:solidFill>
                  <a:srgbClr val="0033CC"/>
                </a:solidFill>
                <a:latin typeface="Microsoft Sans Serif"/>
                <a:cs typeface="Microsoft Sans Serif" panose="020B0604020202020204" pitchFamily="34" charset="0"/>
              </a:rPr>
              <a:t>Media/Service</a:t>
            </a:r>
          </a:p>
          <a:p>
            <a:pPr algn="ctr">
              <a:lnSpc>
                <a:spcPct val="90000"/>
              </a:lnSpc>
            </a:pPr>
            <a:r>
              <a:rPr lang="en-US" sz="1400" dirty="0">
                <a:solidFill>
                  <a:srgbClr val="0033CC"/>
                </a:solidFill>
                <a:latin typeface="Microsoft Sans Serif"/>
                <a:cs typeface="Microsoft Sans Serif" panose="020B0604020202020204" pitchFamily="34" charset="0"/>
              </a:rPr>
              <a:t>Content</a:t>
            </a:r>
          </a:p>
        </p:txBody>
      </p:sp>
    </p:spTree>
    <p:extLst>
      <p:ext uri="{BB962C8B-B14F-4D97-AF65-F5344CB8AC3E}">
        <p14:creationId xmlns:p14="http://schemas.microsoft.com/office/powerpoint/2010/main" val="239562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000"/>
                                  </p:stCondLst>
                                  <p:childTnLst>
                                    <p:set>
                                      <p:cBhvr>
                                        <p:cTn id="6" dur="1" fill="hold">
                                          <p:stCondLst>
                                            <p:cond delay="0"/>
                                          </p:stCondLst>
                                        </p:cTn>
                                        <p:tgtEl>
                                          <p:spTgt spid="178"/>
                                        </p:tgtEl>
                                        <p:attrNameLst>
                                          <p:attrName>style.visibility</p:attrName>
                                        </p:attrNameLst>
                                      </p:cBhvr>
                                      <p:to>
                                        <p:strVal val="visible"/>
                                      </p:to>
                                    </p:set>
                                    <p:animEffect transition="in" filter="wipe(left)">
                                      <p:cBhvr>
                                        <p:cTn id="7"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C915A2D-610C-F469-DEBF-BDC1AB0E9D01}"/>
              </a:ext>
            </a:extLst>
          </p:cNvPr>
          <p:cNvSpPr>
            <a:spLocks noGrp="1"/>
          </p:cNvSpPr>
          <p:nvPr>
            <p:ph type="title"/>
          </p:nvPr>
        </p:nvSpPr>
        <p:spPr/>
        <p:txBody>
          <a:bodyPr/>
          <a:lstStyle/>
          <a:p>
            <a:r>
              <a:rPr lang="de-DE" dirty="0"/>
              <a:t>5G Media Streaming and EVEX</a:t>
            </a:r>
            <a:endParaRPr lang="en-US" dirty="0"/>
          </a:p>
        </p:txBody>
      </p:sp>
      <p:sp>
        <p:nvSpPr>
          <p:cNvPr id="6" name="Subtitle 5">
            <a:extLst>
              <a:ext uri="{FF2B5EF4-FFF2-40B4-BE49-F238E27FC236}">
                <a16:creationId xmlns:a16="http://schemas.microsoft.com/office/drawing/2014/main" id="{DB49C948-9C1D-28C4-AF69-1FD0045212EA}"/>
              </a:ext>
            </a:extLst>
          </p:cNvPr>
          <p:cNvSpPr>
            <a:spLocks noGrp="1"/>
          </p:cNvSpPr>
          <p:nvPr>
            <p:ph type="subTitle" idx="1"/>
          </p:nvPr>
        </p:nvSpPr>
        <p:spPr>
          <a:xfrm>
            <a:off x="494189" y="1088135"/>
            <a:ext cx="11188223" cy="236347"/>
          </a:xfrm>
        </p:spPr>
        <p:txBody>
          <a:bodyPr/>
          <a:lstStyle/>
          <a:p>
            <a:r>
              <a:rPr lang="en-GB" sz="1600" i="1" dirty="0"/>
              <a:t>Simplified version of TS 26.512 V17.1.0 figure 4.7.1-1 </a:t>
            </a:r>
          </a:p>
        </p:txBody>
      </p:sp>
      <p:pic>
        <p:nvPicPr>
          <p:cNvPr id="2" name="Picture 1">
            <a:extLst>
              <a:ext uri="{FF2B5EF4-FFF2-40B4-BE49-F238E27FC236}">
                <a16:creationId xmlns:a16="http://schemas.microsoft.com/office/drawing/2014/main" id="{6AE82AAA-2C8C-AB5D-9211-D893AC9EEF45}"/>
              </a:ext>
            </a:extLst>
          </p:cNvPr>
          <p:cNvPicPr>
            <a:picLocks noChangeAspect="1"/>
          </p:cNvPicPr>
          <p:nvPr/>
        </p:nvPicPr>
        <p:blipFill>
          <a:blip r:embed="rId2"/>
          <a:stretch>
            <a:fillRect/>
          </a:stretch>
        </p:blipFill>
        <p:spPr>
          <a:xfrm>
            <a:off x="640442" y="1703617"/>
            <a:ext cx="11218606" cy="4066248"/>
          </a:xfrm>
          <a:prstGeom prst="rect">
            <a:avLst/>
          </a:prstGeom>
        </p:spPr>
      </p:pic>
      <p:sp>
        <p:nvSpPr>
          <p:cNvPr id="3" name="Footer Placeholder 2">
            <a:extLst>
              <a:ext uri="{FF2B5EF4-FFF2-40B4-BE49-F238E27FC236}">
                <a16:creationId xmlns:a16="http://schemas.microsoft.com/office/drawing/2014/main" id="{D49B7FA3-16D8-87E1-3D52-CC0405A60993}"/>
              </a:ext>
            </a:extLst>
          </p:cNvPr>
          <p:cNvSpPr>
            <a:spLocks noGrp="1"/>
          </p:cNvSpPr>
          <p:nvPr>
            <p:ph type="ftr" sz="quarter" idx="10"/>
          </p:nvPr>
        </p:nvSpPr>
        <p:spPr/>
        <p:txBody>
          <a:bodyPr/>
          <a:lstStyle/>
          <a:p>
            <a:r>
              <a:rPr lang="en-US"/>
              <a:t>Media Web Symposium 2023</a:t>
            </a:r>
            <a:endParaRPr lang="en-US" dirty="0"/>
          </a:p>
        </p:txBody>
      </p:sp>
    </p:spTree>
    <p:extLst>
      <p:ext uri="{BB962C8B-B14F-4D97-AF65-F5344CB8AC3E}">
        <p14:creationId xmlns:p14="http://schemas.microsoft.com/office/powerpoint/2010/main" val="3400359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EA31D70-A693-654E-9FED-A0079B100A62}"/>
              </a:ext>
            </a:extLst>
          </p:cNvPr>
          <p:cNvSpPr>
            <a:spLocks noGrp="1"/>
          </p:cNvSpPr>
          <p:nvPr>
            <p:ph type="ftr" sz="quarter" idx="10"/>
          </p:nvPr>
        </p:nvSpPr>
        <p:spPr/>
        <p:txBody>
          <a:bodyPr/>
          <a:lstStyle/>
          <a:p>
            <a:r>
              <a:rPr lang="en-US"/>
              <a:t>Media Web Symposium 2023</a:t>
            </a:r>
            <a:endParaRPr lang="en-US" dirty="0"/>
          </a:p>
        </p:txBody>
      </p:sp>
      <p:sp>
        <p:nvSpPr>
          <p:cNvPr id="3" name="Title 2">
            <a:extLst>
              <a:ext uri="{FF2B5EF4-FFF2-40B4-BE49-F238E27FC236}">
                <a16:creationId xmlns:a16="http://schemas.microsoft.com/office/drawing/2014/main" id="{CC763D3D-F8E2-D539-EC3D-04138570715C}"/>
              </a:ext>
            </a:extLst>
          </p:cNvPr>
          <p:cNvSpPr>
            <a:spLocks noGrp="1"/>
          </p:cNvSpPr>
          <p:nvPr>
            <p:ph type="title"/>
          </p:nvPr>
        </p:nvSpPr>
        <p:spPr>
          <a:xfrm>
            <a:off x="495300" y="642644"/>
            <a:ext cx="11187112" cy="361959"/>
          </a:xfrm>
        </p:spPr>
        <p:txBody>
          <a:bodyPr/>
          <a:lstStyle/>
          <a:p>
            <a:r>
              <a:rPr lang="de-DE" dirty="0"/>
              <a:t>3GPP Specifications for Data Analysis and EVEX </a:t>
            </a:r>
            <a:endParaRPr lang="en-US" dirty="0"/>
          </a:p>
        </p:txBody>
      </p:sp>
      <p:sp>
        <p:nvSpPr>
          <p:cNvPr id="6" name="Content Placeholder 8">
            <a:extLst>
              <a:ext uri="{FF2B5EF4-FFF2-40B4-BE49-F238E27FC236}">
                <a16:creationId xmlns:a16="http://schemas.microsoft.com/office/drawing/2014/main" id="{8CEF34B2-FEF0-79B9-00DB-E81680169D4A}"/>
              </a:ext>
            </a:extLst>
          </p:cNvPr>
          <p:cNvSpPr>
            <a:spLocks noGrp="1"/>
          </p:cNvSpPr>
          <p:nvPr>
            <p:ph sz="quarter" idx="14"/>
          </p:nvPr>
        </p:nvSpPr>
        <p:spPr>
          <a:xfrm>
            <a:off x="495300" y="1209675"/>
            <a:ext cx="11187113" cy="5191125"/>
          </a:xfrm>
        </p:spPr>
        <p:txBody>
          <a:bodyPr>
            <a:normAutofit/>
          </a:bodyPr>
          <a:lstStyle/>
          <a:p>
            <a:pPr marL="0" indent="0">
              <a:buClr>
                <a:srgbClr val="00A0D2"/>
              </a:buClr>
              <a:buNone/>
            </a:pPr>
            <a:r>
              <a:rPr lang="en-US" sz="1800" b="1" dirty="0">
                <a:solidFill>
                  <a:schemeClr val="tx1"/>
                </a:solidFill>
              </a:rPr>
              <a:t>SA2:</a:t>
            </a:r>
          </a:p>
          <a:p>
            <a:pPr>
              <a:buClr>
                <a:srgbClr val="00A0D2"/>
              </a:buClr>
            </a:pPr>
            <a:r>
              <a:rPr lang="en-US" sz="1800" dirty="0">
                <a:solidFill>
                  <a:srgbClr val="00A0D2"/>
                </a:solidFill>
              </a:rPr>
              <a:t>TS 23.288:</a:t>
            </a:r>
            <a:r>
              <a:rPr lang="en-US" sz="1800" dirty="0">
                <a:solidFill>
                  <a:schemeClr val="tx1"/>
                </a:solidFill>
              </a:rPr>
              <a:t> Architecture enhancements for 5G System (5GS) to support network data analytics services</a:t>
            </a:r>
          </a:p>
          <a:p>
            <a:pPr marL="0" indent="0">
              <a:buClr>
                <a:srgbClr val="00A0D2"/>
              </a:buClr>
              <a:buNone/>
            </a:pPr>
            <a:r>
              <a:rPr lang="en-US" sz="1800" b="1" dirty="0">
                <a:solidFill>
                  <a:schemeClr val="tx1"/>
                </a:solidFill>
              </a:rPr>
              <a:t>SA4:</a:t>
            </a:r>
          </a:p>
          <a:p>
            <a:pPr>
              <a:buClr>
                <a:srgbClr val="00A0D2"/>
              </a:buClr>
            </a:pPr>
            <a:r>
              <a:rPr lang="en-US" sz="1800" dirty="0">
                <a:solidFill>
                  <a:srgbClr val="00A0D2"/>
                </a:solidFill>
                <a:latin typeface="Poppins Light" panose="020B0502040204020203" pitchFamily="2" charset="0"/>
                <a:cs typeface="Poppins Light" panose="020B0502040204020203" pitchFamily="2" charset="0"/>
              </a:rPr>
              <a:t>TS 26.531:</a:t>
            </a:r>
            <a:r>
              <a:rPr lang="en-US" sz="1800" dirty="0">
                <a:solidFill>
                  <a:schemeClr val="tx1"/>
                </a:solidFill>
                <a:latin typeface="Poppins Light" panose="020B0502040204020203" pitchFamily="2" charset="0"/>
                <a:cs typeface="Poppins Light" panose="020B0502040204020203" pitchFamily="2" charset="0"/>
              </a:rPr>
              <a:t> Data Collection and Reporting; General Description and Architecture</a:t>
            </a:r>
          </a:p>
          <a:p>
            <a:pPr>
              <a:buClr>
                <a:srgbClr val="00A0D2"/>
              </a:buClr>
            </a:pPr>
            <a:r>
              <a:rPr lang="en-US" sz="1800" dirty="0">
                <a:solidFill>
                  <a:srgbClr val="00A0D2"/>
                </a:solidFill>
                <a:latin typeface="Poppins Light" panose="020B0502040204020203" pitchFamily="2" charset="0"/>
                <a:cs typeface="Poppins Light" panose="020B0502040204020203" pitchFamily="2" charset="0"/>
              </a:rPr>
              <a:t>TS 26.532:</a:t>
            </a:r>
            <a:r>
              <a:rPr lang="en-US" sz="1800" dirty="0">
                <a:solidFill>
                  <a:schemeClr val="tx1"/>
                </a:solidFill>
                <a:latin typeface="Poppins Light" panose="020B0502040204020203" pitchFamily="2" charset="0"/>
                <a:cs typeface="Poppins Light" panose="020B0502040204020203" pitchFamily="2" charset="0"/>
              </a:rPr>
              <a:t> Data Collection and Reporting; Protocols and Formats</a:t>
            </a:r>
          </a:p>
          <a:p>
            <a:pPr>
              <a:buClr>
                <a:srgbClr val="00A0D2"/>
              </a:buClr>
            </a:pPr>
            <a:r>
              <a:rPr lang="en-US" sz="1800" dirty="0">
                <a:solidFill>
                  <a:srgbClr val="00A0D2"/>
                </a:solidFill>
              </a:rPr>
              <a:t>TS 26.501:</a:t>
            </a:r>
            <a:r>
              <a:rPr lang="en-US" sz="1800" dirty="0"/>
              <a:t> </a:t>
            </a:r>
            <a:r>
              <a:rPr lang="en-US" sz="1800" dirty="0">
                <a:solidFill>
                  <a:schemeClr val="tx1"/>
                </a:solidFill>
              </a:rPr>
              <a:t>5G Media Streaming (5GMS): General description and architecture</a:t>
            </a:r>
          </a:p>
          <a:p>
            <a:pPr>
              <a:buClr>
                <a:srgbClr val="00A0D2"/>
              </a:buClr>
            </a:pPr>
            <a:r>
              <a:rPr lang="en-US" sz="1800" dirty="0">
                <a:solidFill>
                  <a:srgbClr val="00A0D2"/>
                </a:solidFill>
              </a:rPr>
              <a:t>TS 26.512:</a:t>
            </a:r>
            <a:r>
              <a:rPr lang="en-US" sz="1800" dirty="0">
                <a:solidFill>
                  <a:schemeClr val="tx1"/>
                </a:solidFill>
              </a:rPr>
              <a:t> 5G Media Streaming (5GMS): Protocols</a:t>
            </a:r>
          </a:p>
          <a:p>
            <a:pPr marL="0" indent="0">
              <a:buClr>
                <a:srgbClr val="00A0D2"/>
              </a:buClr>
              <a:buNone/>
            </a:pPr>
            <a:r>
              <a:rPr lang="en-US" sz="1800" b="1" dirty="0">
                <a:solidFill>
                  <a:schemeClr val="tx1"/>
                </a:solidFill>
              </a:rPr>
              <a:t>CT3:</a:t>
            </a:r>
          </a:p>
          <a:p>
            <a:pPr>
              <a:buClr>
                <a:srgbClr val="00A0D2"/>
              </a:buClr>
            </a:pPr>
            <a:r>
              <a:rPr lang="en-US" sz="1800" dirty="0">
                <a:solidFill>
                  <a:srgbClr val="00A0D2"/>
                </a:solidFill>
              </a:rPr>
              <a:t>TS 29.517:</a:t>
            </a:r>
            <a:r>
              <a:rPr lang="en-US" sz="1800" dirty="0">
                <a:solidFill>
                  <a:schemeClr val="tx1"/>
                </a:solidFill>
              </a:rPr>
              <a:t> 5G System; Application Function Event Exposure Service; Stage 3</a:t>
            </a:r>
          </a:p>
          <a:p>
            <a:pPr>
              <a:buClr>
                <a:srgbClr val="00A0D2"/>
              </a:buClr>
            </a:pPr>
            <a:r>
              <a:rPr lang="en-US" sz="1800" dirty="0">
                <a:solidFill>
                  <a:srgbClr val="00A0D2"/>
                </a:solidFill>
              </a:rPr>
              <a:t>TS 29.520:</a:t>
            </a:r>
            <a:r>
              <a:rPr lang="en-US" sz="1800" dirty="0">
                <a:solidFill>
                  <a:schemeClr val="tx1"/>
                </a:solidFill>
              </a:rPr>
              <a:t> 5G System; Network Data Analytics Services; Stage 3</a:t>
            </a:r>
          </a:p>
          <a:p>
            <a:pPr>
              <a:buClr>
                <a:srgbClr val="00A0D2"/>
              </a:buClr>
            </a:pPr>
            <a:r>
              <a:rPr lang="en-US" sz="1800" dirty="0">
                <a:solidFill>
                  <a:srgbClr val="00A0D2"/>
                </a:solidFill>
              </a:rPr>
              <a:t>TS 29.522:</a:t>
            </a:r>
            <a:r>
              <a:rPr lang="en-US" sz="1800" dirty="0">
                <a:solidFill>
                  <a:schemeClr val="tx1"/>
                </a:solidFill>
              </a:rPr>
              <a:t> 5G System: Network Exposure Function Northbound APIs; Stage 3</a:t>
            </a:r>
          </a:p>
          <a:p>
            <a:pPr>
              <a:buClr>
                <a:srgbClr val="00A0D2"/>
              </a:buClr>
            </a:pPr>
            <a:r>
              <a:rPr lang="en-US" sz="1800" dirty="0">
                <a:solidFill>
                  <a:srgbClr val="00A0D2"/>
                </a:solidFill>
              </a:rPr>
              <a:t>TS 29.591:</a:t>
            </a:r>
            <a:r>
              <a:rPr lang="en-US" sz="1800" dirty="0">
                <a:solidFill>
                  <a:schemeClr val="tx1"/>
                </a:solidFill>
              </a:rPr>
              <a:t> 5G System; Network Exposure Function Southbound Services; Stage 3</a:t>
            </a:r>
          </a:p>
        </p:txBody>
      </p:sp>
    </p:spTree>
    <p:extLst>
      <p:ext uri="{BB962C8B-B14F-4D97-AF65-F5344CB8AC3E}">
        <p14:creationId xmlns:p14="http://schemas.microsoft.com/office/powerpoint/2010/main" val="1282174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A61271-5F34-46A3-AA0C-F8413FC95306}"/>
              </a:ext>
            </a:extLst>
          </p:cNvPr>
          <p:cNvSpPr>
            <a:spLocks noGrp="1"/>
          </p:cNvSpPr>
          <p:nvPr>
            <p:ph type="title"/>
          </p:nvPr>
        </p:nvSpPr>
        <p:spPr/>
        <p:txBody>
          <a:bodyPr/>
          <a:lstStyle/>
          <a:p>
            <a:r>
              <a:rPr lang="de-DE" dirty="0"/>
              <a:t>5GMS via 5G Broadcast and Hybrid Unicast Broadcast</a:t>
            </a:r>
            <a:endParaRPr lang="en-US" dirty="0"/>
          </a:p>
        </p:txBody>
      </p:sp>
      <p:sp>
        <p:nvSpPr>
          <p:cNvPr id="4" name="Content Placeholder 3">
            <a:extLst>
              <a:ext uri="{FF2B5EF4-FFF2-40B4-BE49-F238E27FC236}">
                <a16:creationId xmlns:a16="http://schemas.microsoft.com/office/drawing/2014/main" id="{B855F26B-F2AA-4F05-B82C-193B9C91CBA1}"/>
              </a:ext>
            </a:extLst>
          </p:cNvPr>
          <p:cNvSpPr>
            <a:spLocks noGrp="1"/>
          </p:cNvSpPr>
          <p:nvPr>
            <p:ph sz="quarter" idx="16"/>
          </p:nvPr>
        </p:nvSpPr>
        <p:spPr>
          <a:xfrm>
            <a:off x="495299" y="1719072"/>
            <a:ext cx="6105524" cy="4681727"/>
          </a:xfrm>
        </p:spPr>
        <p:txBody>
          <a:bodyPr>
            <a:normAutofit lnSpcReduction="10000"/>
          </a:bodyPr>
          <a:lstStyle/>
          <a:p>
            <a:r>
              <a:rPr lang="de-DE" dirty="0"/>
              <a:t>Content Provider may leverage 5G </a:t>
            </a:r>
            <a:br>
              <a:rPr lang="de-DE" dirty="0"/>
            </a:br>
            <a:r>
              <a:rPr lang="de-DE" dirty="0"/>
              <a:t>Unicast systems, 5G Broadcast </a:t>
            </a:r>
            <a:br>
              <a:rPr lang="de-DE" dirty="0"/>
            </a:br>
            <a:r>
              <a:rPr lang="de-DE" dirty="0"/>
              <a:t>systems, and 5G devices to build </a:t>
            </a:r>
            <a:br>
              <a:rPr lang="de-DE" dirty="0"/>
            </a:br>
            <a:r>
              <a:rPr lang="de-DE" dirty="0"/>
              <a:t>efficient and innovative applications</a:t>
            </a:r>
          </a:p>
          <a:p>
            <a:r>
              <a:rPr lang="de-DE" dirty="0"/>
              <a:t>Supported by well defined network </a:t>
            </a:r>
            <a:br>
              <a:rPr lang="de-DE" dirty="0"/>
            </a:br>
            <a:r>
              <a:rPr lang="de-DE" dirty="0"/>
              <a:t>and client-side APIs</a:t>
            </a:r>
          </a:p>
          <a:p>
            <a:r>
              <a:rPr lang="de-DE" dirty="0"/>
              <a:t>Examples:</a:t>
            </a:r>
          </a:p>
          <a:p>
            <a:pPr lvl="1"/>
            <a:r>
              <a:rPr lang="de-DE" sz="1800" dirty="0"/>
              <a:t>Hybrid Services</a:t>
            </a:r>
          </a:p>
          <a:p>
            <a:pPr lvl="1"/>
            <a:r>
              <a:rPr lang="de-DE" sz="1800" dirty="0"/>
              <a:t>Universal Coverage</a:t>
            </a:r>
          </a:p>
          <a:p>
            <a:pPr lvl="1"/>
            <a:r>
              <a:rPr lang="de-DE" sz="1800" dirty="0"/>
              <a:t>Broadcast on Demand</a:t>
            </a:r>
          </a:p>
          <a:p>
            <a:r>
              <a:rPr lang="en-US" sz="2600" dirty="0"/>
              <a:t>Part of Rel-17 5G Media Streaming</a:t>
            </a:r>
          </a:p>
          <a:p>
            <a:r>
              <a:rPr lang="en-US" sz="2600" dirty="0"/>
              <a:t>Part of the ETSI TS 103 720 v1.2.1</a:t>
            </a:r>
          </a:p>
        </p:txBody>
      </p:sp>
      <p:sp>
        <p:nvSpPr>
          <p:cNvPr id="2" name="Subtitle 1">
            <a:extLst>
              <a:ext uri="{FF2B5EF4-FFF2-40B4-BE49-F238E27FC236}">
                <a16:creationId xmlns:a16="http://schemas.microsoft.com/office/drawing/2014/main" id="{258264D2-ABDB-4A6C-911E-8266AA99391D}"/>
              </a:ext>
            </a:extLst>
          </p:cNvPr>
          <p:cNvSpPr>
            <a:spLocks noGrp="1"/>
          </p:cNvSpPr>
          <p:nvPr>
            <p:ph type="subTitle" idx="1"/>
          </p:nvPr>
        </p:nvSpPr>
        <p:spPr/>
        <p:txBody>
          <a:bodyPr/>
          <a:lstStyle/>
          <a:p>
            <a:r>
              <a:rPr lang="de-DE"/>
              <a:t>Architectures, Collaboration Models and Use Cases </a:t>
            </a:r>
            <a:endParaRPr lang="en-US"/>
          </a:p>
        </p:txBody>
      </p:sp>
      <p:graphicFrame>
        <p:nvGraphicFramePr>
          <p:cNvPr id="8" name="Object 7">
            <a:extLst>
              <a:ext uri="{FF2B5EF4-FFF2-40B4-BE49-F238E27FC236}">
                <a16:creationId xmlns:a16="http://schemas.microsoft.com/office/drawing/2014/main" id="{336C4EDF-B856-4F00-A51B-36B8D3FF40D6}"/>
              </a:ext>
            </a:extLst>
          </p:cNvPr>
          <p:cNvGraphicFramePr>
            <a:graphicFrameLocks noChangeAspect="1"/>
          </p:cNvGraphicFramePr>
          <p:nvPr/>
        </p:nvGraphicFramePr>
        <p:xfrm>
          <a:off x="6052608" y="1778889"/>
          <a:ext cx="6105525" cy="3990975"/>
        </p:xfrm>
        <a:graphic>
          <a:graphicData uri="http://schemas.openxmlformats.org/presentationml/2006/ole">
            <mc:AlternateContent xmlns:mc="http://schemas.openxmlformats.org/markup-compatibility/2006">
              <mc:Choice xmlns:v="urn:schemas-microsoft-com:vml" Requires="v">
                <p:oleObj name="Visio" r:id="rId3" imgW="16236998" imgH="10604546" progId="Visio.Drawing.15">
                  <p:embed/>
                </p:oleObj>
              </mc:Choice>
              <mc:Fallback>
                <p:oleObj name="Visio" r:id="rId3" imgW="16236998" imgH="10604546" progId="Visio.Drawing.15">
                  <p:embed/>
                  <p:pic>
                    <p:nvPicPr>
                      <p:cNvPr id="8" name="Object 7">
                        <a:extLst>
                          <a:ext uri="{FF2B5EF4-FFF2-40B4-BE49-F238E27FC236}">
                            <a16:creationId xmlns:a16="http://schemas.microsoft.com/office/drawing/2014/main" id="{336C4EDF-B856-4F00-A51B-36B8D3FF40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52608" y="1778889"/>
                        <a:ext cx="6105525" cy="3990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5" name="Straight Connector 14">
            <a:extLst>
              <a:ext uri="{FF2B5EF4-FFF2-40B4-BE49-F238E27FC236}">
                <a16:creationId xmlns:a16="http://schemas.microsoft.com/office/drawing/2014/main" id="{4D7A80EE-FD77-4A30-8E65-3D1F224436DC}"/>
              </a:ext>
            </a:extLst>
          </p:cNvPr>
          <p:cNvCxnSpPr>
            <a:cxnSpLocks/>
          </p:cNvCxnSpPr>
          <p:nvPr/>
        </p:nvCxnSpPr>
        <p:spPr>
          <a:xfrm>
            <a:off x="9774315" y="4332883"/>
            <a:ext cx="2329687" cy="0"/>
          </a:xfrm>
          <a:prstGeom prst="line">
            <a:avLst/>
          </a:prstGeom>
          <a:ln w="5715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1B9945B-8E88-4B35-8F72-72F9F7E6D6DC}"/>
              </a:ext>
            </a:extLst>
          </p:cNvPr>
          <p:cNvCxnSpPr>
            <a:cxnSpLocks/>
          </p:cNvCxnSpPr>
          <p:nvPr/>
        </p:nvCxnSpPr>
        <p:spPr>
          <a:xfrm>
            <a:off x="9774315" y="1696659"/>
            <a:ext cx="0" cy="2636224"/>
          </a:xfrm>
          <a:prstGeom prst="line">
            <a:avLst/>
          </a:prstGeom>
          <a:ln w="5715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12B394A1-748B-4632-AE10-2B32B6C8D86B}"/>
              </a:ext>
            </a:extLst>
          </p:cNvPr>
          <p:cNvSpPr/>
          <p:nvPr/>
        </p:nvSpPr>
        <p:spPr>
          <a:xfrm>
            <a:off x="6052608" y="4332883"/>
            <a:ext cx="5629804" cy="1436966"/>
          </a:xfrm>
          <a:prstGeom prst="rect">
            <a:avLst/>
          </a:prstGeom>
          <a:solidFill>
            <a:srgbClr val="92D05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r" defTabSz="914400" rtl="0" eaLnBrk="1" fontAlgn="auto" latinLnBrk="0" hangingPunct="1">
              <a:lnSpc>
                <a:spcPct val="96000"/>
              </a:lnSpc>
              <a:spcBef>
                <a:spcPts val="0"/>
              </a:spcBef>
              <a:spcAft>
                <a:spcPts val="0"/>
              </a:spcAft>
              <a:buClr>
                <a:srgbClr val="000000"/>
              </a:buClr>
              <a:buSzTx/>
              <a:buFont typeface="Arial"/>
              <a:buNone/>
              <a:tabLst/>
              <a:defRPr/>
            </a:pPr>
            <a:r>
              <a:rPr kumimoji="0" lang="de-DE" sz="1400" b="0" i="0" u="none" strike="noStrike" kern="0" cap="none" spc="0" normalizeH="0" baseline="0" noProof="0">
                <a:ln>
                  <a:noFill/>
                </a:ln>
                <a:solidFill>
                  <a:srgbClr val="13171F"/>
                </a:solidFill>
                <a:effectLst/>
                <a:uLnTx/>
                <a:uFillTx/>
                <a:latin typeface="Microsoft Sans Serif"/>
                <a:ea typeface="+mn-ea"/>
                <a:cs typeface="Microsoft Sans Serif" panose="020B0604020202020204" pitchFamily="34" charset="0"/>
                <a:sym typeface="Arial"/>
              </a:rPr>
              <a:t>5G Broadcast Operator</a:t>
            </a:r>
            <a:endParaRPr kumimoji="0" lang="en-US" sz="1400" b="0" i="0" u="none" strike="noStrike" kern="0" cap="none" spc="0" normalizeH="0" baseline="0" noProof="0" err="1">
              <a:ln>
                <a:noFill/>
              </a:ln>
              <a:solidFill>
                <a:srgbClr val="13171F"/>
              </a:solidFill>
              <a:effectLst/>
              <a:uLnTx/>
              <a:uFillTx/>
              <a:latin typeface="Microsoft Sans Serif"/>
              <a:ea typeface="+mn-ea"/>
              <a:cs typeface="Microsoft Sans Serif" panose="020B0604020202020204" pitchFamily="34" charset="0"/>
              <a:sym typeface="Arial"/>
            </a:endParaRPr>
          </a:p>
        </p:txBody>
      </p:sp>
      <p:sp>
        <p:nvSpPr>
          <p:cNvPr id="23" name="Rectangle 22">
            <a:extLst>
              <a:ext uri="{FF2B5EF4-FFF2-40B4-BE49-F238E27FC236}">
                <a16:creationId xmlns:a16="http://schemas.microsoft.com/office/drawing/2014/main" id="{AAFA38DF-69E1-4B6B-B4B7-F694ED208F6C}"/>
              </a:ext>
            </a:extLst>
          </p:cNvPr>
          <p:cNvSpPr/>
          <p:nvPr/>
        </p:nvSpPr>
        <p:spPr>
          <a:xfrm>
            <a:off x="9747249" y="1793586"/>
            <a:ext cx="2356753" cy="2553979"/>
          </a:xfrm>
          <a:prstGeom prst="rect">
            <a:avLst/>
          </a:prstGeom>
          <a:solidFill>
            <a:srgbClr val="2853DC">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96000"/>
              </a:lnSpc>
              <a:spcBef>
                <a:spcPts val="0"/>
              </a:spcBef>
              <a:spcAft>
                <a:spcPts val="0"/>
              </a:spcAft>
              <a:buClr>
                <a:srgbClr val="000000"/>
              </a:buClr>
              <a:buSzTx/>
              <a:buFont typeface="Arial"/>
              <a:buNone/>
              <a:tabLst/>
              <a:defRPr/>
            </a:pPr>
            <a:r>
              <a:rPr kumimoji="0" lang="de-DE" sz="1400" b="0" i="0" u="none" strike="noStrike" kern="0" cap="none" spc="0" normalizeH="0" baseline="0" noProof="0">
                <a:ln>
                  <a:noFill/>
                </a:ln>
                <a:solidFill>
                  <a:srgbClr val="13171F"/>
                </a:solidFill>
                <a:effectLst/>
                <a:uLnTx/>
                <a:uFillTx/>
                <a:latin typeface="Microsoft Sans Serif"/>
                <a:ea typeface="+mn-ea"/>
                <a:cs typeface="Microsoft Sans Serif" panose="020B0604020202020204" pitchFamily="34" charset="0"/>
                <a:sym typeface="Arial"/>
              </a:rPr>
              <a:t>Content Provider</a:t>
            </a:r>
            <a:endParaRPr kumimoji="0" lang="en-US" sz="1400" b="0" i="0" u="none" strike="noStrike" kern="0" cap="none" spc="0" normalizeH="0" baseline="0" noProof="0" err="1">
              <a:ln>
                <a:noFill/>
              </a:ln>
              <a:solidFill>
                <a:srgbClr val="13171F"/>
              </a:solidFill>
              <a:effectLst/>
              <a:uLnTx/>
              <a:uFillTx/>
              <a:latin typeface="Microsoft Sans Serif"/>
              <a:ea typeface="+mn-ea"/>
              <a:cs typeface="Microsoft Sans Serif" panose="020B0604020202020204" pitchFamily="34" charset="0"/>
              <a:sym typeface="Arial"/>
            </a:endParaRPr>
          </a:p>
        </p:txBody>
      </p:sp>
      <p:sp>
        <p:nvSpPr>
          <p:cNvPr id="24" name="Rectangle 23">
            <a:extLst>
              <a:ext uri="{FF2B5EF4-FFF2-40B4-BE49-F238E27FC236}">
                <a16:creationId xmlns:a16="http://schemas.microsoft.com/office/drawing/2014/main" id="{4C0576CC-1BEF-4E01-AF99-203318B34632}"/>
              </a:ext>
            </a:extLst>
          </p:cNvPr>
          <p:cNvSpPr/>
          <p:nvPr/>
        </p:nvSpPr>
        <p:spPr>
          <a:xfrm>
            <a:off x="7642796" y="1778875"/>
            <a:ext cx="2104453" cy="2553994"/>
          </a:xfrm>
          <a:prstGeom prst="rect">
            <a:avLst/>
          </a:prstGeom>
          <a:solidFill>
            <a:schemeClr val="bg2">
              <a:lumMod val="40000"/>
              <a:lumOff val="6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96000"/>
              </a:lnSpc>
              <a:spcBef>
                <a:spcPts val="0"/>
              </a:spcBef>
              <a:spcAft>
                <a:spcPts val="0"/>
              </a:spcAft>
              <a:buClr>
                <a:srgbClr val="000000"/>
              </a:buClr>
              <a:buSzTx/>
              <a:buFont typeface="Arial"/>
              <a:buNone/>
              <a:tabLst/>
              <a:defRPr/>
            </a:pPr>
            <a:r>
              <a:rPr kumimoji="0" lang="de-DE" sz="1400" b="0" i="0" u="none" strike="noStrike" kern="0" cap="none" spc="0" normalizeH="0" baseline="0" noProof="0">
                <a:ln>
                  <a:noFill/>
                </a:ln>
                <a:solidFill>
                  <a:srgbClr val="13171F"/>
                </a:solidFill>
                <a:effectLst/>
                <a:uLnTx/>
                <a:uFillTx/>
                <a:latin typeface="Microsoft Sans Serif"/>
                <a:ea typeface="+mn-ea"/>
                <a:cs typeface="Microsoft Sans Serif" panose="020B0604020202020204" pitchFamily="34" charset="0"/>
                <a:sym typeface="Arial"/>
              </a:rPr>
              <a:t>5G MNO</a:t>
            </a:r>
          </a:p>
        </p:txBody>
      </p:sp>
      <p:sp>
        <p:nvSpPr>
          <p:cNvPr id="6" name="Footer Placeholder 5">
            <a:extLst>
              <a:ext uri="{FF2B5EF4-FFF2-40B4-BE49-F238E27FC236}">
                <a16:creationId xmlns:a16="http://schemas.microsoft.com/office/drawing/2014/main" id="{1BE456D8-260B-426A-A366-282A95738A2D}"/>
              </a:ext>
            </a:extLst>
          </p:cNvPr>
          <p:cNvSpPr>
            <a:spLocks noGrp="1"/>
          </p:cNvSpPr>
          <p:nvPr>
            <p:ph type="ftr" sz="quarter" idx="10"/>
          </p:nvPr>
        </p:nvSpPr>
        <p:spPr>
          <a:xfrm>
            <a:off x="495299" y="6532895"/>
            <a:ext cx="10489691" cy="118174"/>
          </a:xfrm>
          <a:prstGeom prst="rect">
            <a:avLst/>
          </a:prstGeom>
        </p:spPr>
        <p:txBody>
          <a:bodyPr vert="horz" wrap="square" lIns="0" tIns="0" rIns="0" bIns="0" rtlCol="0" anchor="b">
            <a:spAutoFit/>
          </a:bodyPr>
          <a:lstStyle>
            <a:defPPr>
              <a:defRPr lang="en-US"/>
            </a:defPPr>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a:solidFill>
                  <a:schemeClr val="accent5">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n-NO"/>
              <a:t>Media Web Symposium 2023</a:t>
            </a:r>
            <a:endParaRPr lang="en-US"/>
          </a:p>
        </p:txBody>
      </p:sp>
    </p:spTree>
    <p:extLst>
      <p:ext uri="{BB962C8B-B14F-4D97-AF65-F5344CB8AC3E}">
        <p14:creationId xmlns:p14="http://schemas.microsoft.com/office/powerpoint/2010/main" val="764378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BF97CB2-CA59-4590-5CFE-CEBA3740810A}"/>
              </a:ext>
            </a:extLst>
          </p:cNvPr>
          <p:cNvPicPr>
            <a:picLocks noChangeAspect="1"/>
          </p:cNvPicPr>
          <p:nvPr/>
        </p:nvPicPr>
        <p:blipFill>
          <a:blip r:embed="rId2"/>
          <a:stretch>
            <a:fillRect/>
          </a:stretch>
        </p:blipFill>
        <p:spPr>
          <a:xfrm>
            <a:off x="0" y="1467"/>
            <a:ext cx="12192000" cy="6855065"/>
          </a:xfrm>
          <a:prstGeom prst="rect">
            <a:avLst/>
          </a:prstGeom>
        </p:spPr>
      </p:pic>
      <p:sp>
        <p:nvSpPr>
          <p:cNvPr id="2" name="Rectangle 1">
            <a:extLst>
              <a:ext uri="{FF2B5EF4-FFF2-40B4-BE49-F238E27FC236}">
                <a16:creationId xmlns:a16="http://schemas.microsoft.com/office/drawing/2014/main" id="{2F95E58D-AC7B-C6E4-D34E-6FB190E874E3}"/>
              </a:ext>
            </a:extLst>
          </p:cNvPr>
          <p:cNvSpPr/>
          <p:nvPr/>
        </p:nvSpPr>
        <p:spPr>
          <a:xfrm>
            <a:off x="342900" y="6296025"/>
            <a:ext cx="1857375" cy="5128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sp>
        <p:nvSpPr>
          <p:cNvPr id="4" name="Footer Placeholder 3">
            <a:extLst>
              <a:ext uri="{FF2B5EF4-FFF2-40B4-BE49-F238E27FC236}">
                <a16:creationId xmlns:a16="http://schemas.microsoft.com/office/drawing/2014/main" id="{8D922178-B97B-7365-B7E5-4BFFFDCF8475}"/>
              </a:ext>
            </a:extLst>
          </p:cNvPr>
          <p:cNvSpPr>
            <a:spLocks noGrp="1"/>
          </p:cNvSpPr>
          <p:nvPr>
            <p:ph type="ftr" sz="quarter" idx="10"/>
          </p:nvPr>
        </p:nvSpPr>
        <p:spPr/>
        <p:txBody>
          <a:bodyPr/>
          <a:lstStyle/>
          <a:p>
            <a:r>
              <a:rPr lang="en-US"/>
              <a:t>Media Web Symposium 2023</a:t>
            </a:r>
            <a:endParaRPr lang="en-US" dirty="0"/>
          </a:p>
        </p:txBody>
      </p:sp>
    </p:spTree>
    <p:extLst>
      <p:ext uri="{BB962C8B-B14F-4D97-AF65-F5344CB8AC3E}">
        <p14:creationId xmlns:p14="http://schemas.microsoft.com/office/powerpoint/2010/main" val="61724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Isosceles Triangle 182">
            <a:extLst>
              <a:ext uri="{FF2B5EF4-FFF2-40B4-BE49-F238E27FC236}">
                <a16:creationId xmlns:a16="http://schemas.microsoft.com/office/drawing/2014/main" id="{0BFB7E9E-BFC4-458B-A65C-1D3FFA0C3834}"/>
              </a:ext>
            </a:extLst>
          </p:cNvPr>
          <p:cNvSpPr/>
          <p:nvPr/>
        </p:nvSpPr>
        <p:spPr>
          <a:xfrm rot="16200000">
            <a:off x="8057952" y="1465715"/>
            <a:ext cx="3200400" cy="4572000"/>
          </a:xfrm>
          <a:prstGeom prst="triangle">
            <a:avLst/>
          </a:prstGeom>
          <a:gradFill flip="none" rotWithShape="1">
            <a:gsLst>
              <a:gs pos="99000">
                <a:schemeClr val="accent1">
                  <a:lumMod val="60000"/>
                  <a:lumOff val="40000"/>
                  <a:alpha val="0"/>
                </a:schemeClr>
              </a:gs>
              <a:gs pos="18000">
                <a:schemeClr val="accent1">
                  <a:lumMod val="60000"/>
                  <a:lumOff val="40000"/>
                  <a:alpha val="0"/>
                </a:schemeClr>
              </a:gs>
              <a:gs pos="38000">
                <a:schemeClr val="accent1">
                  <a:lumMod val="60000"/>
                  <a:lumOff val="40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Microsoft Sans Serif"/>
              <a:ea typeface="+mn-ea"/>
              <a:cs typeface="+mn-cs"/>
            </a:endParaRPr>
          </a:p>
        </p:txBody>
      </p:sp>
      <p:sp>
        <p:nvSpPr>
          <p:cNvPr id="185" name="Isosceles Triangle 184">
            <a:extLst>
              <a:ext uri="{FF2B5EF4-FFF2-40B4-BE49-F238E27FC236}">
                <a16:creationId xmlns:a16="http://schemas.microsoft.com/office/drawing/2014/main" id="{8388D06C-11FF-4CB2-83A7-D2F2B8DDCB27}"/>
              </a:ext>
            </a:extLst>
          </p:cNvPr>
          <p:cNvSpPr/>
          <p:nvPr/>
        </p:nvSpPr>
        <p:spPr>
          <a:xfrm rot="16200000">
            <a:off x="1898096" y="1548738"/>
            <a:ext cx="3200400" cy="4572000"/>
          </a:xfrm>
          <a:prstGeom prst="triangle">
            <a:avLst/>
          </a:prstGeom>
          <a:gradFill flip="none" rotWithShape="1">
            <a:gsLst>
              <a:gs pos="99000">
                <a:schemeClr val="accent5">
                  <a:lumMod val="60000"/>
                  <a:lumOff val="40000"/>
                  <a:alpha val="0"/>
                </a:schemeClr>
              </a:gs>
              <a:gs pos="18000">
                <a:schemeClr val="accent5">
                  <a:lumMod val="60000"/>
                  <a:lumOff val="40000"/>
                  <a:alpha val="0"/>
                </a:schemeClr>
              </a:gs>
              <a:gs pos="38000">
                <a:schemeClr val="accent5">
                  <a:lumMod val="60000"/>
                  <a:lumOff val="40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Microsoft Sans Serif"/>
              <a:ea typeface="+mn-ea"/>
              <a:cs typeface="+mn-cs"/>
            </a:endParaRPr>
          </a:p>
        </p:txBody>
      </p:sp>
      <p:sp>
        <p:nvSpPr>
          <p:cNvPr id="4" name="Title 3">
            <a:extLst>
              <a:ext uri="{FF2B5EF4-FFF2-40B4-BE49-F238E27FC236}">
                <a16:creationId xmlns:a16="http://schemas.microsoft.com/office/drawing/2014/main" id="{20A8D1AC-79DC-4650-97E7-C54AA416ED59}"/>
              </a:ext>
            </a:extLst>
          </p:cNvPr>
          <p:cNvSpPr>
            <a:spLocks noGrp="1"/>
          </p:cNvSpPr>
          <p:nvPr>
            <p:ph type="title"/>
          </p:nvPr>
        </p:nvSpPr>
        <p:spPr/>
        <p:txBody>
          <a:bodyPr/>
          <a:lstStyle/>
          <a:p>
            <a:r>
              <a:rPr lang="en-US"/>
              <a:t>5G defines two modes of broadcast communication</a:t>
            </a:r>
          </a:p>
        </p:txBody>
      </p:sp>
      <p:sp>
        <p:nvSpPr>
          <p:cNvPr id="8" name="Subtitle 7">
            <a:extLst>
              <a:ext uri="{FF2B5EF4-FFF2-40B4-BE49-F238E27FC236}">
                <a16:creationId xmlns:a16="http://schemas.microsoft.com/office/drawing/2014/main" id="{6A4DCC5F-4465-4B8B-8AB0-AB79ED679151}"/>
              </a:ext>
            </a:extLst>
          </p:cNvPr>
          <p:cNvSpPr>
            <a:spLocks noGrp="1"/>
          </p:cNvSpPr>
          <p:nvPr>
            <p:ph type="subTitle" idx="1"/>
          </p:nvPr>
        </p:nvSpPr>
        <p:spPr/>
        <p:txBody>
          <a:bodyPr/>
          <a:lstStyle/>
          <a:p>
            <a:r>
              <a:rPr lang="en-US"/>
              <a:t>Addressing diverse ecosystem, deployment, and use case requirements</a:t>
            </a:r>
          </a:p>
        </p:txBody>
      </p:sp>
      <p:sp>
        <p:nvSpPr>
          <p:cNvPr id="16" name="Rectangle 15">
            <a:extLst>
              <a:ext uri="{FF2B5EF4-FFF2-40B4-BE49-F238E27FC236}">
                <a16:creationId xmlns:a16="http://schemas.microsoft.com/office/drawing/2014/main" id="{37C6BAA0-2A30-4655-BE4F-9C2ED69B143E}"/>
              </a:ext>
            </a:extLst>
          </p:cNvPr>
          <p:cNvSpPr/>
          <p:nvPr/>
        </p:nvSpPr>
        <p:spPr>
          <a:xfrm>
            <a:off x="493713" y="616566"/>
            <a:ext cx="3597508" cy="383503"/>
          </a:xfrm>
          <a:prstGeom prst="rect">
            <a:avLst/>
          </a:prstGeom>
        </p:spPr>
        <p:txBody>
          <a:bodyPr wrap="square" lIns="0" tIns="0" rIns="0" bIns="0">
            <a:spAutoFit/>
          </a:bodyPr>
          <a:lstStyle/>
          <a:p>
            <a:pPr marL="0" marR="0" lvl="0" indent="0" algn="l" defTabSz="914400" rtl="0" eaLnBrk="1" fontAlgn="auto" latinLnBrk="0" hangingPunct="1">
              <a:lnSpc>
                <a:spcPct val="89000"/>
              </a:lnSpc>
              <a:spcBef>
                <a:spcPts val="0"/>
              </a:spcBef>
              <a:spcAft>
                <a:spcPts val="0"/>
              </a:spcAft>
              <a:buClrTx/>
              <a:buSzTx/>
              <a:buFontTx/>
              <a:buNone/>
              <a:tabLst/>
              <a:defRPr/>
            </a:pPr>
            <a:r>
              <a:rPr kumimoji="0" lang="en-US" sz="2800" b="1" i="0" u="none" strike="noStrike" kern="1200" cap="none" spc="0" normalizeH="0" baseline="0" noProof="0">
                <a:ln>
                  <a:noFill/>
                </a:ln>
                <a:solidFill>
                  <a:srgbClr val="445776"/>
                </a:solidFill>
                <a:effectLst/>
                <a:uLnTx/>
                <a:uFillTx/>
                <a:latin typeface="Microsoft Sans Serif"/>
                <a:ea typeface="+mn-ea"/>
                <a:cs typeface="Microsoft Sans Serif" panose="020B0604020202020204" pitchFamily="34" charset="0"/>
              </a:rPr>
              <a:t>5G broadcast</a:t>
            </a:r>
          </a:p>
        </p:txBody>
      </p:sp>
      <p:sp>
        <p:nvSpPr>
          <p:cNvPr id="18" name="Rectangle 17">
            <a:extLst>
              <a:ext uri="{FF2B5EF4-FFF2-40B4-BE49-F238E27FC236}">
                <a16:creationId xmlns:a16="http://schemas.microsoft.com/office/drawing/2014/main" id="{876A96A2-D56E-4162-8EBC-DFE744406C04}"/>
              </a:ext>
            </a:extLst>
          </p:cNvPr>
          <p:cNvSpPr/>
          <p:nvPr/>
        </p:nvSpPr>
        <p:spPr>
          <a:xfrm>
            <a:off x="6785467" y="616566"/>
            <a:ext cx="4812975" cy="383503"/>
          </a:xfrm>
          <a:prstGeom prst="rect">
            <a:avLst/>
          </a:prstGeom>
        </p:spPr>
        <p:txBody>
          <a:bodyPr wrap="square" lIns="0" tIns="0" rIns="0" bIns="0">
            <a:spAutoFit/>
          </a:bodyPr>
          <a:lstStyle/>
          <a:p>
            <a:pPr marL="0" marR="0" lvl="0" indent="0" algn="l" defTabSz="914400" rtl="0" eaLnBrk="1" fontAlgn="auto" latinLnBrk="0" hangingPunct="1">
              <a:lnSpc>
                <a:spcPct val="89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853DC"/>
                </a:solidFill>
                <a:effectLst/>
                <a:uLnTx/>
                <a:uFillTx/>
                <a:latin typeface="Microsoft Sans Serif"/>
                <a:ea typeface="+mn-ea"/>
                <a:cs typeface="Microsoft Sans Serif" panose="020B0604020202020204" pitchFamily="34" charset="0"/>
              </a:rPr>
              <a:t>5MBS: Mixed-mode multicast</a:t>
            </a:r>
          </a:p>
        </p:txBody>
      </p:sp>
      <p:grpSp>
        <p:nvGrpSpPr>
          <p:cNvPr id="22" name="Group 4">
            <a:extLst>
              <a:ext uri="{FF2B5EF4-FFF2-40B4-BE49-F238E27FC236}">
                <a16:creationId xmlns:a16="http://schemas.microsoft.com/office/drawing/2014/main" id="{31B1BE90-0BC1-469B-9FA0-9F202AE68896}"/>
              </a:ext>
            </a:extLst>
          </p:cNvPr>
          <p:cNvGrpSpPr>
            <a:grpSpLocks noChangeAspect="1"/>
          </p:cNvGrpSpPr>
          <p:nvPr/>
        </p:nvGrpSpPr>
        <p:grpSpPr bwMode="auto">
          <a:xfrm>
            <a:off x="2692604" y="3687267"/>
            <a:ext cx="914400" cy="582935"/>
            <a:chOff x="942" y="1778"/>
            <a:chExt cx="2149" cy="1370"/>
          </a:xfrm>
          <a:solidFill>
            <a:srgbClr val="3253DC"/>
          </a:solidFill>
        </p:grpSpPr>
        <p:sp>
          <p:nvSpPr>
            <p:cNvPr id="111" name="Freeform 5">
              <a:extLst>
                <a:ext uri="{FF2B5EF4-FFF2-40B4-BE49-F238E27FC236}">
                  <a16:creationId xmlns:a16="http://schemas.microsoft.com/office/drawing/2014/main" id="{BA37216F-1C37-4E8E-99A6-AF6EDF9B098D}"/>
                </a:ext>
              </a:extLst>
            </p:cNvPr>
            <p:cNvSpPr>
              <a:spLocks/>
            </p:cNvSpPr>
            <p:nvPr/>
          </p:nvSpPr>
          <p:spPr bwMode="auto">
            <a:xfrm>
              <a:off x="942" y="1778"/>
              <a:ext cx="2149" cy="1370"/>
            </a:xfrm>
            <a:custGeom>
              <a:avLst/>
              <a:gdLst>
                <a:gd name="T0" fmla="*/ 1216 w 1216"/>
                <a:gd name="T1" fmla="*/ 54 h 774"/>
                <a:gd name="T2" fmla="*/ 1216 w 1216"/>
                <a:gd name="T3" fmla="*/ 636 h 774"/>
                <a:gd name="T4" fmla="*/ 1163 w 1216"/>
                <a:gd name="T5" fmla="*/ 689 h 774"/>
                <a:gd name="T6" fmla="*/ 649 w 1216"/>
                <a:gd name="T7" fmla="*/ 689 h 774"/>
                <a:gd name="T8" fmla="*/ 649 w 1216"/>
                <a:gd name="T9" fmla="*/ 729 h 774"/>
                <a:gd name="T10" fmla="*/ 1114 w 1216"/>
                <a:gd name="T11" fmla="*/ 729 h 774"/>
                <a:gd name="T12" fmla="*/ 1137 w 1216"/>
                <a:gd name="T13" fmla="*/ 751 h 774"/>
                <a:gd name="T14" fmla="*/ 1130 w 1216"/>
                <a:gd name="T15" fmla="*/ 767 h 774"/>
                <a:gd name="T16" fmla="*/ 1114 w 1216"/>
                <a:gd name="T17" fmla="*/ 774 h 774"/>
                <a:gd name="T18" fmla="*/ 104 w 1216"/>
                <a:gd name="T19" fmla="*/ 774 h 774"/>
                <a:gd name="T20" fmla="*/ 81 w 1216"/>
                <a:gd name="T21" fmla="*/ 751 h 774"/>
                <a:gd name="T22" fmla="*/ 88 w 1216"/>
                <a:gd name="T23" fmla="*/ 735 h 774"/>
                <a:gd name="T24" fmla="*/ 104 w 1216"/>
                <a:gd name="T25" fmla="*/ 729 h 774"/>
                <a:gd name="T26" fmla="*/ 565 w 1216"/>
                <a:gd name="T27" fmla="*/ 729 h 774"/>
                <a:gd name="T28" fmla="*/ 565 w 1216"/>
                <a:gd name="T29" fmla="*/ 689 h 774"/>
                <a:gd name="T30" fmla="*/ 52 w 1216"/>
                <a:gd name="T31" fmla="*/ 689 h 774"/>
                <a:gd name="T32" fmla="*/ 0 w 1216"/>
                <a:gd name="T33" fmla="*/ 636 h 774"/>
                <a:gd name="T34" fmla="*/ 0 w 1216"/>
                <a:gd name="T35" fmla="*/ 54 h 774"/>
                <a:gd name="T36" fmla="*/ 52 w 1216"/>
                <a:gd name="T37" fmla="*/ 0 h 774"/>
                <a:gd name="T38" fmla="*/ 1163 w 1216"/>
                <a:gd name="T39" fmla="*/ 0 h 774"/>
                <a:gd name="T40" fmla="*/ 1216 w 1216"/>
                <a:gd name="T41" fmla="*/ 5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774">
                  <a:moveTo>
                    <a:pt x="1216" y="54"/>
                  </a:moveTo>
                  <a:cubicBezTo>
                    <a:pt x="1216" y="636"/>
                    <a:pt x="1216" y="636"/>
                    <a:pt x="1216" y="636"/>
                  </a:cubicBezTo>
                  <a:cubicBezTo>
                    <a:pt x="1216" y="665"/>
                    <a:pt x="1192" y="689"/>
                    <a:pt x="1163" y="689"/>
                  </a:cubicBezTo>
                  <a:cubicBezTo>
                    <a:pt x="649" y="689"/>
                    <a:pt x="649" y="689"/>
                    <a:pt x="649" y="689"/>
                  </a:cubicBezTo>
                  <a:cubicBezTo>
                    <a:pt x="649" y="729"/>
                    <a:pt x="649" y="729"/>
                    <a:pt x="649" y="729"/>
                  </a:cubicBezTo>
                  <a:cubicBezTo>
                    <a:pt x="1114" y="729"/>
                    <a:pt x="1114" y="729"/>
                    <a:pt x="1114" y="729"/>
                  </a:cubicBezTo>
                  <a:cubicBezTo>
                    <a:pt x="1127" y="729"/>
                    <a:pt x="1137" y="739"/>
                    <a:pt x="1137" y="751"/>
                  </a:cubicBezTo>
                  <a:cubicBezTo>
                    <a:pt x="1137" y="757"/>
                    <a:pt x="1134" y="763"/>
                    <a:pt x="1130" y="767"/>
                  </a:cubicBezTo>
                  <a:cubicBezTo>
                    <a:pt x="1126" y="771"/>
                    <a:pt x="1121" y="774"/>
                    <a:pt x="1114" y="774"/>
                  </a:cubicBezTo>
                  <a:cubicBezTo>
                    <a:pt x="104" y="774"/>
                    <a:pt x="104" y="774"/>
                    <a:pt x="104" y="774"/>
                  </a:cubicBezTo>
                  <a:cubicBezTo>
                    <a:pt x="91" y="774"/>
                    <a:pt x="81" y="764"/>
                    <a:pt x="81" y="751"/>
                  </a:cubicBezTo>
                  <a:cubicBezTo>
                    <a:pt x="81" y="745"/>
                    <a:pt x="84" y="739"/>
                    <a:pt x="88" y="735"/>
                  </a:cubicBezTo>
                  <a:cubicBezTo>
                    <a:pt x="92" y="731"/>
                    <a:pt x="97" y="729"/>
                    <a:pt x="104" y="729"/>
                  </a:cubicBezTo>
                  <a:cubicBezTo>
                    <a:pt x="565" y="729"/>
                    <a:pt x="565" y="729"/>
                    <a:pt x="565" y="729"/>
                  </a:cubicBezTo>
                  <a:cubicBezTo>
                    <a:pt x="565" y="689"/>
                    <a:pt x="565" y="689"/>
                    <a:pt x="565" y="689"/>
                  </a:cubicBezTo>
                  <a:cubicBezTo>
                    <a:pt x="52" y="689"/>
                    <a:pt x="52" y="689"/>
                    <a:pt x="52" y="689"/>
                  </a:cubicBezTo>
                  <a:cubicBezTo>
                    <a:pt x="23" y="689"/>
                    <a:pt x="0" y="665"/>
                    <a:pt x="0" y="636"/>
                  </a:cubicBezTo>
                  <a:cubicBezTo>
                    <a:pt x="0" y="54"/>
                    <a:pt x="0" y="54"/>
                    <a:pt x="0" y="54"/>
                  </a:cubicBezTo>
                  <a:cubicBezTo>
                    <a:pt x="0" y="24"/>
                    <a:pt x="23" y="0"/>
                    <a:pt x="52" y="0"/>
                  </a:cubicBezTo>
                  <a:cubicBezTo>
                    <a:pt x="1163" y="0"/>
                    <a:pt x="1163" y="0"/>
                    <a:pt x="1163" y="0"/>
                  </a:cubicBezTo>
                  <a:cubicBezTo>
                    <a:pt x="1192" y="0"/>
                    <a:pt x="1216" y="24"/>
                    <a:pt x="1216" y="54"/>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12" name="Freeform 6">
              <a:extLst>
                <a:ext uri="{FF2B5EF4-FFF2-40B4-BE49-F238E27FC236}">
                  <a16:creationId xmlns:a16="http://schemas.microsoft.com/office/drawing/2014/main" id="{D261A975-28E9-4C1C-8E0B-68772BA4B416}"/>
                </a:ext>
              </a:extLst>
            </p:cNvPr>
            <p:cNvSpPr>
              <a:spLocks/>
            </p:cNvSpPr>
            <p:nvPr/>
          </p:nvSpPr>
          <p:spPr bwMode="auto">
            <a:xfrm>
              <a:off x="1016" y="1861"/>
              <a:ext cx="1999" cy="1058"/>
            </a:xfrm>
            <a:custGeom>
              <a:avLst/>
              <a:gdLst>
                <a:gd name="T0" fmla="*/ 1131 w 1131"/>
                <a:gd name="T1" fmla="*/ 18 h 598"/>
                <a:gd name="T2" fmla="*/ 1131 w 1131"/>
                <a:gd name="T3" fmla="*/ 580 h 598"/>
                <a:gd name="T4" fmla="*/ 1113 w 1131"/>
                <a:gd name="T5" fmla="*/ 598 h 598"/>
                <a:gd name="T6" fmla="*/ 18 w 1131"/>
                <a:gd name="T7" fmla="*/ 598 h 598"/>
                <a:gd name="T8" fmla="*/ 0 w 1131"/>
                <a:gd name="T9" fmla="*/ 580 h 598"/>
                <a:gd name="T10" fmla="*/ 0 w 1131"/>
                <a:gd name="T11" fmla="*/ 18 h 598"/>
                <a:gd name="T12" fmla="*/ 18 w 1131"/>
                <a:gd name="T13" fmla="*/ 0 h 598"/>
                <a:gd name="T14" fmla="*/ 1113 w 1131"/>
                <a:gd name="T15" fmla="*/ 0 h 598"/>
                <a:gd name="T16" fmla="*/ 1131 w 1131"/>
                <a:gd name="T17" fmla="*/ 1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1" h="598">
                  <a:moveTo>
                    <a:pt x="1131" y="18"/>
                  </a:moveTo>
                  <a:cubicBezTo>
                    <a:pt x="1131" y="580"/>
                    <a:pt x="1131" y="580"/>
                    <a:pt x="1131" y="580"/>
                  </a:cubicBezTo>
                  <a:cubicBezTo>
                    <a:pt x="1131" y="590"/>
                    <a:pt x="1123" y="598"/>
                    <a:pt x="1113" y="598"/>
                  </a:cubicBezTo>
                  <a:cubicBezTo>
                    <a:pt x="18" y="598"/>
                    <a:pt x="18" y="598"/>
                    <a:pt x="18" y="598"/>
                  </a:cubicBezTo>
                  <a:cubicBezTo>
                    <a:pt x="8" y="598"/>
                    <a:pt x="0" y="590"/>
                    <a:pt x="0" y="580"/>
                  </a:cubicBezTo>
                  <a:cubicBezTo>
                    <a:pt x="0" y="18"/>
                    <a:pt x="0" y="18"/>
                    <a:pt x="0" y="18"/>
                  </a:cubicBezTo>
                  <a:cubicBezTo>
                    <a:pt x="0" y="8"/>
                    <a:pt x="8" y="0"/>
                    <a:pt x="18" y="0"/>
                  </a:cubicBezTo>
                  <a:cubicBezTo>
                    <a:pt x="1113" y="0"/>
                    <a:pt x="1113" y="0"/>
                    <a:pt x="1113" y="0"/>
                  </a:cubicBezTo>
                  <a:cubicBezTo>
                    <a:pt x="1123" y="0"/>
                    <a:pt x="1131" y="8"/>
                    <a:pt x="1131" y="1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grpSp>
      <p:sp>
        <p:nvSpPr>
          <p:cNvPr id="23" name="TextBox 22">
            <a:extLst>
              <a:ext uri="{FF2B5EF4-FFF2-40B4-BE49-F238E27FC236}">
                <a16:creationId xmlns:a16="http://schemas.microsoft.com/office/drawing/2014/main" id="{4583F1C3-ACBA-459D-B8EC-78E16534E13F}"/>
              </a:ext>
            </a:extLst>
          </p:cNvPr>
          <p:cNvSpPr txBox="1"/>
          <p:nvPr/>
        </p:nvSpPr>
        <p:spPr>
          <a:xfrm>
            <a:off x="927129" y="4610184"/>
            <a:ext cx="2439611" cy="332399"/>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445776"/>
                </a:solidFill>
                <a:effectLst/>
                <a:uLnTx/>
                <a:uFillTx/>
                <a:latin typeface="Microsoft Sans Serif"/>
                <a:ea typeface="+mn-ea"/>
                <a:cs typeface="+mn-cs"/>
              </a:rPr>
              <a:t>Single Frequency Network (SFN) for downlink broadcast only</a:t>
            </a:r>
          </a:p>
        </p:txBody>
      </p:sp>
      <p:grpSp>
        <p:nvGrpSpPr>
          <p:cNvPr id="24" name="Group 23">
            <a:extLst>
              <a:ext uri="{FF2B5EF4-FFF2-40B4-BE49-F238E27FC236}">
                <a16:creationId xmlns:a16="http://schemas.microsoft.com/office/drawing/2014/main" id="{4970EE72-7633-4BDF-AEBF-2D4021E2F346}"/>
              </a:ext>
            </a:extLst>
          </p:cNvPr>
          <p:cNvGrpSpPr/>
          <p:nvPr/>
        </p:nvGrpSpPr>
        <p:grpSpPr>
          <a:xfrm>
            <a:off x="2875265" y="3884291"/>
            <a:ext cx="548226" cy="172471"/>
            <a:chOff x="9118112" y="3943518"/>
            <a:chExt cx="1446677" cy="455123"/>
          </a:xfrm>
        </p:grpSpPr>
        <p:sp>
          <p:nvSpPr>
            <p:cNvPr id="104" name="Freeform 176">
              <a:extLst>
                <a:ext uri="{FF2B5EF4-FFF2-40B4-BE49-F238E27FC236}">
                  <a16:creationId xmlns:a16="http://schemas.microsoft.com/office/drawing/2014/main" id="{FE91F1A3-E386-4F12-998C-CE55EA74E8F2}"/>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105" name="Group 104">
              <a:extLst>
                <a:ext uri="{FF2B5EF4-FFF2-40B4-BE49-F238E27FC236}">
                  <a16:creationId xmlns:a16="http://schemas.microsoft.com/office/drawing/2014/main" id="{94FBEB15-3ED7-4F3C-A78B-AF68701E3898}"/>
                </a:ext>
              </a:extLst>
            </p:cNvPr>
            <p:cNvGrpSpPr/>
            <p:nvPr/>
          </p:nvGrpSpPr>
          <p:grpSpPr>
            <a:xfrm>
              <a:off x="9308116" y="4049967"/>
              <a:ext cx="1066991" cy="242231"/>
              <a:chOff x="11132070" y="3308794"/>
              <a:chExt cx="208750" cy="47391"/>
            </a:xfrm>
          </p:grpSpPr>
          <p:sp>
            <p:nvSpPr>
              <p:cNvPr id="106" name="Freeform 177">
                <a:extLst>
                  <a:ext uri="{FF2B5EF4-FFF2-40B4-BE49-F238E27FC236}">
                    <a16:creationId xmlns:a16="http://schemas.microsoft.com/office/drawing/2014/main" id="{5FF0E52B-ED7D-4C8C-B55A-F22E947D13E8}"/>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7" name="Freeform 178">
                <a:extLst>
                  <a:ext uri="{FF2B5EF4-FFF2-40B4-BE49-F238E27FC236}">
                    <a16:creationId xmlns:a16="http://schemas.microsoft.com/office/drawing/2014/main" id="{359CC271-AD9E-49B3-9C01-800DA6A22468}"/>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8" name="Freeform 179">
                <a:extLst>
                  <a:ext uri="{FF2B5EF4-FFF2-40B4-BE49-F238E27FC236}">
                    <a16:creationId xmlns:a16="http://schemas.microsoft.com/office/drawing/2014/main" id="{92656C05-6941-43A5-AE91-BB355ABECA99}"/>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09" name="Rectangle 108">
                <a:extLst>
                  <a:ext uri="{FF2B5EF4-FFF2-40B4-BE49-F238E27FC236}">
                    <a16:creationId xmlns:a16="http://schemas.microsoft.com/office/drawing/2014/main" id="{6C7CA1C3-1F17-4908-8413-55CBAF835BCD}"/>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110" name="Freeform 194">
                <a:extLst>
                  <a:ext uri="{FF2B5EF4-FFF2-40B4-BE49-F238E27FC236}">
                    <a16:creationId xmlns:a16="http://schemas.microsoft.com/office/drawing/2014/main" id="{12DBDF36-5E47-4326-809C-FCDF5D789726}"/>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25" name="Group 24">
            <a:extLst>
              <a:ext uri="{FF2B5EF4-FFF2-40B4-BE49-F238E27FC236}">
                <a16:creationId xmlns:a16="http://schemas.microsoft.com/office/drawing/2014/main" id="{A57CD6D7-D2E5-4493-BF7F-2178313CAFF6}"/>
              </a:ext>
            </a:extLst>
          </p:cNvPr>
          <p:cNvGrpSpPr>
            <a:grpSpLocks noChangeAspect="1"/>
          </p:cNvGrpSpPr>
          <p:nvPr/>
        </p:nvGrpSpPr>
        <p:grpSpPr>
          <a:xfrm>
            <a:off x="3707521" y="3761619"/>
            <a:ext cx="373883" cy="507705"/>
            <a:chOff x="1105197" y="2827506"/>
            <a:chExt cx="1396843" cy="1896808"/>
          </a:xfrm>
        </p:grpSpPr>
        <p:sp>
          <p:nvSpPr>
            <p:cNvPr id="102" name="Freeform 9">
              <a:extLst>
                <a:ext uri="{FF2B5EF4-FFF2-40B4-BE49-F238E27FC236}">
                  <a16:creationId xmlns:a16="http://schemas.microsoft.com/office/drawing/2014/main" id="{D4351149-8BC8-4EC2-8401-3F6F175249A4}"/>
                </a:ext>
              </a:extLst>
            </p:cNvPr>
            <p:cNvSpPr>
              <a:spLocks/>
            </p:cNvSpPr>
            <p:nvPr/>
          </p:nvSpPr>
          <p:spPr bwMode="auto">
            <a:xfrm>
              <a:off x="1105197" y="2827506"/>
              <a:ext cx="1396843" cy="1896808"/>
            </a:xfrm>
            <a:custGeom>
              <a:avLst/>
              <a:gdLst>
                <a:gd name="T0" fmla="*/ 858 w 897"/>
                <a:gd name="T1" fmla="*/ 1219 h 1219"/>
                <a:gd name="T2" fmla="*/ 39 w 897"/>
                <a:gd name="T3" fmla="*/ 1219 h 1219"/>
                <a:gd name="T4" fmla="*/ 0 w 897"/>
                <a:gd name="T5" fmla="*/ 1180 h 1219"/>
                <a:gd name="T6" fmla="*/ 0 w 897"/>
                <a:gd name="T7" fmla="*/ 39 h 1219"/>
                <a:gd name="T8" fmla="*/ 39 w 897"/>
                <a:gd name="T9" fmla="*/ 0 h 1219"/>
                <a:gd name="T10" fmla="*/ 858 w 897"/>
                <a:gd name="T11" fmla="*/ 0 h 1219"/>
                <a:gd name="T12" fmla="*/ 897 w 897"/>
                <a:gd name="T13" fmla="*/ 39 h 1219"/>
                <a:gd name="T14" fmla="*/ 897 w 897"/>
                <a:gd name="T15" fmla="*/ 1180 h 1219"/>
                <a:gd name="T16" fmla="*/ 858 w 897"/>
                <a:gd name="T17" fmla="*/ 1219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7" h="1219">
                  <a:moveTo>
                    <a:pt x="858" y="1219"/>
                  </a:moveTo>
                  <a:cubicBezTo>
                    <a:pt x="39" y="1219"/>
                    <a:pt x="39" y="1219"/>
                    <a:pt x="39" y="1219"/>
                  </a:cubicBezTo>
                  <a:cubicBezTo>
                    <a:pt x="18" y="1219"/>
                    <a:pt x="0" y="1201"/>
                    <a:pt x="0" y="1180"/>
                  </a:cubicBezTo>
                  <a:cubicBezTo>
                    <a:pt x="0" y="39"/>
                    <a:pt x="0" y="39"/>
                    <a:pt x="0" y="39"/>
                  </a:cubicBezTo>
                  <a:cubicBezTo>
                    <a:pt x="0" y="18"/>
                    <a:pt x="18" y="0"/>
                    <a:pt x="39" y="0"/>
                  </a:cubicBezTo>
                  <a:cubicBezTo>
                    <a:pt x="858" y="0"/>
                    <a:pt x="858" y="0"/>
                    <a:pt x="858" y="0"/>
                  </a:cubicBezTo>
                  <a:cubicBezTo>
                    <a:pt x="880" y="0"/>
                    <a:pt x="897" y="18"/>
                    <a:pt x="897" y="39"/>
                  </a:cubicBezTo>
                  <a:cubicBezTo>
                    <a:pt x="897" y="1180"/>
                    <a:pt x="897" y="1180"/>
                    <a:pt x="897" y="1180"/>
                  </a:cubicBezTo>
                  <a:cubicBezTo>
                    <a:pt x="897" y="1201"/>
                    <a:pt x="880" y="1219"/>
                    <a:pt x="858" y="1219"/>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03" name="Freeform 10">
              <a:extLst>
                <a:ext uri="{FF2B5EF4-FFF2-40B4-BE49-F238E27FC236}">
                  <a16:creationId xmlns:a16="http://schemas.microsoft.com/office/drawing/2014/main" id="{9026984C-E3FC-4B77-91BC-CBE2EA0035B0}"/>
                </a:ext>
              </a:extLst>
            </p:cNvPr>
            <p:cNvSpPr>
              <a:spLocks noEditPoints="1"/>
            </p:cNvSpPr>
            <p:nvPr/>
          </p:nvSpPr>
          <p:spPr bwMode="auto">
            <a:xfrm>
              <a:off x="1234406" y="2956715"/>
              <a:ext cx="1138428" cy="1670983"/>
            </a:xfrm>
            <a:custGeom>
              <a:avLst/>
              <a:gdLst>
                <a:gd name="T0" fmla="*/ 712 w 731"/>
                <a:gd name="T1" fmla="*/ 985 h 1074"/>
                <a:gd name="T2" fmla="*/ 20 w 731"/>
                <a:gd name="T3" fmla="*/ 985 h 1074"/>
                <a:gd name="T4" fmla="*/ 0 w 731"/>
                <a:gd name="T5" fmla="*/ 965 h 1074"/>
                <a:gd name="T6" fmla="*/ 0 w 731"/>
                <a:gd name="T7" fmla="*/ 19 h 1074"/>
                <a:gd name="T8" fmla="*/ 20 w 731"/>
                <a:gd name="T9" fmla="*/ 0 h 1074"/>
                <a:gd name="T10" fmla="*/ 712 w 731"/>
                <a:gd name="T11" fmla="*/ 0 h 1074"/>
                <a:gd name="T12" fmla="*/ 731 w 731"/>
                <a:gd name="T13" fmla="*/ 19 h 1074"/>
                <a:gd name="T14" fmla="*/ 731 w 731"/>
                <a:gd name="T15" fmla="*/ 965 h 1074"/>
                <a:gd name="T16" fmla="*/ 712 w 731"/>
                <a:gd name="T17" fmla="*/ 985 h 1074"/>
                <a:gd name="T18" fmla="*/ 447 w 731"/>
                <a:gd name="T19" fmla="*/ 1054 h 1074"/>
                <a:gd name="T20" fmla="*/ 447 w 731"/>
                <a:gd name="T21" fmla="*/ 1054 h 1074"/>
                <a:gd name="T22" fmla="*/ 427 w 731"/>
                <a:gd name="T23" fmla="*/ 1033 h 1074"/>
                <a:gd name="T24" fmla="*/ 305 w 731"/>
                <a:gd name="T25" fmla="*/ 1033 h 1074"/>
                <a:gd name="T26" fmla="*/ 285 w 731"/>
                <a:gd name="T27" fmla="*/ 1054 h 1074"/>
                <a:gd name="T28" fmla="*/ 285 w 731"/>
                <a:gd name="T29" fmla="*/ 1054 h 1074"/>
                <a:gd name="T30" fmla="*/ 305 w 731"/>
                <a:gd name="T31" fmla="*/ 1074 h 1074"/>
                <a:gd name="T32" fmla="*/ 427 w 731"/>
                <a:gd name="T33" fmla="*/ 1074 h 1074"/>
                <a:gd name="T34" fmla="*/ 447 w 731"/>
                <a:gd name="T35" fmla="*/ 105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1" h="1074">
                  <a:moveTo>
                    <a:pt x="712" y="985"/>
                  </a:moveTo>
                  <a:cubicBezTo>
                    <a:pt x="20" y="985"/>
                    <a:pt x="20" y="985"/>
                    <a:pt x="20" y="985"/>
                  </a:cubicBezTo>
                  <a:cubicBezTo>
                    <a:pt x="9" y="985"/>
                    <a:pt x="0" y="976"/>
                    <a:pt x="0" y="965"/>
                  </a:cubicBezTo>
                  <a:cubicBezTo>
                    <a:pt x="0" y="19"/>
                    <a:pt x="0" y="19"/>
                    <a:pt x="0" y="19"/>
                  </a:cubicBezTo>
                  <a:cubicBezTo>
                    <a:pt x="0" y="9"/>
                    <a:pt x="9" y="0"/>
                    <a:pt x="20" y="0"/>
                  </a:cubicBezTo>
                  <a:cubicBezTo>
                    <a:pt x="712" y="0"/>
                    <a:pt x="712" y="0"/>
                    <a:pt x="712" y="0"/>
                  </a:cubicBezTo>
                  <a:cubicBezTo>
                    <a:pt x="723" y="0"/>
                    <a:pt x="731" y="9"/>
                    <a:pt x="731" y="19"/>
                  </a:cubicBezTo>
                  <a:cubicBezTo>
                    <a:pt x="731" y="965"/>
                    <a:pt x="731" y="965"/>
                    <a:pt x="731" y="965"/>
                  </a:cubicBezTo>
                  <a:cubicBezTo>
                    <a:pt x="731" y="976"/>
                    <a:pt x="723" y="985"/>
                    <a:pt x="712" y="985"/>
                  </a:cubicBezTo>
                  <a:close/>
                  <a:moveTo>
                    <a:pt x="447" y="1054"/>
                  </a:moveTo>
                  <a:cubicBezTo>
                    <a:pt x="447" y="1054"/>
                    <a:pt x="447" y="1054"/>
                    <a:pt x="447" y="1054"/>
                  </a:cubicBezTo>
                  <a:cubicBezTo>
                    <a:pt x="447" y="1042"/>
                    <a:pt x="438" y="1033"/>
                    <a:pt x="427" y="1033"/>
                  </a:cubicBezTo>
                  <a:cubicBezTo>
                    <a:pt x="305" y="1033"/>
                    <a:pt x="305" y="1033"/>
                    <a:pt x="305" y="1033"/>
                  </a:cubicBezTo>
                  <a:cubicBezTo>
                    <a:pt x="294" y="1033"/>
                    <a:pt x="285" y="1042"/>
                    <a:pt x="285" y="1054"/>
                  </a:cubicBezTo>
                  <a:cubicBezTo>
                    <a:pt x="285" y="1054"/>
                    <a:pt x="285" y="1054"/>
                    <a:pt x="285" y="1054"/>
                  </a:cubicBezTo>
                  <a:cubicBezTo>
                    <a:pt x="285" y="1065"/>
                    <a:pt x="294" y="1074"/>
                    <a:pt x="305" y="1074"/>
                  </a:cubicBezTo>
                  <a:cubicBezTo>
                    <a:pt x="427" y="1074"/>
                    <a:pt x="427" y="1074"/>
                    <a:pt x="427" y="1074"/>
                  </a:cubicBezTo>
                  <a:cubicBezTo>
                    <a:pt x="438" y="1074"/>
                    <a:pt x="447" y="1065"/>
                    <a:pt x="447" y="1054"/>
                  </a:cubicBezTo>
                  <a:close/>
                </a:path>
              </a:pathLst>
            </a:custGeom>
            <a:solidFill>
              <a:schemeClr val="accent2">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nvGrpSpPr>
          <p:cNvPr id="26" name="Group 25">
            <a:extLst>
              <a:ext uri="{FF2B5EF4-FFF2-40B4-BE49-F238E27FC236}">
                <a16:creationId xmlns:a16="http://schemas.microsoft.com/office/drawing/2014/main" id="{91B19C16-F8D6-49DB-92DA-B0371E3B093C}"/>
              </a:ext>
            </a:extLst>
          </p:cNvPr>
          <p:cNvGrpSpPr>
            <a:grpSpLocks noChangeAspect="1"/>
          </p:cNvGrpSpPr>
          <p:nvPr/>
        </p:nvGrpSpPr>
        <p:grpSpPr>
          <a:xfrm>
            <a:off x="4178693" y="3810488"/>
            <a:ext cx="246841" cy="457574"/>
            <a:chOff x="5434013" y="2201863"/>
            <a:chExt cx="1323975" cy="2454275"/>
          </a:xfrm>
        </p:grpSpPr>
        <p:sp>
          <p:nvSpPr>
            <p:cNvPr id="100" name="Freeform 5">
              <a:extLst>
                <a:ext uri="{FF2B5EF4-FFF2-40B4-BE49-F238E27FC236}">
                  <a16:creationId xmlns:a16="http://schemas.microsoft.com/office/drawing/2014/main" id="{3F12BA73-3127-439B-AE92-C8EB5337E53D}"/>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01" name="Freeform: Shape 15">
              <a:extLst>
                <a:ext uri="{FF2B5EF4-FFF2-40B4-BE49-F238E27FC236}">
                  <a16:creationId xmlns:a16="http://schemas.microsoft.com/office/drawing/2014/main" id="{00EE7E36-04E4-44FB-9AF2-FF36D248BEA6}"/>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27" name="Group 26">
            <a:extLst>
              <a:ext uri="{FF2B5EF4-FFF2-40B4-BE49-F238E27FC236}">
                <a16:creationId xmlns:a16="http://schemas.microsoft.com/office/drawing/2014/main" id="{A819BBC6-8BEE-44C2-888F-9DF5B32E4537}"/>
              </a:ext>
            </a:extLst>
          </p:cNvPr>
          <p:cNvGrpSpPr>
            <a:grpSpLocks noChangeAspect="1"/>
          </p:cNvGrpSpPr>
          <p:nvPr/>
        </p:nvGrpSpPr>
        <p:grpSpPr>
          <a:xfrm>
            <a:off x="4868198" y="3798453"/>
            <a:ext cx="246841" cy="457574"/>
            <a:chOff x="5434013" y="2201863"/>
            <a:chExt cx="1323975" cy="2454275"/>
          </a:xfrm>
        </p:grpSpPr>
        <p:sp>
          <p:nvSpPr>
            <p:cNvPr id="98" name="Freeform 5">
              <a:extLst>
                <a:ext uri="{FF2B5EF4-FFF2-40B4-BE49-F238E27FC236}">
                  <a16:creationId xmlns:a16="http://schemas.microsoft.com/office/drawing/2014/main" id="{F69A7899-BB61-4764-8E90-206C2BF1832E}"/>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99" name="Freeform: Shape 35">
              <a:extLst>
                <a:ext uri="{FF2B5EF4-FFF2-40B4-BE49-F238E27FC236}">
                  <a16:creationId xmlns:a16="http://schemas.microsoft.com/office/drawing/2014/main" id="{1D94999B-C3AE-402E-AB05-E38777D309E8}"/>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6">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28" name="Group 27">
            <a:extLst>
              <a:ext uri="{FF2B5EF4-FFF2-40B4-BE49-F238E27FC236}">
                <a16:creationId xmlns:a16="http://schemas.microsoft.com/office/drawing/2014/main" id="{32A7C95D-8564-44D2-9895-8B4F6ECB47ED}"/>
              </a:ext>
            </a:extLst>
          </p:cNvPr>
          <p:cNvGrpSpPr>
            <a:grpSpLocks noChangeAspect="1"/>
          </p:cNvGrpSpPr>
          <p:nvPr/>
        </p:nvGrpSpPr>
        <p:grpSpPr>
          <a:xfrm>
            <a:off x="5218331" y="3805272"/>
            <a:ext cx="246841" cy="457574"/>
            <a:chOff x="5434013" y="2201863"/>
            <a:chExt cx="1323975" cy="2454275"/>
          </a:xfrm>
        </p:grpSpPr>
        <p:sp>
          <p:nvSpPr>
            <p:cNvPr id="96" name="Freeform 5">
              <a:extLst>
                <a:ext uri="{FF2B5EF4-FFF2-40B4-BE49-F238E27FC236}">
                  <a16:creationId xmlns:a16="http://schemas.microsoft.com/office/drawing/2014/main" id="{557CF26E-9A5F-448D-9656-FE07707E6A45}"/>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3">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97" name="Freeform: Shape 15">
              <a:extLst>
                <a:ext uri="{FF2B5EF4-FFF2-40B4-BE49-F238E27FC236}">
                  <a16:creationId xmlns:a16="http://schemas.microsoft.com/office/drawing/2014/main" id="{51A45677-C66C-47A1-AFF8-5D2375B183E1}"/>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29" name="Group 28">
            <a:extLst>
              <a:ext uri="{FF2B5EF4-FFF2-40B4-BE49-F238E27FC236}">
                <a16:creationId xmlns:a16="http://schemas.microsoft.com/office/drawing/2014/main" id="{4C8F9BAD-D505-475C-A174-DCF7A46DA0BA}"/>
              </a:ext>
            </a:extLst>
          </p:cNvPr>
          <p:cNvGrpSpPr>
            <a:grpSpLocks noChangeAspect="1"/>
          </p:cNvGrpSpPr>
          <p:nvPr/>
        </p:nvGrpSpPr>
        <p:grpSpPr>
          <a:xfrm>
            <a:off x="4524068" y="3806197"/>
            <a:ext cx="246841" cy="457574"/>
            <a:chOff x="5434013" y="2201863"/>
            <a:chExt cx="1323975" cy="2454275"/>
          </a:xfrm>
        </p:grpSpPr>
        <p:sp>
          <p:nvSpPr>
            <p:cNvPr id="94" name="Freeform 5">
              <a:extLst>
                <a:ext uri="{FF2B5EF4-FFF2-40B4-BE49-F238E27FC236}">
                  <a16:creationId xmlns:a16="http://schemas.microsoft.com/office/drawing/2014/main" id="{481A554D-179E-47EC-8EBB-A839BE42E376}"/>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95" name="Freeform: Shape 15">
              <a:extLst>
                <a:ext uri="{FF2B5EF4-FFF2-40B4-BE49-F238E27FC236}">
                  <a16:creationId xmlns:a16="http://schemas.microsoft.com/office/drawing/2014/main" id="{CEBB8602-402C-417E-8DD4-8A3F16C42C63}"/>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30" name="Group 29">
            <a:extLst>
              <a:ext uri="{FF2B5EF4-FFF2-40B4-BE49-F238E27FC236}">
                <a16:creationId xmlns:a16="http://schemas.microsoft.com/office/drawing/2014/main" id="{418DF1B7-E337-48D1-979B-0291A4A3EA5D}"/>
              </a:ext>
            </a:extLst>
          </p:cNvPr>
          <p:cNvGrpSpPr/>
          <p:nvPr/>
        </p:nvGrpSpPr>
        <p:grpSpPr>
          <a:xfrm>
            <a:off x="3756861" y="3962127"/>
            <a:ext cx="273446" cy="86025"/>
            <a:chOff x="9118112" y="3943518"/>
            <a:chExt cx="1446677" cy="455123"/>
          </a:xfrm>
        </p:grpSpPr>
        <p:sp>
          <p:nvSpPr>
            <p:cNvPr id="87" name="Freeform 176">
              <a:extLst>
                <a:ext uri="{FF2B5EF4-FFF2-40B4-BE49-F238E27FC236}">
                  <a16:creationId xmlns:a16="http://schemas.microsoft.com/office/drawing/2014/main" id="{F9F24486-73D3-4657-956B-044F1E37108F}"/>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88" name="Group 87">
              <a:extLst>
                <a:ext uri="{FF2B5EF4-FFF2-40B4-BE49-F238E27FC236}">
                  <a16:creationId xmlns:a16="http://schemas.microsoft.com/office/drawing/2014/main" id="{C020D132-F03F-4667-B80A-9EBF99913661}"/>
                </a:ext>
              </a:extLst>
            </p:cNvPr>
            <p:cNvGrpSpPr/>
            <p:nvPr/>
          </p:nvGrpSpPr>
          <p:grpSpPr>
            <a:xfrm>
              <a:off x="9308116" y="4049967"/>
              <a:ext cx="1066991" cy="242231"/>
              <a:chOff x="11132070" y="3308794"/>
              <a:chExt cx="208750" cy="47391"/>
            </a:xfrm>
          </p:grpSpPr>
          <p:sp>
            <p:nvSpPr>
              <p:cNvPr id="89" name="Freeform 177">
                <a:extLst>
                  <a:ext uri="{FF2B5EF4-FFF2-40B4-BE49-F238E27FC236}">
                    <a16:creationId xmlns:a16="http://schemas.microsoft.com/office/drawing/2014/main" id="{833F86EC-6676-4D18-9616-AA31245266F2}"/>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90" name="Freeform 178">
                <a:extLst>
                  <a:ext uri="{FF2B5EF4-FFF2-40B4-BE49-F238E27FC236}">
                    <a16:creationId xmlns:a16="http://schemas.microsoft.com/office/drawing/2014/main" id="{B576CCFB-9F5F-4B64-86B2-EBB5498889E5}"/>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91" name="Freeform 179">
                <a:extLst>
                  <a:ext uri="{FF2B5EF4-FFF2-40B4-BE49-F238E27FC236}">
                    <a16:creationId xmlns:a16="http://schemas.microsoft.com/office/drawing/2014/main" id="{7C33411F-76FE-492C-AA44-A19E539B05DC}"/>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92" name="Rectangle 91">
                <a:extLst>
                  <a:ext uri="{FF2B5EF4-FFF2-40B4-BE49-F238E27FC236}">
                    <a16:creationId xmlns:a16="http://schemas.microsoft.com/office/drawing/2014/main" id="{E8C421EE-235C-4462-B393-677CE0036965}"/>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93" name="Freeform 194">
                <a:extLst>
                  <a:ext uri="{FF2B5EF4-FFF2-40B4-BE49-F238E27FC236}">
                    <a16:creationId xmlns:a16="http://schemas.microsoft.com/office/drawing/2014/main" id="{36D799F8-89D7-4BC1-9363-86BBF0132754}"/>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31" name="Group 30">
            <a:extLst>
              <a:ext uri="{FF2B5EF4-FFF2-40B4-BE49-F238E27FC236}">
                <a16:creationId xmlns:a16="http://schemas.microsoft.com/office/drawing/2014/main" id="{6D4B966F-273A-4D58-A6C4-A003B8D19B07}"/>
              </a:ext>
            </a:extLst>
          </p:cNvPr>
          <p:cNvGrpSpPr/>
          <p:nvPr/>
        </p:nvGrpSpPr>
        <p:grpSpPr>
          <a:xfrm>
            <a:off x="4215585" y="3980524"/>
            <a:ext cx="186767" cy="58756"/>
            <a:chOff x="9118112" y="3943518"/>
            <a:chExt cx="1446677" cy="455123"/>
          </a:xfrm>
        </p:grpSpPr>
        <p:sp>
          <p:nvSpPr>
            <p:cNvPr id="80" name="Freeform 176">
              <a:extLst>
                <a:ext uri="{FF2B5EF4-FFF2-40B4-BE49-F238E27FC236}">
                  <a16:creationId xmlns:a16="http://schemas.microsoft.com/office/drawing/2014/main" id="{25C28930-A8E3-44E7-8E55-7C254A99DC5A}"/>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81" name="Group 80">
              <a:extLst>
                <a:ext uri="{FF2B5EF4-FFF2-40B4-BE49-F238E27FC236}">
                  <a16:creationId xmlns:a16="http://schemas.microsoft.com/office/drawing/2014/main" id="{A590B161-6190-497F-9873-1B9ABA209E1A}"/>
                </a:ext>
              </a:extLst>
            </p:cNvPr>
            <p:cNvGrpSpPr/>
            <p:nvPr/>
          </p:nvGrpSpPr>
          <p:grpSpPr>
            <a:xfrm>
              <a:off x="9308116" y="4049967"/>
              <a:ext cx="1066991" cy="242231"/>
              <a:chOff x="11132070" y="3308794"/>
              <a:chExt cx="208750" cy="47391"/>
            </a:xfrm>
          </p:grpSpPr>
          <p:sp>
            <p:nvSpPr>
              <p:cNvPr id="82" name="Freeform 177">
                <a:extLst>
                  <a:ext uri="{FF2B5EF4-FFF2-40B4-BE49-F238E27FC236}">
                    <a16:creationId xmlns:a16="http://schemas.microsoft.com/office/drawing/2014/main" id="{197840F2-7643-4DCD-81DF-868C31CCAAB3}"/>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3" name="Freeform 178">
                <a:extLst>
                  <a:ext uri="{FF2B5EF4-FFF2-40B4-BE49-F238E27FC236}">
                    <a16:creationId xmlns:a16="http://schemas.microsoft.com/office/drawing/2014/main" id="{21737293-D68F-419D-98A1-6A3BECAA4E52}"/>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4" name="Freeform 179">
                <a:extLst>
                  <a:ext uri="{FF2B5EF4-FFF2-40B4-BE49-F238E27FC236}">
                    <a16:creationId xmlns:a16="http://schemas.microsoft.com/office/drawing/2014/main" id="{29A4F673-5EC1-4ABA-A88B-0B47E141B3AD}"/>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5" name="Rectangle 84">
                <a:extLst>
                  <a:ext uri="{FF2B5EF4-FFF2-40B4-BE49-F238E27FC236}">
                    <a16:creationId xmlns:a16="http://schemas.microsoft.com/office/drawing/2014/main" id="{0D259677-5BF0-4FEA-9A40-118CE5BAE605}"/>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86" name="Freeform 194">
                <a:extLst>
                  <a:ext uri="{FF2B5EF4-FFF2-40B4-BE49-F238E27FC236}">
                    <a16:creationId xmlns:a16="http://schemas.microsoft.com/office/drawing/2014/main" id="{247630FF-016C-49A9-A910-3DC0E96E0855}"/>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32" name="Group 31">
            <a:extLst>
              <a:ext uri="{FF2B5EF4-FFF2-40B4-BE49-F238E27FC236}">
                <a16:creationId xmlns:a16="http://schemas.microsoft.com/office/drawing/2014/main" id="{AE4C4AA8-C564-46AC-AB93-79C5D89F7C56}"/>
              </a:ext>
            </a:extLst>
          </p:cNvPr>
          <p:cNvGrpSpPr/>
          <p:nvPr/>
        </p:nvGrpSpPr>
        <p:grpSpPr>
          <a:xfrm>
            <a:off x="4554056" y="3980524"/>
            <a:ext cx="186767" cy="58756"/>
            <a:chOff x="9118112" y="3943518"/>
            <a:chExt cx="1446677" cy="455123"/>
          </a:xfrm>
        </p:grpSpPr>
        <p:sp>
          <p:nvSpPr>
            <p:cNvPr id="73" name="Freeform 176">
              <a:extLst>
                <a:ext uri="{FF2B5EF4-FFF2-40B4-BE49-F238E27FC236}">
                  <a16:creationId xmlns:a16="http://schemas.microsoft.com/office/drawing/2014/main" id="{80992BBB-FB9E-4FA8-B6D5-B0E9BA3DF73B}"/>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rgbClr val="7BA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74" name="Group 73">
              <a:extLst>
                <a:ext uri="{FF2B5EF4-FFF2-40B4-BE49-F238E27FC236}">
                  <a16:creationId xmlns:a16="http://schemas.microsoft.com/office/drawing/2014/main" id="{826C1125-83B3-488F-A9F7-D648AEF600DE}"/>
                </a:ext>
              </a:extLst>
            </p:cNvPr>
            <p:cNvGrpSpPr/>
            <p:nvPr/>
          </p:nvGrpSpPr>
          <p:grpSpPr>
            <a:xfrm>
              <a:off x="9308116" y="4049967"/>
              <a:ext cx="1066991" cy="242231"/>
              <a:chOff x="11132070" y="3308794"/>
              <a:chExt cx="208750" cy="47391"/>
            </a:xfrm>
          </p:grpSpPr>
          <p:sp>
            <p:nvSpPr>
              <p:cNvPr id="75" name="Freeform 177">
                <a:extLst>
                  <a:ext uri="{FF2B5EF4-FFF2-40B4-BE49-F238E27FC236}">
                    <a16:creationId xmlns:a16="http://schemas.microsoft.com/office/drawing/2014/main" id="{EA8CA285-0DB3-4F8C-B8D5-E4A6A651D654}"/>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6" name="Freeform 178">
                <a:extLst>
                  <a:ext uri="{FF2B5EF4-FFF2-40B4-BE49-F238E27FC236}">
                    <a16:creationId xmlns:a16="http://schemas.microsoft.com/office/drawing/2014/main" id="{3CB4BD6F-56FC-4082-AF09-7B7D399B4B3E}"/>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7" name="Freeform 179">
                <a:extLst>
                  <a:ext uri="{FF2B5EF4-FFF2-40B4-BE49-F238E27FC236}">
                    <a16:creationId xmlns:a16="http://schemas.microsoft.com/office/drawing/2014/main" id="{FD66432B-DCFB-4FB0-A6BF-B27385A72D82}"/>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8" name="Rectangle 77">
                <a:extLst>
                  <a:ext uri="{FF2B5EF4-FFF2-40B4-BE49-F238E27FC236}">
                    <a16:creationId xmlns:a16="http://schemas.microsoft.com/office/drawing/2014/main" id="{4FF645D7-CF57-4358-9E0A-0B95F6557C8D}"/>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9" name="Freeform 194">
                <a:extLst>
                  <a:ext uri="{FF2B5EF4-FFF2-40B4-BE49-F238E27FC236}">
                    <a16:creationId xmlns:a16="http://schemas.microsoft.com/office/drawing/2014/main" id="{12665EED-29A2-4948-BF19-A8BAD4EC4410}"/>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33" name="Group 32">
            <a:extLst>
              <a:ext uri="{FF2B5EF4-FFF2-40B4-BE49-F238E27FC236}">
                <a16:creationId xmlns:a16="http://schemas.microsoft.com/office/drawing/2014/main" id="{C07D4CC3-85DB-44BB-9476-2749876EF7D4}"/>
              </a:ext>
            </a:extLst>
          </p:cNvPr>
          <p:cNvGrpSpPr/>
          <p:nvPr/>
        </p:nvGrpSpPr>
        <p:grpSpPr>
          <a:xfrm>
            <a:off x="4898165" y="3980524"/>
            <a:ext cx="186767" cy="58756"/>
            <a:chOff x="9118112" y="3943518"/>
            <a:chExt cx="1446677" cy="455123"/>
          </a:xfrm>
        </p:grpSpPr>
        <p:sp>
          <p:nvSpPr>
            <p:cNvPr id="66" name="Freeform 176">
              <a:extLst>
                <a:ext uri="{FF2B5EF4-FFF2-40B4-BE49-F238E27FC236}">
                  <a16:creationId xmlns:a16="http://schemas.microsoft.com/office/drawing/2014/main" id="{22087C53-9214-45A4-86B6-D5DE096FA793}"/>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rgbClr val="4A5A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67" name="Group 66">
              <a:extLst>
                <a:ext uri="{FF2B5EF4-FFF2-40B4-BE49-F238E27FC236}">
                  <a16:creationId xmlns:a16="http://schemas.microsoft.com/office/drawing/2014/main" id="{54B74D30-E9BB-4D68-BD68-0DE4B5D0672C}"/>
                </a:ext>
              </a:extLst>
            </p:cNvPr>
            <p:cNvGrpSpPr/>
            <p:nvPr/>
          </p:nvGrpSpPr>
          <p:grpSpPr>
            <a:xfrm>
              <a:off x="9308116" y="4049967"/>
              <a:ext cx="1066991" cy="242231"/>
              <a:chOff x="11132070" y="3308794"/>
              <a:chExt cx="208750" cy="47391"/>
            </a:xfrm>
          </p:grpSpPr>
          <p:sp>
            <p:nvSpPr>
              <p:cNvPr id="68" name="Freeform 177">
                <a:extLst>
                  <a:ext uri="{FF2B5EF4-FFF2-40B4-BE49-F238E27FC236}">
                    <a16:creationId xmlns:a16="http://schemas.microsoft.com/office/drawing/2014/main" id="{651EB500-864E-4B0D-AB60-29BD28EC177C}"/>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9" name="Freeform 178">
                <a:extLst>
                  <a:ext uri="{FF2B5EF4-FFF2-40B4-BE49-F238E27FC236}">
                    <a16:creationId xmlns:a16="http://schemas.microsoft.com/office/drawing/2014/main" id="{7A09C7B0-715B-42C8-B065-418E6EB1CE02}"/>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0" name="Freeform 179">
                <a:extLst>
                  <a:ext uri="{FF2B5EF4-FFF2-40B4-BE49-F238E27FC236}">
                    <a16:creationId xmlns:a16="http://schemas.microsoft.com/office/drawing/2014/main" id="{BD238009-C02A-4CBB-8BE2-0E74D3AB763A}"/>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1" name="Rectangle 70">
                <a:extLst>
                  <a:ext uri="{FF2B5EF4-FFF2-40B4-BE49-F238E27FC236}">
                    <a16:creationId xmlns:a16="http://schemas.microsoft.com/office/drawing/2014/main" id="{51D55E03-E93B-410F-810D-1500EF667887}"/>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72" name="Freeform 194">
                <a:extLst>
                  <a:ext uri="{FF2B5EF4-FFF2-40B4-BE49-F238E27FC236}">
                    <a16:creationId xmlns:a16="http://schemas.microsoft.com/office/drawing/2014/main" id="{6B1767BB-55B1-4A45-AAC5-0FAC7E0EC304}"/>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grpSp>
        <p:nvGrpSpPr>
          <p:cNvPr id="34" name="Group 33">
            <a:extLst>
              <a:ext uri="{FF2B5EF4-FFF2-40B4-BE49-F238E27FC236}">
                <a16:creationId xmlns:a16="http://schemas.microsoft.com/office/drawing/2014/main" id="{79C5CB42-D7A9-44AB-BDCE-14B95E47184E}"/>
              </a:ext>
            </a:extLst>
          </p:cNvPr>
          <p:cNvGrpSpPr/>
          <p:nvPr/>
        </p:nvGrpSpPr>
        <p:grpSpPr>
          <a:xfrm>
            <a:off x="5247966" y="3980524"/>
            <a:ext cx="186767" cy="58756"/>
            <a:chOff x="9118112" y="3943518"/>
            <a:chExt cx="1446677" cy="455123"/>
          </a:xfrm>
        </p:grpSpPr>
        <p:sp>
          <p:nvSpPr>
            <p:cNvPr id="59" name="Freeform 176">
              <a:extLst>
                <a:ext uri="{FF2B5EF4-FFF2-40B4-BE49-F238E27FC236}">
                  <a16:creationId xmlns:a16="http://schemas.microsoft.com/office/drawing/2014/main" id="{A0B5C14C-39E2-4BEA-8971-75E9740CC13E}"/>
                </a:ext>
              </a:extLst>
            </p:cNvPr>
            <p:cNvSpPr>
              <a:spLocks/>
            </p:cNvSpPr>
            <p:nvPr/>
          </p:nvSpPr>
          <p:spPr bwMode="auto">
            <a:xfrm>
              <a:off x="9118112" y="3943518"/>
              <a:ext cx="1446677" cy="455123"/>
            </a:xfrm>
            <a:custGeom>
              <a:avLst/>
              <a:gdLst>
                <a:gd name="T0" fmla="*/ 646 w 646"/>
                <a:gd name="T1" fmla="*/ 163 h 203"/>
                <a:gd name="T2" fmla="*/ 606 w 646"/>
                <a:gd name="T3" fmla="*/ 203 h 203"/>
                <a:gd name="T4" fmla="*/ 40 w 646"/>
                <a:gd name="T5" fmla="*/ 203 h 203"/>
                <a:gd name="T6" fmla="*/ 0 w 646"/>
                <a:gd name="T7" fmla="*/ 163 h 203"/>
                <a:gd name="T8" fmla="*/ 0 w 646"/>
                <a:gd name="T9" fmla="*/ 40 h 203"/>
                <a:gd name="T10" fmla="*/ 40 w 646"/>
                <a:gd name="T11" fmla="*/ 0 h 203"/>
                <a:gd name="T12" fmla="*/ 606 w 646"/>
                <a:gd name="T13" fmla="*/ 0 h 203"/>
                <a:gd name="T14" fmla="*/ 646 w 646"/>
                <a:gd name="T15" fmla="*/ 40 h 203"/>
                <a:gd name="T16" fmla="*/ 646 w 646"/>
                <a:gd name="T17" fmla="*/ 16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203">
                  <a:moveTo>
                    <a:pt x="646" y="163"/>
                  </a:moveTo>
                  <a:cubicBezTo>
                    <a:pt x="646" y="186"/>
                    <a:pt x="628" y="203"/>
                    <a:pt x="606" y="203"/>
                  </a:cubicBezTo>
                  <a:cubicBezTo>
                    <a:pt x="40" y="203"/>
                    <a:pt x="40" y="203"/>
                    <a:pt x="40" y="203"/>
                  </a:cubicBezTo>
                  <a:cubicBezTo>
                    <a:pt x="18" y="203"/>
                    <a:pt x="0" y="186"/>
                    <a:pt x="0" y="163"/>
                  </a:cubicBezTo>
                  <a:cubicBezTo>
                    <a:pt x="0" y="40"/>
                    <a:pt x="0" y="40"/>
                    <a:pt x="0" y="40"/>
                  </a:cubicBezTo>
                  <a:cubicBezTo>
                    <a:pt x="0" y="18"/>
                    <a:pt x="18" y="0"/>
                    <a:pt x="40" y="0"/>
                  </a:cubicBezTo>
                  <a:cubicBezTo>
                    <a:pt x="606" y="0"/>
                    <a:pt x="606" y="0"/>
                    <a:pt x="606" y="0"/>
                  </a:cubicBezTo>
                  <a:cubicBezTo>
                    <a:pt x="628" y="0"/>
                    <a:pt x="646" y="18"/>
                    <a:pt x="646" y="40"/>
                  </a:cubicBezTo>
                  <a:lnTo>
                    <a:pt x="646" y="163"/>
                  </a:lnTo>
                  <a:close/>
                </a:path>
              </a:pathLst>
            </a:custGeom>
            <a:solidFill>
              <a:srgbClr val="6AB1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nvGrpSpPr>
            <p:cNvPr id="60" name="Group 59">
              <a:extLst>
                <a:ext uri="{FF2B5EF4-FFF2-40B4-BE49-F238E27FC236}">
                  <a16:creationId xmlns:a16="http://schemas.microsoft.com/office/drawing/2014/main" id="{2F7D7704-5379-4C39-8F79-5EF105DEA6C6}"/>
                </a:ext>
              </a:extLst>
            </p:cNvPr>
            <p:cNvGrpSpPr/>
            <p:nvPr/>
          </p:nvGrpSpPr>
          <p:grpSpPr>
            <a:xfrm>
              <a:off x="9308116" y="4049967"/>
              <a:ext cx="1066991" cy="242231"/>
              <a:chOff x="11132070" y="3308794"/>
              <a:chExt cx="208750" cy="47391"/>
            </a:xfrm>
          </p:grpSpPr>
          <p:sp>
            <p:nvSpPr>
              <p:cNvPr id="61" name="Freeform 177">
                <a:extLst>
                  <a:ext uri="{FF2B5EF4-FFF2-40B4-BE49-F238E27FC236}">
                    <a16:creationId xmlns:a16="http://schemas.microsoft.com/office/drawing/2014/main" id="{A6FCB66C-1E62-42C7-94E5-4A6AE2A61CED}"/>
                  </a:ext>
                </a:extLst>
              </p:cNvPr>
              <p:cNvSpPr>
                <a:spLocks noEditPoints="1"/>
              </p:cNvSpPr>
              <p:nvPr/>
            </p:nvSpPr>
            <p:spPr bwMode="auto">
              <a:xfrm>
                <a:off x="11132070" y="3308794"/>
                <a:ext cx="41652" cy="47391"/>
              </a:xfrm>
              <a:custGeom>
                <a:avLst/>
                <a:gdLst>
                  <a:gd name="T0" fmla="*/ 95 w 95"/>
                  <a:gd name="T1" fmla="*/ 54 h 108"/>
                  <a:gd name="T2" fmla="*/ 82 w 95"/>
                  <a:gd name="T3" fmla="*/ 93 h 108"/>
                  <a:gd name="T4" fmla="*/ 48 w 95"/>
                  <a:gd name="T5" fmla="*/ 108 h 108"/>
                  <a:gd name="T6" fmla="*/ 14 w 95"/>
                  <a:gd name="T7" fmla="*/ 93 h 108"/>
                  <a:gd name="T8" fmla="*/ 0 w 95"/>
                  <a:gd name="T9" fmla="*/ 54 h 108"/>
                  <a:gd name="T10" fmla="*/ 14 w 95"/>
                  <a:gd name="T11" fmla="*/ 15 h 108"/>
                  <a:gd name="T12" fmla="*/ 48 w 95"/>
                  <a:gd name="T13" fmla="*/ 0 h 108"/>
                  <a:gd name="T14" fmla="*/ 82 w 95"/>
                  <a:gd name="T15" fmla="*/ 15 h 108"/>
                  <a:gd name="T16" fmla="*/ 95 w 95"/>
                  <a:gd name="T17" fmla="*/ 54 h 108"/>
                  <a:gd name="T18" fmla="*/ 82 w 95"/>
                  <a:gd name="T19" fmla="*/ 54 h 108"/>
                  <a:gd name="T20" fmla="*/ 72 w 95"/>
                  <a:gd name="T21" fmla="*/ 24 h 108"/>
                  <a:gd name="T22" fmla="*/ 48 w 95"/>
                  <a:gd name="T23" fmla="*/ 12 h 108"/>
                  <a:gd name="T24" fmla="*/ 23 w 95"/>
                  <a:gd name="T25" fmla="*/ 24 h 108"/>
                  <a:gd name="T26" fmla="*/ 14 w 95"/>
                  <a:gd name="T27" fmla="*/ 54 h 108"/>
                  <a:gd name="T28" fmla="*/ 23 w 95"/>
                  <a:gd name="T29" fmla="*/ 84 h 108"/>
                  <a:gd name="T30" fmla="*/ 48 w 95"/>
                  <a:gd name="T31" fmla="*/ 96 h 108"/>
                  <a:gd name="T32" fmla="*/ 72 w 95"/>
                  <a:gd name="T33" fmla="*/ 84 h 108"/>
                  <a:gd name="T34" fmla="*/ 82 w 95"/>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8">
                    <a:moveTo>
                      <a:pt x="95" y="54"/>
                    </a:moveTo>
                    <a:cubicBezTo>
                      <a:pt x="95" y="70"/>
                      <a:pt x="91" y="83"/>
                      <a:pt x="82" y="93"/>
                    </a:cubicBezTo>
                    <a:cubicBezTo>
                      <a:pt x="73" y="103"/>
                      <a:pt x="61" y="108"/>
                      <a:pt x="48" y="108"/>
                    </a:cubicBezTo>
                    <a:cubicBezTo>
                      <a:pt x="34" y="108"/>
                      <a:pt x="23" y="103"/>
                      <a:pt x="14" y="93"/>
                    </a:cubicBezTo>
                    <a:cubicBezTo>
                      <a:pt x="5" y="83"/>
                      <a:pt x="0" y="70"/>
                      <a:pt x="0" y="54"/>
                    </a:cubicBezTo>
                    <a:cubicBezTo>
                      <a:pt x="0" y="38"/>
                      <a:pt x="5" y="25"/>
                      <a:pt x="14" y="15"/>
                    </a:cubicBezTo>
                    <a:cubicBezTo>
                      <a:pt x="23" y="5"/>
                      <a:pt x="34" y="0"/>
                      <a:pt x="48" y="0"/>
                    </a:cubicBezTo>
                    <a:cubicBezTo>
                      <a:pt x="61" y="0"/>
                      <a:pt x="73" y="5"/>
                      <a:pt x="82" y="15"/>
                    </a:cubicBezTo>
                    <a:cubicBezTo>
                      <a:pt x="91" y="25"/>
                      <a:pt x="95" y="38"/>
                      <a:pt x="95" y="54"/>
                    </a:cubicBezTo>
                    <a:close/>
                    <a:moveTo>
                      <a:pt x="82" y="54"/>
                    </a:moveTo>
                    <a:cubicBezTo>
                      <a:pt x="82" y="42"/>
                      <a:pt x="78" y="32"/>
                      <a:pt x="72" y="24"/>
                    </a:cubicBezTo>
                    <a:cubicBezTo>
                      <a:pt x="66" y="16"/>
                      <a:pt x="58" y="12"/>
                      <a:pt x="48" y="12"/>
                    </a:cubicBezTo>
                    <a:cubicBezTo>
                      <a:pt x="38" y="12"/>
                      <a:pt x="29" y="16"/>
                      <a:pt x="23" y="24"/>
                    </a:cubicBezTo>
                    <a:cubicBezTo>
                      <a:pt x="17" y="32"/>
                      <a:pt x="14" y="42"/>
                      <a:pt x="14" y="54"/>
                    </a:cubicBezTo>
                    <a:cubicBezTo>
                      <a:pt x="14" y="66"/>
                      <a:pt x="17" y="76"/>
                      <a:pt x="23" y="84"/>
                    </a:cubicBezTo>
                    <a:cubicBezTo>
                      <a:pt x="29" y="92"/>
                      <a:pt x="38" y="96"/>
                      <a:pt x="48" y="96"/>
                    </a:cubicBezTo>
                    <a:cubicBezTo>
                      <a:pt x="58" y="96"/>
                      <a:pt x="66" y="92"/>
                      <a:pt x="72" y="84"/>
                    </a:cubicBezTo>
                    <a:cubicBezTo>
                      <a:pt x="78" y="76"/>
                      <a:pt x="82" y="66"/>
                      <a:pt x="82" y="54"/>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2" name="Freeform 178">
                <a:extLst>
                  <a:ext uri="{FF2B5EF4-FFF2-40B4-BE49-F238E27FC236}">
                    <a16:creationId xmlns:a16="http://schemas.microsoft.com/office/drawing/2014/main" id="{02AC179A-EC0B-478D-9729-DAD936A7B634}"/>
                  </a:ext>
                </a:extLst>
              </p:cNvPr>
              <p:cNvSpPr>
                <a:spLocks/>
              </p:cNvSpPr>
              <p:nvPr/>
            </p:nvSpPr>
            <p:spPr bwMode="auto">
              <a:xfrm>
                <a:off x="11182087" y="3309614"/>
                <a:ext cx="35585" cy="46079"/>
              </a:xfrm>
              <a:custGeom>
                <a:avLst/>
                <a:gdLst>
                  <a:gd name="T0" fmla="*/ 217 w 217"/>
                  <a:gd name="T1" fmla="*/ 281 h 281"/>
                  <a:gd name="T2" fmla="*/ 190 w 217"/>
                  <a:gd name="T3" fmla="*/ 281 h 281"/>
                  <a:gd name="T4" fmla="*/ 35 w 217"/>
                  <a:gd name="T5" fmla="*/ 56 h 281"/>
                  <a:gd name="T6" fmla="*/ 35 w 217"/>
                  <a:gd name="T7" fmla="*/ 281 h 281"/>
                  <a:gd name="T8" fmla="*/ 0 w 217"/>
                  <a:gd name="T9" fmla="*/ 281 h 281"/>
                  <a:gd name="T10" fmla="*/ 0 w 217"/>
                  <a:gd name="T11" fmla="*/ 0 h 281"/>
                  <a:gd name="T12" fmla="*/ 35 w 217"/>
                  <a:gd name="T13" fmla="*/ 0 h 281"/>
                  <a:gd name="T14" fmla="*/ 185 w 217"/>
                  <a:gd name="T15" fmla="*/ 214 h 281"/>
                  <a:gd name="T16" fmla="*/ 185 w 217"/>
                  <a:gd name="T17" fmla="*/ 0 h 281"/>
                  <a:gd name="T18" fmla="*/ 217 w 217"/>
                  <a:gd name="T19" fmla="*/ 0 h 281"/>
                  <a:gd name="T20" fmla="*/ 217 w 217"/>
                  <a:gd name="T21"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281">
                    <a:moveTo>
                      <a:pt x="217" y="281"/>
                    </a:moveTo>
                    <a:lnTo>
                      <a:pt x="190" y="281"/>
                    </a:lnTo>
                    <a:lnTo>
                      <a:pt x="35" y="56"/>
                    </a:lnTo>
                    <a:lnTo>
                      <a:pt x="35" y="281"/>
                    </a:lnTo>
                    <a:lnTo>
                      <a:pt x="0" y="281"/>
                    </a:lnTo>
                    <a:lnTo>
                      <a:pt x="0" y="0"/>
                    </a:lnTo>
                    <a:lnTo>
                      <a:pt x="35" y="0"/>
                    </a:lnTo>
                    <a:lnTo>
                      <a:pt x="185" y="214"/>
                    </a:lnTo>
                    <a:lnTo>
                      <a:pt x="185" y="0"/>
                    </a:lnTo>
                    <a:lnTo>
                      <a:pt x="217" y="0"/>
                    </a:lnTo>
                    <a:lnTo>
                      <a:pt x="217" y="281"/>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3" name="Freeform 179">
                <a:extLst>
                  <a:ext uri="{FF2B5EF4-FFF2-40B4-BE49-F238E27FC236}">
                    <a16:creationId xmlns:a16="http://schemas.microsoft.com/office/drawing/2014/main" id="{2078AFA9-D1A7-429C-BD18-FF0DB542FFDF}"/>
                  </a:ext>
                </a:extLst>
              </p:cNvPr>
              <p:cNvSpPr>
                <a:spLocks noEditPoints="1"/>
              </p:cNvSpPr>
              <p:nvPr/>
            </p:nvSpPr>
            <p:spPr bwMode="auto">
              <a:xfrm>
                <a:off x="11241282" y="3309614"/>
                <a:ext cx="41652" cy="46079"/>
              </a:xfrm>
              <a:custGeom>
                <a:avLst/>
                <a:gdLst>
                  <a:gd name="T0" fmla="*/ 185 w 254"/>
                  <a:gd name="T1" fmla="*/ 195 h 281"/>
                  <a:gd name="T2" fmla="*/ 70 w 254"/>
                  <a:gd name="T3" fmla="*/ 195 h 281"/>
                  <a:gd name="T4" fmla="*/ 38 w 254"/>
                  <a:gd name="T5" fmla="*/ 281 h 281"/>
                  <a:gd name="T6" fmla="*/ 0 w 254"/>
                  <a:gd name="T7" fmla="*/ 281 h 281"/>
                  <a:gd name="T8" fmla="*/ 110 w 254"/>
                  <a:gd name="T9" fmla="*/ 0 h 281"/>
                  <a:gd name="T10" fmla="*/ 144 w 254"/>
                  <a:gd name="T11" fmla="*/ 0 h 281"/>
                  <a:gd name="T12" fmla="*/ 254 w 254"/>
                  <a:gd name="T13" fmla="*/ 281 h 281"/>
                  <a:gd name="T14" fmla="*/ 217 w 254"/>
                  <a:gd name="T15" fmla="*/ 281 h 281"/>
                  <a:gd name="T16" fmla="*/ 185 w 254"/>
                  <a:gd name="T17" fmla="*/ 195 h 281"/>
                  <a:gd name="T18" fmla="*/ 80 w 254"/>
                  <a:gd name="T19" fmla="*/ 163 h 281"/>
                  <a:gd name="T20" fmla="*/ 174 w 254"/>
                  <a:gd name="T21" fmla="*/ 163 h 281"/>
                  <a:gd name="T22" fmla="*/ 126 w 254"/>
                  <a:gd name="T23" fmla="*/ 46 h 281"/>
                  <a:gd name="T24" fmla="*/ 80 w 254"/>
                  <a:gd name="T25" fmla="*/ 16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81">
                    <a:moveTo>
                      <a:pt x="185" y="195"/>
                    </a:moveTo>
                    <a:lnTo>
                      <a:pt x="70" y="195"/>
                    </a:lnTo>
                    <a:lnTo>
                      <a:pt x="38" y="281"/>
                    </a:lnTo>
                    <a:lnTo>
                      <a:pt x="0" y="281"/>
                    </a:lnTo>
                    <a:lnTo>
                      <a:pt x="110" y="0"/>
                    </a:lnTo>
                    <a:lnTo>
                      <a:pt x="144" y="0"/>
                    </a:lnTo>
                    <a:lnTo>
                      <a:pt x="254" y="281"/>
                    </a:lnTo>
                    <a:lnTo>
                      <a:pt x="217" y="281"/>
                    </a:lnTo>
                    <a:lnTo>
                      <a:pt x="185" y="195"/>
                    </a:lnTo>
                    <a:close/>
                    <a:moveTo>
                      <a:pt x="80" y="163"/>
                    </a:moveTo>
                    <a:lnTo>
                      <a:pt x="174" y="163"/>
                    </a:lnTo>
                    <a:lnTo>
                      <a:pt x="126" y="46"/>
                    </a:lnTo>
                    <a:lnTo>
                      <a:pt x="80" y="163"/>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4" name="Rectangle 63">
                <a:extLst>
                  <a:ext uri="{FF2B5EF4-FFF2-40B4-BE49-F238E27FC236}">
                    <a16:creationId xmlns:a16="http://schemas.microsoft.com/office/drawing/2014/main" id="{2D4A9569-2E22-4E50-9131-AED198943888}"/>
                  </a:ext>
                </a:extLst>
              </p:cNvPr>
              <p:cNvSpPr>
                <a:spLocks noChangeArrowheads="1"/>
              </p:cNvSpPr>
              <p:nvPr/>
            </p:nvSpPr>
            <p:spPr bwMode="auto">
              <a:xfrm>
                <a:off x="11289985" y="3309614"/>
                <a:ext cx="5739" cy="4607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sp>
            <p:nvSpPr>
              <p:cNvPr id="65" name="Freeform 194">
                <a:extLst>
                  <a:ext uri="{FF2B5EF4-FFF2-40B4-BE49-F238E27FC236}">
                    <a16:creationId xmlns:a16="http://schemas.microsoft.com/office/drawing/2014/main" id="{AE1F4274-E203-42CB-B829-6FDCCE50C488}"/>
                  </a:ext>
                </a:extLst>
              </p:cNvPr>
              <p:cNvSpPr>
                <a:spLocks noEditPoints="1"/>
              </p:cNvSpPr>
              <p:nvPr/>
            </p:nvSpPr>
            <p:spPr bwMode="auto">
              <a:xfrm>
                <a:off x="11306548" y="3309614"/>
                <a:ext cx="34272" cy="46079"/>
              </a:xfrm>
              <a:custGeom>
                <a:avLst/>
                <a:gdLst>
                  <a:gd name="T0" fmla="*/ 0 w 78"/>
                  <a:gd name="T1" fmla="*/ 0 h 105"/>
                  <a:gd name="T2" fmla="*/ 39 w 78"/>
                  <a:gd name="T3" fmla="*/ 0 h 105"/>
                  <a:gd name="T4" fmla="*/ 64 w 78"/>
                  <a:gd name="T5" fmla="*/ 8 h 105"/>
                  <a:gd name="T6" fmla="*/ 73 w 78"/>
                  <a:gd name="T7" fmla="*/ 30 h 105"/>
                  <a:gd name="T8" fmla="*/ 66 w 78"/>
                  <a:gd name="T9" fmla="*/ 51 h 105"/>
                  <a:gd name="T10" fmla="*/ 47 w 78"/>
                  <a:gd name="T11" fmla="*/ 60 h 105"/>
                  <a:gd name="T12" fmla="*/ 78 w 78"/>
                  <a:gd name="T13" fmla="*/ 105 h 105"/>
                  <a:gd name="T14" fmla="*/ 62 w 78"/>
                  <a:gd name="T15" fmla="*/ 105 h 105"/>
                  <a:gd name="T16" fmla="*/ 32 w 78"/>
                  <a:gd name="T17" fmla="*/ 60 h 105"/>
                  <a:gd name="T18" fmla="*/ 14 w 78"/>
                  <a:gd name="T19" fmla="*/ 60 h 105"/>
                  <a:gd name="T20" fmla="*/ 14 w 78"/>
                  <a:gd name="T21" fmla="*/ 105 h 105"/>
                  <a:gd name="T22" fmla="*/ 0 w 78"/>
                  <a:gd name="T23" fmla="*/ 105 h 105"/>
                  <a:gd name="T24" fmla="*/ 0 w 78"/>
                  <a:gd name="T25" fmla="*/ 0 h 105"/>
                  <a:gd name="T26" fmla="*/ 14 w 78"/>
                  <a:gd name="T27" fmla="*/ 49 h 105"/>
                  <a:gd name="T28" fmla="*/ 39 w 78"/>
                  <a:gd name="T29" fmla="*/ 49 h 105"/>
                  <a:gd name="T30" fmla="*/ 55 w 78"/>
                  <a:gd name="T31" fmla="*/ 44 h 105"/>
                  <a:gd name="T32" fmla="*/ 60 w 78"/>
                  <a:gd name="T33" fmla="*/ 30 h 105"/>
                  <a:gd name="T34" fmla="*/ 55 w 78"/>
                  <a:gd name="T35" fmla="*/ 17 h 105"/>
                  <a:gd name="T36" fmla="*/ 39 w 78"/>
                  <a:gd name="T37" fmla="*/ 12 h 105"/>
                  <a:gd name="T38" fmla="*/ 14 w 78"/>
                  <a:gd name="T39" fmla="*/ 12 h 105"/>
                  <a:gd name="T40" fmla="*/ 14 w 78"/>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05">
                    <a:moveTo>
                      <a:pt x="0" y="0"/>
                    </a:moveTo>
                    <a:cubicBezTo>
                      <a:pt x="39" y="0"/>
                      <a:pt x="39" y="0"/>
                      <a:pt x="39" y="0"/>
                    </a:cubicBezTo>
                    <a:cubicBezTo>
                      <a:pt x="50" y="0"/>
                      <a:pt x="58" y="2"/>
                      <a:pt x="64" y="8"/>
                    </a:cubicBezTo>
                    <a:cubicBezTo>
                      <a:pt x="70" y="13"/>
                      <a:pt x="73" y="20"/>
                      <a:pt x="73" y="30"/>
                    </a:cubicBezTo>
                    <a:cubicBezTo>
                      <a:pt x="73" y="39"/>
                      <a:pt x="71" y="46"/>
                      <a:pt x="66" y="51"/>
                    </a:cubicBezTo>
                    <a:cubicBezTo>
                      <a:pt x="62" y="56"/>
                      <a:pt x="55" y="59"/>
                      <a:pt x="47" y="60"/>
                    </a:cubicBezTo>
                    <a:cubicBezTo>
                      <a:pt x="78" y="105"/>
                      <a:pt x="78" y="105"/>
                      <a:pt x="78" y="105"/>
                    </a:cubicBezTo>
                    <a:cubicBezTo>
                      <a:pt x="62" y="105"/>
                      <a:pt x="62" y="105"/>
                      <a:pt x="62" y="105"/>
                    </a:cubicBezTo>
                    <a:cubicBezTo>
                      <a:pt x="32" y="60"/>
                      <a:pt x="32" y="60"/>
                      <a:pt x="32" y="60"/>
                    </a:cubicBezTo>
                    <a:cubicBezTo>
                      <a:pt x="14" y="60"/>
                      <a:pt x="14" y="60"/>
                      <a:pt x="14" y="60"/>
                    </a:cubicBezTo>
                    <a:cubicBezTo>
                      <a:pt x="14" y="105"/>
                      <a:pt x="14" y="105"/>
                      <a:pt x="14" y="105"/>
                    </a:cubicBezTo>
                    <a:cubicBezTo>
                      <a:pt x="0" y="105"/>
                      <a:pt x="0" y="105"/>
                      <a:pt x="0" y="105"/>
                    </a:cubicBezTo>
                    <a:lnTo>
                      <a:pt x="0" y="0"/>
                    </a:lnTo>
                    <a:close/>
                    <a:moveTo>
                      <a:pt x="14" y="49"/>
                    </a:moveTo>
                    <a:cubicBezTo>
                      <a:pt x="39" y="49"/>
                      <a:pt x="39" y="49"/>
                      <a:pt x="39" y="49"/>
                    </a:cubicBezTo>
                    <a:cubicBezTo>
                      <a:pt x="46" y="49"/>
                      <a:pt x="51" y="47"/>
                      <a:pt x="55" y="44"/>
                    </a:cubicBezTo>
                    <a:cubicBezTo>
                      <a:pt x="58" y="41"/>
                      <a:pt x="60" y="36"/>
                      <a:pt x="60" y="30"/>
                    </a:cubicBezTo>
                    <a:cubicBezTo>
                      <a:pt x="60" y="24"/>
                      <a:pt x="58" y="20"/>
                      <a:pt x="55" y="17"/>
                    </a:cubicBezTo>
                    <a:cubicBezTo>
                      <a:pt x="51" y="13"/>
                      <a:pt x="46" y="12"/>
                      <a:pt x="39" y="12"/>
                    </a:cubicBezTo>
                    <a:cubicBezTo>
                      <a:pt x="14" y="12"/>
                      <a:pt x="14" y="12"/>
                      <a:pt x="14" y="12"/>
                    </a:cubicBezTo>
                    <a:lnTo>
                      <a:pt x="14" y="49"/>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icrosoft Sans Serif"/>
                  <a:ea typeface="+mn-ea"/>
                  <a:cs typeface="+mn-cs"/>
                </a:endParaRPr>
              </a:p>
            </p:txBody>
          </p:sp>
        </p:grpSp>
      </p:grpSp>
      <p:sp>
        <p:nvSpPr>
          <p:cNvPr id="35" name="Freeform: Shape 34">
            <a:extLst>
              <a:ext uri="{FF2B5EF4-FFF2-40B4-BE49-F238E27FC236}">
                <a16:creationId xmlns:a16="http://schemas.microsoft.com/office/drawing/2014/main" id="{C4FA4006-5615-4531-B9DE-E04055B8ECB2}"/>
              </a:ext>
            </a:extLst>
          </p:cNvPr>
          <p:cNvSpPr/>
          <p:nvPr/>
        </p:nvSpPr>
        <p:spPr>
          <a:xfrm>
            <a:off x="991697" y="3642444"/>
            <a:ext cx="566057" cy="870857"/>
          </a:xfrm>
          <a:custGeom>
            <a:avLst/>
            <a:gdLst>
              <a:gd name="connsiteX0" fmla="*/ 0 w 566057"/>
              <a:gd name="connsiteY0" fmla="*/ 0 h 870857"/>
              <a:gd name="connsiteX1" fmla="*/ 283029 w 566057"/>
              <a:gd name="connsiteY1" fmla="*/ 195943 h 870857"/>
              <a:gd name="connsiteX2" fmla="*/ 435429 w 566057"/>
              <a:gd name="connsiteY2" fmla="*/ 696686 h 870857"/>
              <a:gd name="connsiteX3" fmla="*/ 566057 w 566057"/>
              <a:gd name="connsiteY3" fmla="*/ 870857 h 870857"/>
            </a:gdLst>
            <a:ahLst/>
            <a:cxnLst>
              <a:cxn ang="0">
                <a:pos x="connsiteX0" y="connsiteY0"/>
              </a:cxn>
              <a:cxn ang="0">
                <a:pos x="connsiteX1" y="connsiteY1"/>
              </a:cxn>
              <a:cxn ang="0">
                <a:pos x="connsiteX2" y="connsiteY2"/>
              </a:cxn>
              <a:cxn ang="0">
                <a:pos x="connsiteX3" y="connsiteY3"/>
              </a:cxn>
            </a:cxnLst>
            <a:rect l="l" t="t" r="r" b="b"/>
            <a:pathLst>
              <a:path w="566057" h="870857">
                <a:moveTo>
                  <a:pt x="0" y="0"/>
                </a:moveTo>
                <a:cubicBezTo>
                  <a:pt x="105229" y="39914"/>
                  <a:pt x="210458" y="79829"/>
                  <a:pt x="283029" y="195943"/>
                </a:cubicBezTo>
                <a:cubicBezTo>
                  <a:pt x="355601" y="312057"/>
                  <a:pt x="388258" y="584200"/>
                  <a:pt x="435429" y="696686"/>
                </a:cubicBezTo>
                <a:cubicBezTo>
                  <a:pt x="482600" y="809172"/>
                  <a:pt x="524328" y="840014"/>
                  <a:pt x="566057" y="870857"/>
                </a:cubicBez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36" name="Freeform: Shape 35">
            <a:extLst>
              <a:ext uri="{FF2B5EF4-FFF2-40B4-BE49-F238E27FC236}">
                <a16:creationId xmlns:a16="http://schemas.microsoft.com/office/drawing/2014/main" id="{251E0955-EA7D-48A5-BEED-C58266C19C05}"/>
              </a:ext>
            </a:extLst>
          </p:cNvPr>
          <p:cNvSpPr/>
          <p:nvPr/>
        </p:nvSpPr>
        <p:spPr>
          <a:xfrm>
            <a:off x="1002583" y="3440004"/>
            <a:ext cx="500743" cy="191554"/>
          </a:xfrm>
          <a:custGeom>
            <a:avLst/>
            <a:gdLst>
              <a:gd name="connsiteX0" fmla="*/ 0 w 500743"/>
              <a:gd name="connsiteY0" fmla="*/ 318483 h 318483"/>
              <a:gd name="connsiteX1" fmla="*/ 283028 w 500743"/>
              <a:gd name="connsiteY1" fmla="*/ 35455 h 318483"/>
              <a:gd name="connsiteX2" fmla="*/ 500743 w 500743"/>
              <a:gd name="connsiteY2" fmla="*/ 13683 h 318483"/>
            </a:gdLst>
            <a:ahLst/>
            <a:cxnLst>
              <a:cxn ang="0">
                <a:pos x="connsiteX0" y="connsiteY0"/>
              </a:cxn>
              <a:cxn ang="0">
                <a:pos x="connsiteX1" y="connsiteY1"/>
              </a:cxn>
              <a:cxn ang="0">
                <a:pos x="connsiteX2" y="connsiteY2"/>
              </a:cxn>
            </a:cxnLst>
            <a:rect l="l" t="t" r="r" b="b"/>
            <a:pathLst>
              <a:path w="500743" h="318483">
                <a:moveTo>
                  <a:pt x="0" y="318483"/>
                </a:moveTo>
                <a:cubicBezTo>
                  <a:pt x="99785" y="202369"/>
                  <a:pt x="199571" y="86255"/>
                  <a:pt x="283028" y="35455"/>
                </a:cubicBezTo>
                <a:cubicBezTo>
                  <a:pt x="366485" y="-15345"/>
                  <a:pt x="433614" y="-831"/>
                  <a:pt x="500743" y="13683"/>
                </a:cubicBez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37" name="Freeform: Shape 36">
            <a:extLst>
              <a:ext uri="{FF2B5EF4-FFF2-40B4-BE49-F238E27FC236}">
                <a16:creationId xmlns:a16="http://schemas.microsoft.com/office/drawing/2014/main" id="{EA89251B-D7DD-4283-8148-F42A64FBA97B}"/>
              </a:ext>
            </a:extLst>
          </p:cNvPr>
          <p:cNvSpPr/>
          <p:nvPr/>
        </p:nvSpPr>
        <p:spPr>
          <a:xfrm>
            <a:off x="991697" y="2934884"/>
            <a:ext cx="406658" cy="696673"/>
          </a:xfrm>
          <a:custGeom>
            <a:avLst/>
            <a:gdLst>
              <a:gd name="connsiteX0" fmla="*/ 0 w 381000"/>
              <a:gd name="connsiteY0" fmla="*/ 827314 h 827314"/>
              <a:gd name="connsiteX1" fmla="*/ 293914 w 381000"/>
              <a:gd name="connsiteY1" fmla="*/ 326571 h 827314"/>
              <a:gd name="connsiteX2" fmla="*/ 381000 w 381000"/>
              <a:gd name="connsiteY2" fmla="*/ 0 h 827314"/>
            </a:gdLst>
            <a:ahLst/>
            <a:cxnLst>
              <a:cxn ang="0">
                <a:pos x="connsiteX0" y="connsiteY0"/>
              </a:cxn>
              <a:cxn ang="0">
                <a:pos x="connsiteX1" y="connsiteY1"/>
              </a:cxn>
              <a:cxn ang="0">
                <a:pos x="connsiteX2" y="connsiteY2"/>
              </a:cxn>
            </a:cxnLst>
            <a:rect l="l" t="t" r="r" b="b"/>
            <a:pathLst>
              <a:path w="381000" h="827314">
                <a:moveTo>
                  <a:pt x="0" y="827314"/>
                </a:moveTo>
                <a:cubicBezTo>
                  <a:pt x="115207" y="645885"/>
                  <a:pt x="230414" y="464457"/>
                  <a:pt x="293914" y="326571"/>
                </a:cubicBezTo>
                <a:cubicBezTo>
                  <a:pt x="357414" y="188685"/>
                  <a:pt x="369207" y="94342"/>
                  <a:pt x="381000" y="0"/>
                </a:cubicBez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nvGrpSpPr>
          <p:cNvPr id="38" name="Group 37">
            <a:extLst>
              <a:ext uri="{FF2B5EF4-FFF2-40B4-BE49-F238E27FC236}">
                <a16:creationId xmlns:a16="http://schemas.microsoft.com/office/drawing/2014/main" id="{60474718-24CB-45B0-A308-190ECEC79282}"/>
              </a:ext>
            </a:extLst>
          </p:cNvPr>
          <p:cNvGrpSpPr>
            <a:grpSpLocks noChangeAspect="1"/>
          </p:cNvGrpSpPr>
          <p:nvPr/>
        </p:nvGrpSpPr>
        <p:grpSpPr>
          <a:xfrm>
            <a:off x="378982" y="3382492"/>
            <a:ext cx="596972" cy="572979"/>
            <a:chOff x="879510" y="2849109"/>
            <a:chExt cx="1879449" cy="1803914"/>
          </a:xfrm>
        </p:grpSpPr>
        <p:sp>
          <p:nvSpPr>
            <p:cNvPr id="54" name="Freeform 24">
              <a:extLst>
                <a:ext uri="{FF2B5EF4-FFF2-40B4-BE49-F238E27FC236}">
                  <a16:creationId xmlns:a16="http://schemas.microsoft.com/office/drawing/2014/main" id="{A90B90C0-E4DD-4B14-8E9F-AEEA92ECBA9B}"/>
                </a:ext>
              </a:extLst>
            </p:cNvPr>
            <p:cNvSpPr>
              <a:spLocks/>
            </p:cNvSpPr>
            <p:nvPr/>
          </p:nvSpPr>
          <p:spPr bwMode="auto">
            <a:xfrm>
              <a:off x="879510" y="2849109"/>
              <a:ext cx="1879449" cy="1180457"/>
            </a:xfrm>
            <a:custGeom>
              <a:avLst/>
              <a:gdLst>
                <a:gd name="T0" fmla="*/ 989 w 1212"/>
                <a:gd name="T1" fmla="*/ 280 h 761"/>
                <a:gd name="T2" fmla="*/ 994 w 1212"/>
                <a:gd name="T3" fmla="*/ 231 h 761"/>
                <a:gd name="T4" fmla="*/ 763 w 1212"/>
                <a:gd name="T5" fmla="*/ 0 h 761"/>
                <a:gd name="T6" fmla="*/ 551 w 1212"/>
                <a:gd name="T7" fmla="*/ 137 h 761"/>
                <a:gd name="T8" fmla="*/ 478 w 1212"/>
                <a:gd name="T9" fmla="*/ 120 h 761"/>
                <a:gd name="T10" fmla="*/ 308 w 1212"/>
                <a:gd name="T11" fmla="*/ 279 h 761"/>
                <a:gd name="T12" fmla="*/ 241 w 1212"/>
                <a:gd name="T13" fmla="*/ 279 h 761"/>
                <a:gd name="T14" fmla="*/ 0 w 1212"/>
                <a:gd name="T15" fmla="*/ 520 h 761"/>
                <a:gd name="T16" fmla="*/ 241 w 1212"/>
                <a:gd name="T17" fmla="*/ 761 h 761"/>
                <a:gd name="T18" fmla="*/ 971 w 1212"/>
                <a:gd name="T19" fmla="*/ 761 h 761"/>
                <a:gd name="T20" fmla="*/ 1212 w 1212"/>
                <a:gd name="T21" fmla="*/ 520 h 761"/>
                <a:gd name="T22" fmla="*/ 989 w 1212"/>
                <a:gd name="T23" fmla="*/ 28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2" h="761">
                  <a:moveTo>
                    <a:pt x="989" y="280"/>
                  </a:moveTo>
                  <a:cubicBezTo>
                    <a:pt x="992" y="264"/>
                    <a:pt x="994" y="248"/>
                    <a:pt x="994" y="231"/>
                  </a:cubicBezTo>
                  <a:cubicBezTo>
                    <a:pt x="994" y="104"/>
                    <a:pt x="890" y="0"/>
                    <a:pt x="763" y="0"/>
                  </a:cubicBezTo>
                  <a:cubicBezTo>
                    <a:pt x="668" y="0"/>
                    <a:pt x="587" y="56"/>
                    <a:pt x="551" y="137"/>
                  </a:cubicBezTo>
                  <a:cubicBezTo>
                    <a:pt x="529" y="126"/>
                    <a:pt x="504" y="120"/>
                    <a:pt x="478" y="120"/>
                  </a:cubicBezTo>
                  <a:cubicBezTo>
                    <a:pt x="388" y="120"/>
                    <a:pt x="314" y="191"/>
                    <a:pt x="308" y="279"/>
                  </a:cubicBezTo>
                  <a:cubicBezTo>
                    <a:pt x="241" y="279"/>
                    <a:pt x="241" y="279"/>
                    <a:pt x="241" y="279"/>
                  </a:cubicBezTo>
                  <a:cubicBezTo>
                    <a:pt x="107" y="279"/>
                    <a:pt x="0" y="387"/>
                    <a:pt x="0" y="520"/>
                  </a:cubicBezTo>
                  <a:cubicBezTo>
                    <a:pt x="0" y="653"/>
                    <a:pt x="107" y="761"/>
                    <a:pt x="241" y="761"/>
                  </a:cubicBezTo>
                  <a:cubicBezTo>
                    <a:pt x="971" y="761"/>
                    <a:pt x="971" y="761"/>
                    <a:pt x="971" y="761"/>
                  </a:cubicBezTo>
                  <a:cubicBezTo>
                    <a:pt x="1105" y="761"/>
                    <a:pt x="1212" y="653"/>
                    <a:pt x="1212" y="520"/>
                  </a:cubicBezTo>
                  <a:cubicBezTo>
                    <a:pt x="1212" y="393"/>
                    <a:pt x="1114" y="289"/>
                    <a:pt x="989" y="280"/>
                  </a:cubicBezTo>
                  <a:close/>
                </a:path>
              </a:pathLst>
            </a:custGeom>
            <a:solidFill>
              <a:schemeClr val="accent6">
                <a:lumMod val="40000"/>
                <a:lumOff val="6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nvGrpSpPr>
            <p:cNvPr id="55" name="Group 54">
              <a:extLst>
                <a:ext uri="{FF2B5EF4-FFF2-40B4-BE49-F238E27FC236}">
                  <a16:creationId xmlns:a16="http://schemas.microsoft.com/office/drawing/2014/main" id="{B3AB873C-EE00-4729-BA2A-96945F90DF3E}"/>
                </a:ext>
              </a:extLst>
            </p:cNvPr>
            <p:cNvGrpSpPr/>
            <p:nvPr/>
          </p:nvGrpSpPr>
          <p:grpSpPr>
            <a:xfrm>
              <a:off x="1261322" y="3570504"/>
              <a:ext cx="1115825" cy="1082519"/>
              <a:chOff x="1261322" y="3570504"/>
              <a:chExt cx="1115825" cy="1082519"/>
            </a:xfrm>
          </p:grpSpPr>
          <p:sp>
            <p:nvSpPr>
              <p:cNvPr id="56" name="Rectangle: Rounded Corners 27">
                <a:extLst>
                  <a:ext uri="{FF2B5EF4-FFF2-40B4-BE49-F238E27FC236}">
                    <a16:creationId xmlns:a16="http://schemas.microsoft.com/office/drawing/2014/main" id="{5C5F1899-41CC-41D1-A0C6-6F498FC743B4}"/>
                  </a:ext>
                </a:extLst>
              </p:cNvPr>
              <p:cNvSpPr/>
              <p:nvPr/>
            </p:nvSpPr>
            <p:spPr>
              <a:xfrm>
                <a:off x="1261322" y="3570504"/>
                <a:ext cx="1115825" cy="1082519"/>
              </a:xfrm>
              <a:prstGeom prst="roundRect">
                <a:avLst>
                  <a:gd name="adj" fmla="val 5597"/>
                </a:avLst>
              </a:prstGeom>
              <a:solidFill>
                <a:schemeClr val="accent6">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57" name="Freeform: Shape 28">
                <a:extLst>
                  <a:ext uri="{FF2B5EF4-FFF2-40B4-BE49-F238E27FC236}">
                    <a16:creationId xmlns:a16="http://schemas.microsoft.com/office/drawing/2014/main" id="{82E11D2A-0B73-4405-9E20-8DAC2B827AEB}"/>
                  </a:ext>
                </a:extLst>
              </p:cNvPr>
              <p:cNvSpPr>
                <a:spLocks/>
              </p:cNvSpPr>
              <p:nvPr/>
            </p:nvSpPr>
            <p:spPr bwMode="auto">
              <a:xfrm>
                <a:off x="1318837" y="3636963"/>
                <a:ext cx="1000794" cy="949602"/>
              </a:xfrm>
              <a:custGeom>
                <a:avLst/>
                <a:gdLst>
                  <a:gd name="connsiteX0" fmla="*/ 63820 w 1295542"/>
                  <a:gd name="connsiteY0" fmla="*/ 968970 h 1229273"/>
                  <a:gd name="connsiteX1" fmla="*/ 1231722 w 1295542"/>
                  <a:gd name="connsiteY1" fmla="*/ 968970 h 1229273"/>
                  <a:gd name="connsiteX2" fmla="*/ 1295542 w 1295542"/>
                  <a:gd name="connsiteY2" fmla="*/ 1032848 h 1229273"/>
                  <a:gd name="connsiteX3" fmla="*/ 1295542 w 1295542"/>
                  <a:gd name="connsiteY3" fmla="*/ 1165395 h 1229273"/>
                  <a:gd name="connsiteX4" fmla="*/ 1231722 w 1295542"/>
                  <a:gd name="connsiteY4" fmla="*/ 1229273 h 1229273"/>
                  <a:gd name="connsiteX5" fmla="*/ 63820 w 1295542"/>
                  <a:gd name="connsiteY5" fmla="*/ 1229273 h 1229273"/>
                  <a:gd name="connsiteX6" fmla="*/ 0 w 1295542"/>
                  <a:gd name="connsiteY6" fmla="*/ 1165395 h 1229273"/>
                  <a:gd name="connsiteX7" fmla="*/ 0 w 1295542"/>
                  <a:gd name="connsiteY7" fmla="*/ 1032848 h 1229273"/>
                  <a:gd name="connsiteX8" fmla="*/ 63820 w 1295542"/>
                  <a:gd name="connsiteY8" fmla="*/ 968970 h 1229273"/>
                  <a:gd name="connsiteX9" fmla="*/ 63820 w 1295542"/>
                  <a:gd name="connsiteY9" fmla="*/ 646577 h 1229273"/>
                  <a:gd name="connsiteX10" fmla="*/ 1231722 w 1295542"/>
                  <a:gd name="connsiteY10" fmla="*/ 646577 h 1229273"/>
                  <a:gd name="connsiteX11" fmla="*/ 1295542 w 1295542"/>
                  <a:gd name="connsiteY11" fmla="*/ 710455 h 1229273"/>
                  <a:gd name="connsiteX12" fmla="*/ 1295542 w 1295542"/>
                  <a:gd name="connsiteY12" fmla="*/ 843002 h 1229273"/>
                  <a:gd name="connsiteX13" fmla="*/ 1231722 w 1295542"/>
                  <a:gd name="connsiteY13" fmla="*/ 906880 h 1229273"/>
                  <a:gd name="connsiteX14" fmla="*/ 63820 w 1295542"/>
                  <a:gd name="connsiteY14" fmla="*/ 906880 h 1229273"/>
                  <a:gd name="connsiteX15" fmla="*/ 0 w 1295542"/>
                  <a:gd name="connsiteY15" fmla="*/ 843002 h 1229273"/>
                  <a:gd name="connsiteX16" fmla="*/ 0 w 1295542"/>
                  <a:gd name="connsiteY16" fmla="*/ 710455 h 1229273"/>
                  <a:gd name="connsiteX17" fmla="*/ 63820 w 1295542"/>
                  <a:gd name="connsiteY17" fmla="*/ 646577 h 1229273"/>
                  <a:gd name="connsiteX18" fmla="*/ 63820 w 1295542"/>
                  <a:gd name="connsiteY18" fmla="*/ 325378 h 1229273"/>
                  <a:gd name="connsiteX19" fmla="*/ 1231722 w 1295542"/>
                  <a:gd name="connsiteY19" fmla="*/ 325378 h 1229273"/>
                  <a:gd name="connsiteX20" fmla="*/ 1295542 w 1295542"/>
                  <a:gd name="connsiteY20" fmla="*/ 389256 h 1229273"/>
                  <a:gd name="connsiteX21" fmla="*/ 1295542 w 1295542"/>
                  <a:gd name="connsiteY21" fmla="*/ 521803 h 1229273"/>
                  <a:gd name="connsiteX22" fmla="*/ 1231722 w 1295542"/>
                  <a:gd name="connsiteY22" fmla="*/ 585681 h 1229273"/>
                  <a:gd name="connsiteX23" fmla="*/ 63820 w 1295542"/>
                  <a:gd name="connsiteY23" fmla="*/ 585681 h 1229273"/>
                  <a:gd name="connsiteX24" fmla="*/ 0 w 1295542"/>
                  <a:gd name="connsiteY24" fmla="*/ 521803 h 1229273"/>
                  <a:gd name="connsiteX25" fmla="*/ 0 w 1295542"/>
                  <a:gd name="connsiteY25" fmla="*/ 389256 h 1229273"/>
                  <a:gd name="connsiteX26" fmla="*/ 63820 w 1295542"/>
                  <a:gd name="connsiteY26" fmla="*/ 325378 h 1229273"/>
                  <a:gd name="connsiteX27" fmla="*/ 63820 w 1295542"/>
                  <a:gd name="connsiteY27" fmla="*/ 0 h 1229273"/>
                  <a:gd name="connsiteX28" fmla="*/ 1231722 w 1295542"/>
                  <a:gd name="connsiteY28" fmla="*/ 0 h 1229273"/>
                  <a:gd name="connsiteX29" fmla="*/ 1295542 w 1295542"/>
                  <a:gd name="connsiteY29" fmla="*/ 63878 h 1229273"/>
                  <a:gd name="connsiteX30" fmla="*/ 1295542 w 1295542"/>
                  <a:gd name="connsiteY30" fmla="*/ 196425 h 1229273"/>
                  <a:gd name="connsiteX31" fmla="*/ 1231722 w 1295542"/>
                  <a:gd name="connsiteY31" fmla="*/ 260303 h 1229273"/>
                  <a:gd name="connsiteX32" fmla="*/ 63820 w 1295542"/>
                  <a:gd name="connsiteY32" fmla="*/ 260303 h 1229273"/>
                  <a:gd name="connsiteX33" fmla="*/ 0 w 1295542"/>
                  <a:gd name="connsiteY33" fmla="*/ 196425 h 1229273"/>
                  <a:gd name="connsiteX34" fmla="*/ 0 w 1295542"/>
                  <a:gd name="connsiteY34" fmla="*/ 63878 h 1229273"/>
                  <a:gd name="connsiteX35" fmla="*/ 63820 w 1295542"/>
                  <a:gd name="connsiteY35" fmla="*/ 0 h 1229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95542" h="1229273">
                    <a:moveTo>
                      <a:pt x="63820" y="968970"/>
                    </a:moveTo>
                    <a:cubicBezTo>
                      <a:pt x="1231722" y="968970"/>
                      <a:pt x="1231722" y="968970"/>
                      <a:pt x="1231722" y="968970"/>
                    </a:cubicBezTo>
                    <a:cubicBezTo>
                      <a:pt x="1266823" y="968970"/>
                      <a:pt x="1295542" y="997715"/>
                      <a:pt x="1295542" y="1032848"/>
                    </a:cubicBezTo>
                    <a:lnTo>
                      <a:pt x="1295542" y="1165395"/>
                    </a:lnTo>
                    <a:cubicBezTo>
                      <a:pt x="1295542" y="1200528"/>
                      <a:pt x="1266823" y="1229273"/>
                      <a:pt x="1231722" y="1229273"/>
                    </a:cubicBezTo>
                    <a:cubicBezTo>
                      <a:pt x="63820" y="1229273"/>
                      <a:pt x="63820" y="1229273"/>
                      <a:pt x="63820" y="1229273"/>
                    </a:cubicBezTo>
                    <a:cubicBezTo>
                      <a:pt x="28719" y="1229273"/>
                      <a:pt x="0" y="1200528"/>
                      <a:pt x="0" y="1165395"/>
                    </a:cubicBezTo>
                    <a:cubicBezTo>
                      <a:pt x="0" y="1032848"/>
                      <a:pt x="0" y="1032848"/>
                      <a:pt x="0" y="1032848"/>
                    </a:cubicBezTo>
                    <a:cubicBezTo>
                      <a:pt x="0" y="997715"/>
                      <a:pt x="28719" y="968970"/>
                      <a:pt x="63820" y="968970"/>
                    </a:cubicBezTo>
                    <a:close/>
                    <a:moveTo>
                      <a:pt x="63820" y="646577"/>
                    </a:moveTo>
                    <a:cubicBezTo>
                      <a:pt x="1231722" y="646577"/>
                      <a:pt x="1231722" y="646577"/>
                      <a:pt x="1231722" y="646577"/>
                    </a:cubicBezTo>
                    <a:cubicBezTo>
                      <a:pt x="1266823" y="646577"/>
                      <a:pt x="1295542" y="675322"/>
                      <a:pt x="1295542" y="710455"/>
                    </a:cubicBezTo>
                    <a:lnTo>
                      <a:pt x="1295542" y="843002"/>
                    </a:lnTo>
                    <a:cubicBezTo>
                      <a:pt x="1295542" y="878135"/>
                      <a:pt x="1266823" y="906880"/>
                      <a:pt x="1231722" y="906880"/>
                    </a:cubicBezTo>
                    <a:cubicBezTo>
                      <a:pt x="63820" y="906880"/>
                      <a:pt x="63820" y="906880"/>
                      <a:pt x="63820" y="906880"/>
                    </a:cubicBezTo>
                    <a:cubicBezTo>
                      <a:pt x="28719" y="906880"/>
                      <a:pt x="0" y="878135"/>
                      <a:pt x="0" y="843002"/>
                    </a:cubicBezTo>
                    <a:cubicBezTo>
                      <a:pt x="0" y="710455"/>
                      <a:pt x="0" y="710455"/>
                      <a:pt x="0" y="710455"/>
                    </a:cubicBezTo>
                    <a:cubicBezTo>
                      <a:pt x="0" y="675322"/>
                      <a:pt x="28719" y="646577"/>
                      <a:pt x="63820" y="646577"/>
                    </a:cubicBezTo>
                    <a:close/>
                    <a:moveTo>
                      <a:pt x="63820" y="325378"/>
                    </a:moveTo>
                    <a:cubicBezTo>
                      <a:pt x="1231722" y="325378"/>
                      <a:pt x="1231722" y="325378"/>
                      <a:pt x="1231722" y="325378"/>
                    </a:cubicBezTo>
                    <a:cubicBezTo>
                      <a:pt x="1266823" y="325378"/>
                      <a:pt x="1295542" y="354123"/>
                      <a:pt x="1295542" y="389256"/>
                    </a:cubicBezTo>
                    <a:lnTo>
                      <a:pt x="1295542" y="521803"/>
                    </a:lnTo>
                    <a:cubicBezTo>
                      <a:pt x="1295542" y="556936"/>
                      <a:pt x="1266823" y="585681"/>
                      <a:pt x="1231722" y="585681"/>
                    </a:cubicBezTo>
                    <a:cubicBezTo>
                      <a:pt x="63820" y="585681"/>
                      <a:pt x="63820" y="585681"/>
                      <a:pt x="63820" y="585681"/>
                    </a:cubicBezTo>
                    <a:cubicBezTo>
                      <a:pt x="28719" y="585681"/>
                      <a:pt x="0" y="556936"/>
                      <a:pt x="0" y="521803"/>
                    </a:cubicBezTo>
                    <a:cubicBezTo>
                      <a:pt x="0" y="389256"/>
                      <a:pt x="0" y="389256"/>
                      <a:pt x="0" y="389256"/>
                    </a:cubicBezTo>
                    <a:cubicBezTo>
                      <a:pt x="0" y="354123"/>
                      <a:pt x="28719" y="325378"/>
                      <a:pt x="63820" y="325378"/>
                    </a:cubicBezTo>
                    <a:close/>
                    <a:moveTo>
                      <a:pt x="63820" y="0"/>
                    </a:moveTo>
                    <a:cubicBezTo>
                      <a:pt x="1231722" y="0"/>
                      <a:pt x="1231722" y="0"/>
                      <a:pt x="1231722" y="0"/>
                    </a:cubicBezTo>
                    <a:cubicBezTo>
                      <a:pt x="1266823" y="0"/>
                      <a:pt x="1295542" y="27148"/>
                      <a:pt x="1295542" y="63878"/>
                    </a:cubicBezTo>
                    <a:lnTo>
                      <a:pt x="1295542" y="196425"/>
                    </a:lnTo>
                    <a:cubicBezTo>
                      <a:pt x="1295542" y="231558"/>
                      <a:pt x="1266823" y="260303"/>
                      <a:pt x="1231722" y="260303"/>
                    </a:cubicBezTo>
                    <a:cubicBezTo>
                      <a:pt x="63820" y="260303"/>
                      <a:pt x="63820" y="260303"/>
                      <a:pt x="63820" y="260303"/>
                    </a:cubicBezTo>
                    <a:cubicBezTo>
                      <a:pt x="28719" y="260303"/>
                      <a:pt x="0" y="231558"/>
                      <a:pt x="0" y="196425"/>
                    </a:cubicBezTo>
                    <a:cubicBezTo>
                      <a:pt x="0" y="63878"/>
                      <a:pt x="0" y="63878"/>
                      <a:pt x="0" y="63878"/>
                    </a:cubicBezTo>
                    <a:cubicBezTo>
                      <a:pt x="0" y="27148"/>
                      <a:pt x="28719" y="0"/>
                      <a:pt x="63820" y="0"/>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58" name="Freeform: Shape 29">
                <a:extLst>
                  <a:ext uri="{FF2B5EF4-FFF2-40B4-BE49-F238E27FC236}">
                    <a16:creationId xmlns:a16="http://schemas.microsoft.com/office/drawing/2014/main" id="{61180FDC-3903-46AB-A086-947E5FB0CCA2}"/>
                  </a:ext>
                </a:extLst>
              </p:cNvPr>
              <p:cNvSpPr>
                <a:spLocks noChangeArrowheads="1"/>
              </p:cNvSpPr>
              <p:nvPr/>
            </p:nvSpPr>
            <p:spPr bwMode="auto">
              <a:xfrm>
                <a:off x="1391243" y="3707525"/>
                <a:ext cx="257809" cy="806171"/>
              </a:xfrm>
              <a:custGeom>
                <a:avLst/>
                <a:gdLst>
                  <a:gd name="connsiteX0" fmla="*/ 296125 w 333738"/>
                  <a:gd name="connsiteY0" fmla="*/ 968373 h 1043599"/>
                  <a:gd name="connsiteX1" fmla="*/ 333738 w 333738"/>
                  <a:gd name="connsiteY1" fmla="*/ 1005986 h 1043599"/>
                  <a:gd name="connsiteX2" fmla="*/ 296125 w 333738"/>
                  <a:gd name="connsiteY2" fmla="*/ 1043599 h 1043599"/>
                  <a:gd name="connsiteX3" fmla="*/ 258512 w 333738"/>
                  <a:gd name="connsiteY3" fmla="*/ 1005986 h 1043599"/>
                  <a:gd name="connsiteX4" fmla="*/ 296125 w 333738"/>
                  <a:gd name="connsiteY4" fmla="*/ 968373 h 1043599"/>
                  <a:gd name="connsiteX5" fmla="*/ 167466 w 333738"/>
                  <a:gd name="connsiteY5" fmla="*/ 968373 h 1043599"/>
                  <a:gd name="connsiteX6" fmla="*/ 204183 w 333738"/>
                  <a:gd name="connsiteY6" fmla="*/ 1005986 h 1043599"/>
                  <a:gd name="connsiteX7" fmla="*/ 167466 w 333738"/>
                  <a:gd name="connsiteY7" fmla="*/ 1043599 h 1043599"/>
                  <a:gd name="connsiteX8" fmla="*/ 130749 w 333738"/>
                  <a:gd name="connsiteY8" fmla="*/ 1005986 h 1043599"/>
                  <a:gd name="connsiteX9" fmla="*/ 167466 w 333738"/>
                  <a:gd name="connsiteY9" fmla="*/ 968373 h 1043599"/>
                  <a:gd name="connsiteX10" fmla="*/ 37613 w 333738"/>
                  <a:gd name="connsiteY10" fmla="*/ 968373 h 1043599"/>
                  <a:gd name="connsiteX11" fmla="*/ 75226 w 333738"/>
                  <a:gd name="connsiteY11" fmla="*/ 1005986 h 1043599"/>
                  <a:gd name="connsiteX12" fmla="*/ 37613 w 333738"/>
                  <a:gd name="connsiteY12" fmla="*/ 1043599 h 1043599"/>
                  <a:gd name="connsiteX13" fmla="*/ 0 w 333738"/>
                  <a:gd name="connsiteY13" fmla="*/ 1005986 h 1043599"/>
                  <a:gd name="connsiteX14" fmla="*/ 37613 w 333738"/>
                  <a:gd name="connsiteY14" fmla="*/ 968373 h 1043599"/>
                  <a:gd name="connsiteX15" fmla="*/ 296125 w 333738"/>
                  <a:gd name="connsiteY15" fmla="*/ 645980 h 1043599"/>
                  <a:gd name="connsiteX16" fmla="*/ 333738 w 333738"/>
                  <a:gd name="connsiteY16" fmla="*/ 683593 h 1043599"/>
                  <a:gd name="connsiteX17" fmla="*/ 296125 w 333738"/>
                  <a:gd name="connsiteY17" fmla="*/ 721206 h 1043599"/>
                  <a:gd name="connsiteX18" fmla="*/ 258512 w 333738"/>
                  <a:gd name="connsiteY18" fmla="*/ 683593 h 1043599"/>
                  <a:gd name="connsiteX19" fmla="*/ 296125 w 333738"/>
                  <a:gd name="connsiteY19" fmla="*/ 645980 h 1043599"/>
                  <a:gd name="connsiteX20" fmla="*/ 167466 w 333738"/>
                  <a:gd name="connsiteY20" fmla="*/ 645980 h 1043599"/>
                  <a:gd name="connsiteX21" fmla="*/ 204183 w 333738"/>
                  <a:gd name="connsiteY21" fmla="*/ 683593 h 1043599"/>
                  <a:gd name="connsiteX22" fmla="*/ 167466 w 333738"/>
                  <a:gd name="connsiteY22" fmla="*/ 721206 h 1043599"/>
                  <a:gd name="connsiteX23" fmla="*/ 130749 w 333738"/>
                  <a:gd name="connsiteY23" fmla="*/ 683593 h 1043599"/>
                  <a:gd name="connsiteX24" fmla="*/ 167466 w 333738"/>
                  <a:gd name="connsiteY24" fmla="*/ 645980 h 1043599"/>
                  <a:gd name="connsiteX25" fmla="*/ 37613 w 333738"/>
                  <a:gd name="connsiteY25" fmla="*/ 645980 h 1043599"/>
                  <a:gd name="connsiteX26" fmla="*/ 75226 w 333738"/>
                  <a:gd name="connsiteY26" fmla="*/ 683593 h 1043599"/>
                  <a:gd name="connsiteX27" fmla="*/ 37613 w 333738"/>
                  <a:gd name="connsiteY27" fmla="*/ 721206 h 1043599"/>
                  <a:gd name="connsiteX28" fmla="*/ 0 w 333738"/>
                  <a:gd name="connsiteY28" fmla="*/ 683593 h 1043599"/>
                  <a:gd name="connsiteX29" fmla="*/ 37613 w 333738"/>
                  <a:gd name="connsiteY29" fmla="*/ 645980 h 1043599"/>
                  <a:gd name="connsiteX30" fmla="*/ 296125 w 333738"/>
                  <a:gd name="connsiteY30" fmla="*/ 325380 h 1043599"/>
                  <a:gd name="connsiteX31" fmla="*/ 333738 w 333738"/>
                  <a:gd name="connsiteY31" fmla="*/ 362694 h 1043599"/>
                  <a:gd name="connsiteX32" fmla="*/ 296125 w 333738"/>
                  <a:gd name="connsiteY32" fmla="*/ 400008 h 1043599"/>
                  <a:gd name="connsiteX33" fmla="*/ 258512 w 333738"/>
                  <a:gd name="connsiteY33" fmla="*/ 362694 h 1043599"/>
                  <a:gd name="connsiteX34" fmla="*/ 296125 w 333738"/>
                  <a:gd name="connsiteY34" fmla="*/ 325380 h 1043599"/>
                  <a:gd name="connsiteX35" fmla="*/ 167466 w 333738"/>
                  <a:gd name="connsiteY35" fmla="*/ 325380 h 1043599"/>
                  <a:gd name="connsiteX36" fmla="*/ 204183 w 333738"/>
                  <a:gd name="connsiteY36" fmla="*/ 362694 h 1043599"/>
                  <a:gd name="connsiteX37" fmla="*/ 167466 w 333738"/>
                  <a:gd name="connsiteY37" fmla="*/ 400008 h 1043599"/>
                  <a:gd name="connsiteX38" fmla="*/ 130749 w 333738"/>
                  <a:gd name="connsiteY38" fmla="*/ 362694 h 1043599"/>
                  <a:gd name="connsiteX39" fmla="*/ 167466 w 333738"/>
                  <a:gd name="connsiteY39" fmla="*/ 325380 h 1043599"/>
                  <a:gd name="connsiteX40" fmla="*/ 37613 w 333738"/>
                  <a:gd name="connsiteY40" fmla="*/ 325380 h 1043599"/>
                  <a:gd name="connsiteX41" fmla="*/ 75226 w 333738"/>
                  <a:gd name="connsiteY41" fmla="*/ 362694 h 1043599"/>
                  <a:gd name="connsiteX42" fmla="*/ 37613 w 333738"/>
                  <a:gd name="connsiteY42" fmla="*/ 400008 h 1043599"/>
                  <a:gd name="connsiteX43" fmla="*/ 0 w 333738"/>
                  <a:gd name="connsiteY43" fmla="*/ 362694 h 1043599"/>
                  <a:gd name="connsiteX44" fmla="*/ 37613 w 333738"/>
                  <a:gd name="connsiteY44" fmla="*/ 325380 h 1043599"/>
                  <a:gd name="connsiteX45" fmla="*/ 296125 w 333738"/>
                  <a:gd name="connsiteY45" fmla="*/ 0 h 1043599"/>
                  <a:gd name="connsiteX46" fmla="*/ 333738 w 333738"/>
                  <a:gd name="connsiteY46" fmla="*/ 37314 h 1043599"/>
                  <a:gd name="connsiteX47" fmla="*/ 296125 w 333738"/>
                  <a:gd name="connsiteY47" fmla="*/ 74628 h 1043599"/>
                  <a:gd name="connsiteX48" fmla="*/ 258512 w 333738"/>
                  <a:gd name="connsiteY48" fmla="*/ 37314 h 1043599"/>
                  <a:gd name="connsiteX49" fmla="*/ 296125 w 333738"/>
                  <a:gd name="connsiteY49" fmla="*/ 0 h 1043599"/>
                  <a:gd name="connsiteX50" fmla="*/ 167466 w 333738"/>
                  <a:gd name="connsiteY50" fmla="*/ 0 h 1043599"/>
                  <a:gd name="connsiteX51" fmla="*/ 204183 w 333738"/>
                  <a:gd name="connsiteY51" fmla="*/ 37314 h 1043599"/>
                  <a:gd name="connsiteX52" fmla="*/ 167466 w 333738"/>
                  <a:gd name="connsiteY52" fmla="*/ 74628 h 1043599"/>
                  <a:gd name="connsiteX53" fmla="*/ 130749 w 333738"/>
                  <a:gd name="connsiteY53" fmla="*/ 37314 h 1043599"/>
                  <a:gd name="connsiteX54" fmla="*/ 167466 w 333738"/>
                  <a:gd name="connsiteY54" fmla="*/ 0 h 1043599"/>
                  <a:gd name="connsiteX55" fmla="*/ 37613 w 333738"/>
                  <a:gd name="connsiteY55" fmla="*/ 0 h 1043599"/>
                  <a:gd name="connsiteX56" fmla="*/ 75226 w 333738"/>
                  <a:gd name="connsiteY56" fmla="*/ 37314 h 1043599"/>
                  <a:gd name="connsiteX57" fmla="*/ 37613 w 333738"/>
                  <a:gd name="connsiteY57" fmla="*/ 74628 h 1043599"/>
                  <a:gd name="connsiteX58" fmla="*/ 0 w 333738"/>
                  <a:gd name="connsiteY58" fmla="*/ 37314 h 1043599"/>
                  <a:gd name="connsiteX59" fmla="*/ 37613 w 333738"/>
                  <a:gd name="connsiteY59" fmla="*/ 0 h 104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33738" h="1043599">
                    <a:moveTo>
                      <a:pt x="296125" y="968373"/>
                    </a:moveTo>
                    <a:cubicBezTo>
                      <a:pt x="316898" y="968373"/>
                      <a:pt x="333738" y="985213"/>
                      <a:pt x="333738" y="1005986"/>
                    </a:cubicBezTo>
                    <a:cubicBezTo>
                      <a:pt x="333738" y="1026759"/>
                      <a:pt x="316898" y="1043599"/>
                      <a:pt x="296125" y="1043599"/>
                    </a:cubicBezTo>
                    <a:cubicBezTo>
                      <a:pt x="275352" y="1043599"/>
                      <a:pt x="258512" y="1026759"/>
                      <a:pt x="258512" y="1005986"/>
                    </a:cubicBezTo>
                    <a:cubicBezTo>
                      <a:pt x="258512" y="985213"/>
                      <a:pt x="275352" y="968373"/>
                      <a:pt x="296125" y="968373"/>
                    </a:cubicBezTo>
                    <a:close/>
                    <a:moveTo>
                      <a:pt x="167466" y="968373"/>
                    </a:moveTo>
                    <a:cubicBezTo>
                      <a:pt x="187744" y="968373"/>
                      <a:pt x="204183" y="985213"/>
                      <a:pt x="204183" y="1005986"/>
                    </a:cubicBezTo>
                    <a:cubicBezTo>
                      <a:pt x="204183" y="1026759"/>
                      <a:pt x="187744" y="1043599"/>
                      <a:pt x="167466" y="1043599"/>
                    </a:cubicBezTo>
                    <a:cubicBezTo>
                      <a:pt x="147188" y="1043599"/>
                      <a:pt x="130749" y="1026759"/>
                      <a:pt x="130749" y="1005986"/>
                    </a:cubicBezTo>
                    <a:cubicBezTo>
                      <a:pt x="130749" y="985213"/>
                      <a:pt x="147188" y="968373"/>
                      <a:pt x="167466" y="968373"/>
                    </a:cubicBezTo>
                    <a:close/>
                    <a:moveTo>
                      <a:pt x="37613" y="968373"/>
                    </a:moveTo>
                    <a:cubicBezTo>
                      <a:pt x="58386" y="968373"/>
                      <a:pt x="75226" y="985213"/>
                      <a:pt x="75226" y="1005986"/>
                    </a:cubicBezTo>
                    <a:cubicBezTo>
                      <a:pt x="75226" y="1026759"/>
                      <a:pt x="58386" y="1043599"/>
                      <a:pt x="37613" y="1043599"/>
                    </a:cubicBezTo>
                    <a:cubicBezTo>
                      <a:pt x="16840" y="1043599"/>
                      <a:pt x="0" y="1026759"/>
                      <a:pt x="0" y="1005986"/>
                    </a:cubicBezTo>
                    <a:cubicBezTo>
                      <a:pt x="0" y="985213"/>
                      <a:pt x="16840" y="968373"/>
                      <a:pt x="37613" y="968373"/>
                    </a:cubicBezTo>
                    <a:close/>
                    <a:moveTo>
                      <a:pt x="296125" y="645980"/>
                    </a:moveTo>
                    <a:cubicBezTo>
                      <a:pt x="316898" y="645980"/>
                      <a:pt x="333738" y="662820"/>
                      <a:pt x="333738" y="683593"/>
                    </a:cubicBezTo>
                    <a:cubicBezTo>
                      <a:pt x="333738" y="704366"/>
                      <a:pt x="316898" y="721206"/>
                      <a:pt x="296125" y="721206"/>
                    </a:cubicBezTo>
                    <a:cubicBezTo>
                      <a:pt x="275352" y="721206"/>
                      <a:pt x="258512" y="704366"/>
                      <a:pt x="258512" y="683593"/>
                    </a:cubicBezTo>
                    <a:cubicBezTo>
                      <a:pt x="258512" y="662820"/>
                      <a:pt x="275352" y="645980"/>
                      <a:pt x="296125" y="645980"/>
                    </a:cubicBezTo>
                    <a:close/>
                    <a:moveTo>
                      <a:pt x="167466" y="645980"/>
                    </a:moveTo>
                    <a:cubicBezTo>
                      <a:pt x="187744" y="645980"/>
                      <a:pt x="204183" y="662820"/>
                      <a:pt x="204183" y="683593"/>
                    </a:cubicBezTo>
                    <a:cubicBezTo>
                      <a:pt x="204183" y="704366"/>
                      <a:pt x="187744" y="721206"/>
                      <a:pt x="167466" y="721206"/>
                    </a:cubicBezTo>
                    <a:cubicBezTo>
                      <a:pt x="147188" y="721206"/>
                      <a:pt x="130749" y="704366"/>
                      <a:pt x="130749" y="683593"/>
                    </a:cubicBezTo>
                    <a:cubicBezTo>
                      <a:pt x="130749" y="662820"/>
                      <a:pt x="147188" y="645980"/>
                      <a:pt x="167466" y="645980"/>
                    </a:cubicBezTo>
                    <a:close/>
                    <a:moveTo>
                      <a:pt x="37613" y="645980"/>
                    </a:moveTo>
                    <a:cubicBezTo>
                      <a:pt x="58386" y="645980"/>
                      <a:pt x="75226" y="662820"/>
                      <a:pt x="75226" y="683593"/>
                    </a:cubicBezTo>
                    <a:cubicBezTo>
                      <a:pt x="75226" y="704366"/>
                      <a:pt x="58386" y="721206"/>
                      <a:pt x="37613" y="721206"/>
                    </a:cubicBezTo>
                    <a:cubicBezTo>
                      <a:pt x="16840" y="721206"/>
                      <a:pt x="0" y="704366"/>
                      <a:pt x="0" y="683593"/>
                    </a:cubicBezTo>
                    <a:cubicBezTo>
                      <a:pt x="0" y="662820"/>
                      <a:pt x="16840" y="645980"/>
                      <a:pt x="37613" y="645980"/>
                    </a:cubicBezTo>
                    <a:close/>
                    <a:moveTo>
                      <a:pt x="296125" y="325380"/>
                    </a:moveTo>
                    <a:cubicBezTo>
                      <a:pt x="316898" y="325380"/>
                      <a:pt x="333738" y="342086"/>
                      <a:pt x="333738" y="362694"/>
                    </a:cubicBezTo>
                    <a:cubicBezTo>
                      <a:pt x="333738" y="383302"/>
                      <a:pt x="316898" y="400008"/>
                      <a:pt x="296125" y="400008"/>
                    </a:cubicBezTo>
                    <a:cubicBezTo>
                      <a:pt x="275352" y="400008"/>
                      <a:pt x="258512" y="383302"/>
                      <a:pt x="258512" y="362694"/>
                    </a:cubicBezTo>
                    <a:cubicBezTo>
                      <a:pt x="258512" y="342086"/>
                      <a:pt x="275352" y="325380"/>
                      <a:pt x="296125" y="325380"/>
                    </a:cubicBezTo>
                    <a:close/>
                    <a:moveTo>
                      <a:pt x="167466" y="325380"/>
                    </a:moveTo>
                    <a:cubicBezTo>
                      <a:pt x="187744" y="325380"/>
                      <a:pt x="204183" y="342086"/>
                      <a:pt x="204183" y="362694"/>
                    </a:cubicBezTo>
                    <a:cubicBezTo>
                      <a:pt x="204183" y="383302"/>
                      <a:pt x="187744" y="400008"/>
                      <a:pt x="167466" y="400008"/>
                    </a:cubicBezTo>
                    <a:cubicBezTo>
                      <a:pt x="147188" y="400008"/>
                      <a:pt x="130749" y="383302"/>
                      <a:pt x="130749" y="362694"/>
                    </a:cubicBezTo>
                    <a:cubicBezTo>
                      <a:pt x="130749" y="342086"/>
                      <a:pt x="147188" y="325380"/>
                      <a:pt x="167466" y="325380"/>
                    </a:cubicBezTo>
                    <a:close/>
                    <a:moveTo>
                      <a:pt x="37613" y="325380"/>
                    </a:moveTo>
                    <a:cubicBezTo>
                      <a:pt x="58386" y="325380"/>
                      <a:pt x="75226" y="342086"/>
                      <a:pt x="75226" y="362694"/>
                    </a:cubicBezTo>
                    <a:cubicBezTo>
                      <a:pt x="75226" y="383302"/>
                      <a:pt x="58386" y="400008"/>
                      <a:pt x="37613" y="400008"/>
                    </a:cubicBezTo>
                    <a:cubicBezTo>
                      <a:pt x="16840" y="400008"/>
                      <a:pt x="0" y="383302"/>
                      <a:pt x="0" y="362694"/>
                    </a:cubicBezTo>
                    <a:cubicBezTo>
                      <a:pt x="0" y="342086"/>
                      <a:pt x="16840" y="325380"/>
                      <a:pt x="37613" y="325380"/>
                    </a:cubicBezTo>
                    <a:close/>
                    <a:moveTo>
                      <a:pt x="296125" y="0"/>
                    </a:moveTo>
                    <a:cubicBezTo>
                      <a:pt x="316898" y="0"/>
                      <a:pt x="333738" y="16706"/>
                      <a:pt x="333738" y="37314"/>
                    </a:cubicBezTo>
                    <a:cubicBezTo>
                      <a:pt x="333738" y="57922"/>
                      <a:pt x="316898" y="74628"/>
                      <a:pt x="296125" y="74628"/>
                    </a:cubicBezTo>
                    <a:cubicBezTo>
                      <a:pt x="275352" y="74628"/>
                      <a:pt x="258512" y="57922"/>
                      <a:pt x="258512" y="37314"/>
                    </a:cubicBezTo>
                    <a:cubicBezTo>
                      <a:pt x="258512" y="16706"/>
                      <a:pt x="275352" y="0"/>
                      <a:pt x="296125" y="0"/>
                    </a:cubicBezTo>
                    <a:close/>
                    <a:moveTo>
                      <a:pt x="167466" y="0"/>
                    </a:moveTo>
                    <a:cubicBezTo>
                      <a:pt x="187744" y="0"/>
                      <a:pt x="204183" y="16706"/>
                      <a:pt x="204183" y="37314"/>
                    </a:cubicBezTo>
                    <a:cubicBezTo>
                      <a:pt x="204183" y="57922"/>
                      <a:pt x="187744" y="74628"/>
                      <a:pt x="167466" y="74628"/>
                    </a:cubicBezTo>
                    <a:cubicBezTo>
                      <a:pt x="147188" y="74628"/>
                      <a:pt x="130749" y="57922"/>
                      <a:pt x="130749" y="37314"/>
                    </a:cubicBezTo>
                    <a:cubicBezTo>
                      <a:pt x="130749" y="16706"/>
                      <a:pt x="147188" y="0"/>
                      <a:pt x="167466" y="0"/>
                    </a:cubicBezTo>
                    <a:close/>
                    <a:moveTo>
                      <a:pt x="37613" y="0"/>
                    </a:moveTo>
                    <a:cubicBezTo>
                      <a:pt x="58386" y="0"/>
                      <a:pt x="75226" y="16706"/>
                      <a:pt x="75226" y="37314"/>
                    </a:cubicBezTo>
                    <a:cubicBezTo>
                      <a:pt x="75226" y="57922"/>
                      <a:pt x="58386" y="74628"/>
                      <a:pt x="37613" y="74628"/>
                    </a:cubicBezTo>
                    <a:cubicBezTo>
                      <a:pt x="16840" y="74628"/>
                      <a:pt x="0" y="57922"/>
                      <a:pt x="0" y="37314"/>
                    </a:cubicBezTo>
                    <a:cubicBezTo>
                      <a:pt x="0" y="16706"/>
                      <a:pt x="16840" y="0"/>
                      <a:pt x="37613" y="0"/>
                    </a:cubicBezTo>
                    <a:close/>
                  </a:path>
                </a:pathLst>
              </a:custGeom>
              <a:solidFill>
                <a:schemeClr val="accent6">
                  <a:lumMod val="60000"/>
                  <a:lumOff val="40000"/>
                </a:schemeClr>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grpSp>
        <p:nvGrpSpPr>
          <p:cNvPr id="39" name="Group 38">
            <a:extLst>
              <a:ext uri="{FF2B5EF4-FFF2-40B4-BE49-F238E27FC236}">
                <a16:creationId xmlns:a16="http://schemas.microsoft.com/office/drawing/2014/main" id="{17CE0FFD-1752-4B05-901C-20D5529D0A5E}"/>
              </a:ext>
            </a:extLst>
          </p:cNvPr>
          <p:cNvGrpSpPr/>
          <p:nvPr/>
        </p:nvGrpSpPr>
        <p:grpSpPr>
          <a:xfrm>
            <a:off x="1552030" y="3602625"/>
            <a:ext cx="803098" cy="914400"/>
            <a:chOff x="1156464" y="4353768"/>
            <a:chExt cx="803098" cy="914400"/>
          </a:xfrm>
        </p:grpSpPr>
        <p:grpSp>
          <p:nvGrpSpPr>
            <p:cNvPr id="50" name="Group 49">
              <a:extLst>
                <a:ext uri="{FF2B5EF4-FFF2-40B4-BE49-F238E27FC236}">
                  <a16:creationId xmlns:a16="http://schemas.microsoft.com/office/drawing/2014/main" id="{4B116100-290C-43D2-9E01-4243294AF8A3}"/>
                </a:ext>
              </a:extLst>
            </p:cNvPr>
            <p:cNvGrpSpPr/>
            <p:nvPr/>
          </p:nvGrpSpPr>
          <p:grpSpPr>
            <a:xfrm>
              <a:off x="1274137" y="4353768"/>
              <a:ext cx="564412" cy="560867"/>
              <a:chOff x="2744787" y="87313"/>
              <a:chExt cx="6702426" cy="6683376"/>
            </a:xfrm>
            <a:solidFill>
              <a:schemeClr val="accent5"/>
            </a:solidFill>
          </p:grpSpPr>
          <p:sp>
            <p:nvSpPr>
              <p:cNvPr id="52" name="Oval 12">
                <a:extLst>
                  <a:ext uri="{FF2B5EF4-FFF2-40B4-BE49-F238E27FC236}">
                    <a16:creationId xmlns:a16="http://schemas.microsoft.com/office/drawing/2014/main" id="{43B39BD4-63A2-4C49-B8FA-0C3CDDE84235}"/>
                  </a:ext>
                </a:extLst>
              </p:cNvPr>
              <p:cNvSpPr>
                <a:spLocks noChangeArrowheads="1"/>
              </p:cNvSpPr>
              <p:nvPr/>
            </p:nvSpPr>
            <p:spPr bwMode="auto">
              <a:xfrm>
                <a:off x="4408488" y="1746250"/>
                <a:ext cx="3375025" cy="3365500"/>
              </a:xfrm>
              <a:prstGeom prst="ellipse">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53" name="Freeform: Shape 52">
                <a:extLst>
                  <a:ext uri="{FF2B5EF4-FFF2-40B4-BE49-F238E27FC236}">
                    <a16:creationId xmlns:a16="http://schemas.microsoft.com/office/drawing/2014/main" id="{E2D7C528-2C37-4E55-806B-8A24B9F3EE49}"/>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51" name="Freeform: Shape 23">
              <a:extLst>
                <a:ext uri="{FF2B5EF4-FFF2-40B4-BE49-F238E27FC236}">
                  <a16:creationId xmlns:a16="http://schemas.microsoft.com/office/drawing/2014/main" id="{2F323CE5-FC01-41B3-99A8-18467EE37E8B}"/>
                </a:ext>
              </a:extLst>
            </p:cNvPr>
            <p:cNvSpPr>
              <a:spLocks/>
            </p:cNvSpPr>
            <p:nvPr/>
          </p:nvSpPr>
          <p:spPr bwMode="auto">
            <a:xfrm>
              <a:off x="1156464" y="4553129"/>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grpSp>
      <p:grpSp>
        <p:nvGrpSpPr>
          <p:cNvPr id="40" name="Group 39">
            <a:extLst>
              <a:ext uri="{FF2B5EF4-FFF2-40B4-BE49-F238E27FC236}">
                <a16:creationId xmlns:a16="http://schemas.microsoft.com/office/drawing/2014/main" id="{BF07C61E-A529-4864-8BD6-DBB7AFB06086}"/>
              </a:ext>
            </a:extLst>
          </p:cNvPr>
          <p:cNvGrpSpPr/>
          <p:nvPr/>
        </p:nvGrpSpPr>
        <p:grpSpPr>
          <a:xfrm>
            <a:off x="1492157" y="2979445"/>
            <a:ext cx="421933" cy="480410"/>
            <a:chOff x="1156464" y="4353768"/>
            <a:chExt cx="803098" cy="914400"/>
          </a:xfrm>
        </p:grpSpPr>
        <p:grpSp>
          <p:nvGrpSpPr>
            <p:cNvPr id="46" name="Group 45">
              <a:extLst>
                <a:ext uri="{FF2B5EF4-FFF2-40B4-BE49-F238E27FC236}">
                  <a16:creationId xmlns:a16="http://schemas.microsoft.com/office/drawing/2014/main" id="{BAAB3904-001E-4FAA-9F72-8D0E6870E700}"/>
                </a:ext>
              </a:extLst>
            </p:cNvPr>
            <p:cNvGrpSpPr/>
            <p:nvPr/>
          </p:nvGrpSpPr>
          <p:grpSpPr>
            <a:xfrm>
              <a:off x="1274137" y="4353768"/>
              <a:ext cx="564412" cy="560867"/>
              <a:chOff x="2744787" y="87313"/>
              <a:chExt cx="6702426" cy="6683376"/>
            </a:xfrm>
            <a:solidFill>
              <a:schemeClr val="accent5"/>
            </a:solidFill>
          </p:grpSpPr>
          <p:sp>
            <p:nvSpPr>
              <p:cNvPr id="48" name="Oval 12">
                <a:extLst>
                  <a:ext uri="{FF2B5EF4-FFF2-40B4-BE49-F238E27FC236}">
                    <a16:creationId xmlns:a16="http://schemas.microsoft.com/office/drawing/2014/main" id="{3E2BEBAF-D105-41B2-BDC6-DC867D5CE344}"/>
                  </a:ext>
                </a:extLst>
              </p:cNvPr>
              <p:cNvSpPr>
                <a:spLocks noChangeArrowheads="1"/>
              </p:cNvSpPr>
              <p:nvPr/>
            </p:nvSpPr>
            <p:spPr bwMode="auto">
              <a:xfrm>
                <a:off x="4408488" y="1746250"/>
                <a:ext cx="3375025" cy="3365500"/>
              </a:xfrm>
              <a:prstGeom prst="ellipse">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9" name="Freeform: Shape 48">
                <a:extLst>
                  <a:ext uri="{FF2B5EF4-FFF2-40B4-BE49-F238E27FC236}">
                    <a16:creationId xmlns:a16="http://schemas.microsoft.com/office/drawing/2014/main" id="{56D13952-27E5-49A3-B4AC-3E4990748048}"/>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47" name="Freeform: Shape 23">
              <a:extLst>
                <a:ext uri="{FF2B5EF4-FFF2-40B4-BE49-F238E27FC236}">
                  <a16:creationId xmlns:a16="http://schemas.microsoft.com/office/drawing/2014/main" id="{61B2D724-65C2-40FC-AD94-5D0BDDBFAC80}"/>
                </a:ext>
              </a:extLst>
            </p:cNvPr>
            <p:cNvSpPr>
              <a:spLocks/>
            </p:cNvSpPr>
            <p:nvPr/>
          </p:nvSpPr>
          <p:spPr bwMode="auto">
            <a:xfrm>
              <a:off x="1156464" y="4553129"/>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grpSp>
      <p:grpSp>
        <p:nvGrpSpPr>
          <p:cNvPr id="41" name="Group 40">
            <a:extLst>
              <a:ext uri="{FF2B5EF4-FFF2-40B4-BE49-F238E27FC236}">
                <a16:creationId xmlns:a16="http://schemas.microsoft.com/office/drawing/2014/main" id="{3336140F-CE97-4003-9C0C-BC34C109D674}"/>
              </a:ext>
            </a:extLst>
          </p:cNvPr>
          <p:cNvGrpSpPr/>
          <p:nvPr/>
        </p:nvGrpSpPr>
        <p:grpSpPr>
          <a:xfrm>
            <a:off x="1381488" y="2559216"/>
            <a:ext cx="329942" cy="375669"/>
            <a:chOff x="1156464" y="4353768"/>
            <a:chExt cx="803098" cy="914400"/>
          </a:xfrm>
        </p:grpSpPr>
        <p:grpSp>
          <p:nvGrpSpPr>
            <p:cNvPr id="42" name="Group 41">
              <a:extLst>
                <a:ext uri="{FF2B5EF4-FFF2-40B4-BE49-F238E27FC236}">
                  <a16:creationId xmlns:a16="http://schemas.microsoft.com/office/drawing/2014/main" id="{6625E704-B515-4FCB-8711-80BEE8DEC9B1}"/>
                </a:ext>
              </a:extLst>
            </p:cNvPr>
            <p:cNvGrpSpPr/>
            <p:nvPr/>
          </p:nvGrpSpPr>
          <p:grpSpPr>
            <a:xfrm>
              <a:off x="1274137" y="4353768"/>
              <a:ext cx="564412" cy="560867"/>
              <a:chOff x="2744787" y="87313"/>
              <a:chExt cx="6702426" cy="6683376"/>
            </a:xfrm>
            <a:solidFill>
              <a:schemeClr val="accent5"/>
            </a:solidFill>
          </p:grpSpPr>
          <p:sp>
            <p:nvSpPr>
              <p:cNvPr id="44" name="Oval 12">
                <a:extLst>
                  <a:ext uri="{FF2B5EF4-FFF2-40B4-BE49-F238E27FC236}">
                    <a16:creationId xmlns:a16="http://schemas.microsoft.com/office/drawing/2014/main" id="{A24FCFBB-174D-453B-99DC-EDD9D2A96FBE}"/>
                  </a:ext>
                </a:extLst>
              </p:cNvPr>
              <p:cNvSpPr>
                <a:spLocks noChangeArrowheads="1"/>
              </p:cNvSpPr>
              <p:nvPr/>
            </p:nvSpPr>
            <p:spPr bwMode="auto">
              <a:xfrm>
                <a:off x="4408488" y="1746250"/>
                <a:ext cx="3375025" cy="3365500"/>
              </a:xfrm>
              <a:prstGeom prst="ellipse">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45" name="Freeform: Shape 44">
                <a:extLst>
                  <a:ext uri="{FF2B5EF4-FFF2-40B4-BE49-F238E27FC236}">
                    <a16:creationId xmlns:a16="http://schemas.microsoft.com/office/drawing/2014/main" id="{713C7FD4-2FA0-4687-B30E-A6EBB5053F5E}"/>
                  </a:ext>
                </a:extLst>
              </p:cNvPr>
              <p:cNvSpPr>
                <a:spLocks noChangeArrowheads="1"/>
              </p:cNvSpPr>
              <p:nvPr/>
            </p:nvSpPr>
            <p:spPr bwMode="auto">
              <a:xfrm>
                <a:off x="2744787" y="87313"/>
                <a:ext cx="6702426" cy="6683376"/>
              </a:xfrm>
              <a:custGeom>
                <a:avLst/>
                <a:gdLst>
                  <a:gd name="connsiteX0" fmla="*/ 3351213 w 6702426"/>
                  <a:gd name="connsiteY0" fmla="*/ 163512 h 6683376"/>
                  <a:gd name="connsiteX1" fmla="*/ 165100 w 6702426"/>
                  <a:gd name="connsiteY1" fmla="*/ 3341687 h 6683376"/>
                  <a:gd name="connsiteX2" fmla="*/ 3351213 w 6702426"/>
                  <a:gd name="connsiteY2" fmla="*/ 6519862 h 6683376"/>
                  <a:gd name="connsiteX3" fmla="*/ 6537326 w 6702426"/>
                  <a:gd name="connsiteY3" fmla="*/ 3341687 h 6683376"/>
                  <a:gd name="connsiteX4" fmla="*/ 3351213 w 6702426"/>
                  <a:gd name="connsiteY4" fmla="*/ 163512 h 6683376"/>
                  <a:gd name="connsiteX5" fmla="*/ 3351213 w 6702426"/>
                  <a:gd name="connsiteY5" fmla="*/ 0 h 6683376"/>
                  <a:gd name="connsiteX6" fmla="*/ 6702426 w 6702426"/>
                  <a:gd name="connsiteY6" fmla="*/ 3341688 h 6683376"/>
                  <a:gd name="connsiteX7" fmla="*/ 3351213 w 6702426"/>
                  <a:gd name="connsiteY7" fmla="*/ 6683376 h 6683376"/>
                  <a:gd name="connsiteX8" fmla="*/ 0 w 6702426"/>
                  <a:gd name="connsiteY8" fmla="*/ 3341688 h 6683376"/>
                  <a:gd name="connsiteX9" fmla="*/ 3351213 w 6702426"/>
                  <a:gd name="connsiteY9" fmla="*/ 0 h 668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426" h="6683376">
                    <a:moveTo>
                      <a:pt x="3351213" y="163512"/>
                    </a:moveTo>
                    <a:cubicBezTo>
                      <a:pt x="1591571" y="163512"/>
                      <a:pt x="165100" y="1586429"/>
                      <a:pt x="165100" y="3341687"/>
                    </a:cubicBezTo>
                    <a:cubicBezTo>
                      <a:pt x="165100" y="5096945"/>
                      <a:pt x="1591571" y="6519862"/>
                      <a:pt x="3351213" y="6519862"/>
                    </a:cubicBezTo>
                    <a:cubicBezTo>
                      <a:pt x="5110855" y="6519862"/>
                      <a:pt x="6537326" y="5096945"/>
                      <a:pt x="6537326" y="3341687"/>
                    </a:cubicBezTo>
                    <a:cubicBezTo>
                      <a:pt x="6537326" y="1586429"/>
                      <a:pt x="5110855" y="163512"/>
                      <a:pt x="3351213" y="163512"/>
                    </a:cubicBezTo>
                    <a:close/>
                    <a:moveTo>
                      <a:pt x="3351213" y="0"/>
                    </a:moveTo>
                    <a:cubicBezTo>
                      <a:pt x="5202037" y="0"/>
                      <a:pt x="6702426" y="1496125"/>
                      <a:pt x="6702426" y="3341688"/>
                    </a:cubicBezTo>
                    <a:cubicBezTo>
                      <a:pt x="6702426" y="5187251"/>
                      <a:pt x="5202037" y="6683376"/>
                      <a:pt x="3351213" y="6683376"/>
                    </a:cubicBezTo>
                    <a:cubicBezTo>
                      <a:pt x="1500389" y="6683376"/>
                      <a:pt x="0" y="5187251"/>
                      <a:pt x="0" y="3341688"/>
                    </a:cubicBezTo>
                    <a:cubicBezTo>
                      <a:pt x="0" y="1496125"/>
                      <a:pt x="1500389" y="0"/>
                      <a:pt x="335121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43" name="Freeform: Shape 23">
              <a:extLst>
                <a:ext uri="{FF2B5EF4-FFF2-40B4-BE49-F238E27FC236}">
                  <a16:creationId xmlns:a16="http://schemas.microsoft.com/office/drawing/2014/main" id="{71FFCE8D-1407-4E5B-A0C1-B639164770ED}"/>
                </a:ext>
              </a:extLst>
            </p:cNvPr>
            <p:cNvSpPr>
              <a:spLocks/>
            </p:cNvSpPr>
            <p:nvPr/>
          </p:nvSpPr>
          <p:spPr bwMode="auto">
            <a:xfrm>
              <a:off x="1156464" y="4553129"/>
              <a:ext cx="803098" cy="715039"/>
            </a:xfrm>
            <a:custGeom>
              <a:avLst/>
              <a:gdLst>
                <a:gd name="connsiteX0" fmla="*/ 412299 w 1438886"/>
                <a:gd name="connsiteY0" fmla="*/ 811212 h 1281113"/>
                <a:gd name="connsiteX1" fmla="*/ 347355 w 1438886"/>
                <a:gd name="connsiteY1" fmla="*/ 919678 h 1281113"/>
                <a:gd name="connsiteX2" fmla="*/ 718111 w 1438886"/>
                <a:gd name="connsiteY2" fmla="*/ 1004887 h 1281113"/>
                <a:gd name="connsiteX3" fmla="*/ 1090305 w 1438886"/>
                <a:gd name="connsiteY3" fmla="*/ 919678 h 1281113"/>
                <a:gd name="connsiteX4" fmla="*/ 1025361 w 1438886"/>
                <a:gd name="connsiteY4" fmla="*/ 811212 h 1281113"/>
                <a:gd name="connsiteX5" fmla="*/ 718111 w 1438886"/>
                <a:gd name="connsiteY5" fmla="*/ 877691 h 1281113"/>
                <a:gd name="connsiteX6" fmla="*/ 412299 w 1438886"/>
                <a:gd name="connsiteY6" fmla="*/ 811212 h 1281113"/>
                <a:gd name="connsiteX7" fmla="*/ 718037 w 1438886"/>
                <a:gd name="connsiteY7" fmla="*/ 292100 h 1281113"/>
                <a:gd name="connsiteX8" fmla="*/ 471180 w 1438886"/>
                <a:gd name="connsiteY8" fmla="*/ 710653 h 1281113"/>
                <a:gd name="connsiteX9" fmla="*/ 718037 w 1438886"/>
                <a:gd name="connsiteY9" fmla="*/ 762000 h 1281113"/>
                <a:gd name="connsiteX10" fmla="*/ 964893 w 1438886"/>
                <a:gd name="connsiteY10" fmla="*/ 710653 h 1281113"/>
                <a:gd name="connsiteX11" fmla="*/ 718037 w 1438886"/>
                <a:gd name="connsiteY11" fmla="*/ 292100 h 1281113"/>
                <a:gd name="connsiteX12" fmla="*/ 717875 w 1438886"/>
                <a:gd name="connsiteY12" fmla="*/ 0 h 1281113"/>
                <a:gd name="connsiteX13" fmla="*/ 863528 w 1438886"/>
                <a:gd name="connsiteY13" fmla="*/ 145190 h 1281113"/>
                <a:gd name="connsiteX14" fmla="*/ 831640 w 1438886"/>
                <a:gd name="connsiteY14" fmla="*/ 235499 h 1281113"/>
                <a:gd name="connsiteX15" fmla="*/ 1436881 w 1438886"/>
                <a:gd name="connsiteY15" fmla="*/ 1262069 h 1281113"/>
                <a:gd name="connsiteX16" fmla="*/ 1436881 w 1438886"/>
                <a:gd name="connsiteY16" fmla="*/ 1274355 h 1281113"/>
                <a:gd name="connsiteX17" fmla="*/ 1425977 w 1438886"/>
                <a:gd name="connsiteY17" fmla="*/ 1281113 h 1281113"/>
                <a:gd name="connsiteX18" fmla="*/ 1309538 w 1438886"/>
                <a:gd name="connsiteY18" fmla="*/ 1281113 h 1281113"/>
                <a:gd name="connsiteX19" fmla="*/ 1298634 w 1438886"/>
                <a:gd name="connsiteY19" fmla="*/ 1274355 h 1281113"/>
                <a:gd name="connsiteX20" fmla="*/ 1149690 w 1438886"/>
                <a:gd name="connsiteY20" fmla="*/ 1022269 h 1281113"/>
                <a:gd name="connsiteX21" fmla="*/ 718904 w 1438886"/>
                <a:gd name="connsiteY21" fmla="*/ 1120564 h 1281113"/>
                <a:gd name="connsiteX22" fmla="*/ 289557 w 1438886"/>
                <a:gd name="connsiteY22" fmla="*/ 1022269 h 1281113"/>
                <a:gd name="connsiteX23" fmla="*/ 139173 w 1438886"/>
                <a:gd name="connsiteY23" fmla="*/ 1274355 h 1281113"/>
                <a:gd name="connsiteX24" fmla="*/ 128270 w 1438886"/>
                <a:gd name="connsiteY24" fmla="*/ 1281113 h 1281113"/>
                <a:gd name="connsiteX25" fmla="*/ 11830 w 1438886"/>
                <a:gd name="connsiteY25" fmla="*/ 1281113 h 1281113"/>
                <a:gd name="connsiteX26" fmla="*/ 927 w 1438886"/>
                <a:gd name="connsiteY26" fmla="*/ 1274355 h 1281113"/>
                <a:gd name="connsiteX27" fmla="*/ 927 w 1438886"/>
                <a:gd name="connsiteY27" fmla="*/ 1262069 h 1281113"/>
                <a:gd name="connsiteX28" fmla="*/ 604727 w 1438886"/>
                <a:gd name="connsiteY28" fmla="*/ 237751 h 1281113"/>
                <a:gd name="connsiteX29" fmla="*/ 570782 w 1438886"/>
                <a:gd name="connsiteY29" fmla="*/ 145190 h 1281113"/>
                <a:gd name="connsiteX30" fmla="*/ 717875 w 1438886"/>
                <a:gd name="connsiteY30" fmla="*/ 0 h 128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8886" h="1281113">
                  <a:moveTo>
                    <a:pt x="412299" y="811212"/>
                  </a:moveTo>
                  <a:cubicBezTo>
                    <a:pt x="412299" y="811212"/>
                    <a:pt x="412299" y="811212"/>
                    <a:pt x="347355" y="919678"/>
                  </a:cubicBezTo>
                  <a:cubicBezTo>
                    <a:pt x="462446" y="976484"/>
                    <a:pt x="589662" y="1004887"/>
                    <a:pt x="718111" y="1004887"/>
                  </a:cubicBezTo>
                  <a:cubicBezTo>
                    <a:pt x="846766" y="1004887"/>
                    <a:pt x="973982" y="976484"/>
                    <a:pt x="1090305" y="919678"/>
                  </a:cubicBezTo>
                  <a:cubicBezTo>
                    <a:pt x="1090305" y="919678"/>
                    <a:pt x="1090305" y="919678"/>
                    <a:pt x="1025361" y="811212"/>
                  </a:cubicBezTo>
                  <a:cubicBezTo>
                    <a:pt x="929179" y="854640"/>
                    <a:pt x="823748" y="877691"/>
                    <a:pt x="718111" y="877691"/>
                  </a:cubicBezTo>
                  <a:cubicBezTo>
                    <a:pt x="612680" y="877691"/>
                    <a:pt x="507043" y="854640"/>
                    <a:pt x="412299" y="811212"/>
                  </a:cubicBezTo>
                  <a:close/>
                  <a:moveTo>
                    <a:pt x="718037" y="292100"/>
                  </a:moveTo>
                  <a:lnTo>
                    <a:pt x="471180" y="710653"/>
                  </a:lnTo>
                  <a:cubicBezTo>
                    <a:pt x="548452" y="744407"/>
                    <a:pt x="632523" y="762000"/>
                    <a:pt x="718037" y="762000"/>
                  </a:cubicBezTo>
                  <a:cubicBezTo>
                    <a:pt x="803550" y="762000"/>
                    <a:pt x="887622" y="744407"/>
                    <a:pt x="964893" y="710653"/>
                  </a:cubicBezTo>
                  <a:cubicBezTo>
                    <a:pt x="964893" y="710653"/>
                    <a:pt x="964893" y="710653"/>
                    <a:pt x="718037" y="292100"/>
                  </a:cubicBezTo>
                  <a:close/>
                  <a:moveTo>
                    <a:pt x="717875" y="0"/>
                  </a:moveTo>
                  <a:cubicBezTo>
                    <a:pt x="798313" y="0"/>
                    <a:pt x="863528" y="65940"/>
                    <a:pt x="863528" y="145190"/>
                  </a:cubicBezTo>
                  <a:cubicBezTo>
                    <a:pt x="863528" y="179184"/>
                    <a:pt x="851596" y="210516"/>
                    <a:pt x="831640" y="235499"/>
                  </a:cubicBezTo>
                  <a:cubicBezTo>
                    <a:pt x="868877" y="298572"/>
                    <a:pt x="997043" y="515845"/>
                    <a:pt x="1436881" y="1262069"/>
                  </a:cubicBezTo>
                  <a:cubicBezTo>
                    <a:pt x="1439555" y="1266164"/>
                    <a:pt x="1439555" y="1270260"/>
                    <a:pt x="1436881" y="1274355"/>
                  </a:cubicBezTo>
                  <a:cubicBezTo>
                    <a:pt x="1434206" y="1278246"/>
                    <a:pt x="1430092" y="1281113"/>
                    <a:pt x="1425977" y="1281113"/>
                  </a:cubicBezTo>
                  <a:cubicBezTo>
                    <a:pt x="1425977" y="1281113"/>
                    <a:pt x="1425977" y="1281113"/>
                    <a:pt x="1309538" y="1281113"/>
                  </a:cubicBezTo>
                  <a:cubicBezTo>
                    <a:pt x="1305423" y="1281113"/>
                    <a:pt x="1301309" y="1278246"/>
                    <a:pt x="1298634" y="1274355"/>
                  </a:cubicBezTo>
                  <a:cubicBezTo>
                    <a:pt x="1290611" y="1259406"/>
                    <a:pt x="1259341" y="1206982"/>
                    <a:pt x="1149690" y="1022269"/>
                  </a:cubicBezTo>
                  <a:cubicBezTo>
                    <a:pt x="1016998" y="1086980"/>
                    <a:pt x="867848" y="1120564"/>
                    <a:pt x="718904" y="1120564"/>
                  </a:cubicBezTo>
                  <a:cubicBezTo>
                    <a:pt x="569959" y="1120564"/>
                    <a:pt x="422250" y="1086980"/>
                    <a:pt x="289557" y="1022269"/>
                  </a:cubicBezTo>
                  <a:cubicBezTo>
                    <a:pt x="289557" y="1022269"/>
                    <a:pt x="289557" y="1022269"/>
                    <a:pt x="139173" y="1274355"/>
                  </a:cubicBezTo>
                  <a:cubicBezTo>
                    <a:pt x="136499" y="1278246"/>
                    <a:pt x="132384" y="1281113"/>
                    <a:pt x="128270" y="1281113"/>
                  </a:cubicBezTo>
                  <a:cubicBezTo>
                    <a:pt x="117572" y="1281113"/>
                    <a:pt x="87742" y="1281113"/>
                    <a:pt x="11830" y="1281113"/>
                  </a:cubicBezTo>
                  <a:cubicBezTo>
                    <a:pt x="7715" y="1281113"/>
                    <a:pt x="3807" y="1278246"/>
                    <a:pt x="927" y="1274355"/>
                  </a:cubicBezTo>
                  <a:cubicBezTo>
                    <a:pt x="-308" y="1270260"/>
                    <a:pt x="-308" y="1266164"/>
                    <a:pt x="927" y="1262069"/>
                  </a:cubicBezTo>
                  <a:cubicBezTo>
                    <a:pt x="31785" y="1210259"/>
                    <a:pt x="151105" y="1009573"/>
                    <a:pt x="604727" y="237751"/>
                  </a:cubicBezTo>
                  <a:cubicBezTo>
                    <a:pt x="583537" y="212563"/>
                    <a:pt x="570782" y="180208"/>
                    <a:pt x="570782" y="145190"/>
                  </a:cubicBezTo>
                  <a:cubicBezTo>
                    <a:pt x="570782" y="65940"/>
                    <a:pt x="636203" y="0"/>
                    <a:pt x="717875" y="0"/>
                  </a:cubicBezTo>
                  <a:close/>
                </a:path>
              </a:pathLst>
            </a:custGeom>
            <a:solidFill>
              <a:schemeClr val="accent5">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171F"/>
                </a:solidFill>
                <a:effectLst/>
                <a:uLnTx/>
                <a:uFillTx/>
                <a:latin typeface="Microsoft Sans Serif"/>
                <a:ea typeface="+mn-ea"/>
                <a:cs typeface="+mn-cs"/>
              </a:endParaRPr>
            </a:p>
          </p:txBody>
        </p:sp>
      </p:grpSp>
      <p:grpSp>
        <p:nvGrpSpPr>
          <p:cNvPr id="115" name="Group 114">
            <a:extLst>
              <a:ext uri="{FF2B5EF4-FFF2-40B4-BE49-F238E27FC236}">
                <a16:creationId xmlns:a16="http://schemas.microsoft.com/office/drawing/2014/main" id="{92E6E4FF-FFE7-4C60-A5DA-778C600CA40A}"/>
              </a:ext>
            </a:extLst>
          </p:cNvPr>
          <p:cNvGrpSpPr>
            <a:grpSpLocks noChangeAspect="1"/>
          </p:cNvGrpSpPr>
          <p:nvPr/>
        </p:nvGrpSpPr>
        <p:grpSpPr>
          <a:xfrm>
            <a:off x="6907955" y="2902964"/>
            <a:ext cx="564662" cy="541969"/>
            <a:chOff x="879510" y="2849109"/>
            <a:chExt cx="1879449" cy="1803914"/>
          </a:xfrm>
        </p:grpSpPr>
        <p:sp>
          <p:nvSpPr>
            <p:cNvPr id="178" name="Freeform 24">
              <a:extLst>
                <a:ext uri="{FF2B5EF4-FFF2-40B4-BE49-F238E27FC236}">
                  <a16:creationId xmlns:a16="http://schemas.microsoft.com/office/drawing/2014/main" id="{2A2BA087-DA74-43D7-B0B0-C790058B4849}"/>
                </a:ext>
              </a:extLst>
            </p:cNvPr>
            <p:cNvSpPr>
              <a:spLocks/>
            </p:cNvSpPr>
            <p:nvPr/>
          </p:nvSpPr>
          <p:spPr bwMode="auto">
            <a:xfrm>
              <a:off x="879510" y="2849109"/>
              <a:ext cx="1879449" cy="1180457"/>
            </a:xfrm>
            <a:custGeom>
              <a:avLst/>
              <a:gdLst>
                <a:gd name="T0" fmla="*/ 989 w 1212"/>
                <a:gd name="T1" fmla="*/ 280 h 761"/>
                <a:gd name="T2" fmla="*/ 994 w 1212"/>
                <a:gd name="T3" fmla="*/ 231 h 761"/>
                <a:gd name="T4" fmla="*/ 763 w 1212"/>
                <a:gd name="T5" fmla="*/ 0 h 761"/>
                <a:gd name="T6" fmla="*/ 551 w 1212"/>
                <a:gd name="T7" fmla="*/ 137 h 761"/>
                <a:gd name="T8" fmla="*/ 478 w 1212"/>
                <a:gd name="T9" fmla="*/ 120 h 761"/>
                <a:gd name="T10" fmla="*/ 308 w 1212"/>
                <a:gd name="T11" fmla="*/ 279 h 761"/>
                <a:gd name="T12" fmla="*/ 241 w 1212"/>
                <a:gd name="T13" fmla="*/ 279 h 761"/>
                <a:gd name="T14" fmla="*/ 0 w 1212"/>
                <a:gd name="T15" fmla="*/ 520 h 761"/>
                <a:gd name="T16" fmla="*/ 241 w 1212"/>
                <a:gd name="T17" fmla="*/ 761 h 761"/>
                <a:gd name="T18" fmla="*/ 971 w 1212"/>
                <a:gd name="T19" fmla="*/ 761 h 761"/>
                <a:gd name="T20" fmla="*/ 1212 w 1212"/>
                <a:gd name="T21" fmla="*/ 520 h 761"/>
                <a:gd name="T22" fmla="*/ 989 w 1212"/>
                <a:gd name="T23" fmla="*/ 28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2" h="761">
                  <a:moveTo>
                    <a:pt x="989" y="280"/>
                  </a:moveTo>
                  <a:cubicBezTo>
                    <a:pt x="992" y="264"/>
                    <a:pt x="994" y="248"/>
                    <a:pt x="994" y="231"/>
                  </a:cubicBezTo>
                  <a:cubicBezTo>
                    <a:pt x="994" y="104"/>
                    <a:pt x="890" y="0"/>
                    <a:pt x="763" y="0"/>
                  </a:cubicBezTo>
                  <a:cubicBezTo>
                    <a:pt x="668" y="0"/>
                    <a:pt x="587" y="56"/>
                    <a:pt x="551" y="137"/>
                  </a:cubicBezTo>
                  <a:cubicBezTo>
                    <a:pt x="529" y="126"/>
                    <a:pt x="504" y="120"/>
                    <a:pt x="478" y="120"/>
                  </a:cubicBezTo>
                  <a:cubicBezTo>
                    <a:pt x="388" y="120"/>
                    <a:pt x="314" y="191"/>
                    <a:pt x="308" y="279"/>
                  </a:cubicBezTo>
                  <a:cubicBezTo>
                    <a:pt x="241" y="279"/>
                    <a:pt x="241" y="279"/>
                    <a:pt x="241" y="279"/>
                  </a:cubicBezTo>
                  <a:cubicBezTo>
                    <a:pt x="107" y="279"/>
                    <a:pt x="0" y="387"/>
                    <a:pt x="0" y="520"/>
                  </a:cubicBezTo>
                  <a:cubicBezTo>
                    <a:pt x="0" y="653"/>
                    <a:pt x="107" y="761"/>
                    <a:pt x="241" y="761"/>
                  </a:cubicBezTo>
                  <a:cubicBezTo>
                    <a:pt x="971" y="761"/>
                    <a:pt x="971" y="761"/>
                    <a:pt x="971" y="761"/>
                  </a:cubicBezTo>
                  <a:cubicBezTo>
                    <a:pt x="1105" y="761"/>
                    <a:pt x="1212" y="653"/>
                    <a:pt x="1212" y="520"/>
                  </a:cubicBezTo>
                  <a:cubicBezTo>
                    <a:pt x="1212" y="393"/>
                    <a:pt x="1114" y="289"/>
                    <a:pt x="989" y="280"/>
                  </a:cubicBezTo>
                  <a:close/>
                </a:path>
              </a:pathLst>
            </a:custGeom>
            <a:solidFill>
              <a:schemeClr val="accent2">
                <a:lumMod val="40000"/>
                <a:lumOff val="6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nvGrpSpPr>
            <p:cNvPr id="179" name="Group 178">
              <a:extLst>
                <a:ext uri="{FF2B5EF4-FFF2-40B4-BE49-F238E27FC236}">
                  <a16:creationId xmlns:a16="http://schemas.microsoft.com/office/drawing/2014/main" id="{21132285-C0A1-49C5-AB9C-B754DABAFC59}"/>
                </a:ext>
              </a:extLst>
            </p:cNvPr>
            <p:cNvGrpSpPr/>
            <p:nvPr/>
          </p:nvGrpSpPr>
          <p:grpSpPr>
            <a:xfrm>
              <a:off x="1261322" y="3570504"/>
              <a:ext cx="1115825" cy="1082519"/>
              <a:chOff x="1261322" y="3570504"/>
              <a:chExt cx="1115825" cy="1082519"/>
            </a:xfrm>
          </p:grpSpPr>
          <p:sp>
            <p:nvSpPr>
              <p:cNvPr id="180" name="Rectangle: Rounded Corners 34">
                <a:extLst>
                  <a:ext uri="{FF2B5EF4-FFF2-40B4-BE49-F238E27FC236}">
                    <a16:creationId xmlns:a16="http://schemas.microsoft.com/office/drawing/2014/main" id="{109AB968-A8B8-41AA-BD5C-3E1976244919}"/>
                  </a:ext>
                </a:extLst>
              </p:cNvPr>
              <p:cNvSpPr/>
              <p:nvPr/>
            </p:nvSpPr>
            <p:spPr>
              <a:xfrm>
                <a:off x="1261322" y="3570504"/>
                <a:ext cx="1115825" cy="1082519"/>
              </a:xfrm>
              <a:prstGeom prst="roundRect">
                <a:avLst>
                  <a:gd name="adj" fmla="val 5597"/>
                </a:avLst>
              </a:prstGeom>
              <a:solidFill>
                <a:schemeClr val="accent2">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81" name="Freeform: Shape 36">
                <a:extLst>
                  <a:ext uri="{FF2B5EF4-FFF2-40B4-BE49-F238E27FC236}">
                    <a16:creationId xmlns:a16="http://schemas.microsoft.com/office/drawing/2014/main" id="{1D0281DC-3E7E-4734-8F50-D7022435297E}"/>
                  </a:ext>
                </a:extLst>
              </p:cNvPr>
              <p:cNvSpPr>
                <a:spLocks/>
              </p:cNvSpPr>
              <p:nvPr/>
            </p:nvSpPr>
            <p:spPr bwMode="auto">
              <a:xfrm>
                <a:off x="1318837" y="3636963"/>
                <a:ext cx="1000794" cy="949602"/>
              </a:xfrm>
              <a:custGeom>
                <a:avLst/>
                <a:gdLst>
                  <a:gd name="connsiteX0" fmla="*/ 63820 w 1295542"/>
                  <a:gd name="connsiteY0" fmla="*/ 968970 h 1229273"/>
                  <a:gd name="connsiteX1" fmla="*/ 1231722 w 1295542"/>
                  <a:gd name="connsiteY1" fmla="*/ 968970 h 1229273"/>
                  <a:gd name="connsiteX2" fmla="*/ 1295542 w 1295542"/>
                  <a:gd name="connsiteY2" fmla="*/ 1032848 h 1229273"/>
                  <a:gd name="connsiteX3" fmla="*/ 1295542 w 1295542"/>
                  <a:gd name="connsiteY3" fmla="*/ 1165395 h 1229273"/>
                  <a:gd name="connsiteX4" fmla="*/ 1231722 w 1295542"/>
                  <a:gd name="connsiteY4" fmla="*/ 1229273 h 1229273"/>
                  <a:gd name="connsiteX5" fmla="*/ 63820 w 1295542"/>
                  <a:gd name="connsiteY5" fmla="*/ 1229273 h 1229273"/>
                  <a:gd name="connsiteX6" fmla="*/ 0 w 1295542"/>
                  <a:gd name="connsiteY6" fmla="*/ 1165395 h 1229273"/>
                  <a:gd name="connsiteX7" fmla="*/ 0 w 1295542"/>
                  <a:gd name="connsiteY7" fmla="*/ 1032848 h 1229273"/>
                  <a:gd name="connsiteX8" fmla="*/ 63820 w 1295542"/>
                  <a:gd name="connsiteY8" fmla="*/ 968970 h 1229273"/>
                  <a:gd name="connsiteX9" fmla="*/ 63820 w 1295542"/>
                  <a:gd name="connsiteY9" fmla="*/ 646577 h 1229273"/>
                  <a:gd name="connsiteX10" fmla="*/ 1231722 w 1295542"/>
                  <a:gd name="connsiteY10" fmla="*/ 646577 h 1229273"/>
                  <a:gd name="connsiteX11" fmla="*/ 1295542 w 1295542"/>
                  <a:gd name="connsiteY11" fmla="*/ 710455 h 1229273"/>
                  <a:gd name="connsiteX12" fmla="*/ 1295542 w 1295542"/>
                  <a:gd name="connsiteY12" fmla="*/ 843002 h 1229273"/>
                  <a:gd name="connsiteX13" fmla="*/ 1231722 w 1295542"/>
                  <a:gd name="connsiteY13" fmla="*/ 906880 h 1229273"/>
                  <a:gd name="connsiteX14" fmla="*/ 63820 w 1295542"/>
                  <a:gd name="connsiteY14" fmla="*/ 906880 h 1229273"/>
                  <a:gd name="connsiteX15" fmla="*/ 0 w 1295542"/>
                  <a:gd name="connsiteY15" fmla="*/ 843002 h 1229273"/>
                  <a:gd name="connsiteX16" fmla="*/ 0 w 1295542"/>
                  <a:gd name="connsiteY16" fmla="*/ 710455 h 1229273"/>
                  <a:gd name="connsiteX17" fmla="*/ 63820 w 1295542"/>
                  <a:gd name="connsiteY17" fmla="*/ 646577 h 1229273"/>
                  <a:gd name="connsiteX18" fmla="*/ 63820 w 1295542"/>
                  <a:gd name="connsiteY18" fmla="*/ 325378 h 1229273"/>
                  <a:gd name="connsiteX19" fmla="*/ 1231722 w 1295542"/>
                  <a:gd name="connsiteY19" fmla="*/ 325378 h 1229273"/>
                  <a:gd name="connsiteX20" fmla="*/ 1295542 w 1295542"/>
                  <a:gd name="connsiteY20" fmla="*/ 389256 h 1229273"/>
                  <a:gd name="connsiteX21" fmla="*/ 1295542 w 1295542"/>
                  <a:gd name="connsiteY21" fmla="*/ 521803 h 1229273"/>
                  <a:gd name="connsiteX22" fmla="*/ 1231722 w 1295542"/>
                  <a:gd name="connsiteY22" fmla="*/ 585681 h 1229273"/>
                  <a:gd name="connsiteX23" fmla="*/ 63820 w 1295542"/>
                  <a:gd name="connsiteY23" fmla="*/ 585681 h 1229273"/>
                  <a:gd name="connsiteX24" fmla="*/ 0 w 1295542"/>
                  <a:gd name="connsiteY24" fmla="*/ 521803 h 1229273"/>
                  <a:gd name="connsiteX25" fmla="*/ 0 w 1295542"/>
                  <a:gd name="connsiteY25" fmla="*/ 389256 h 1229273"/>
                  <a:gd name="connsiteX26" fmla="*/ 63820 w 1295542"/>
                  <a:gd name="connsiteY26" fmla="*/ 325378 h 1229273"/>
                  <a:gd name="connsiteX27" fmla="*/ 63820 w 1295542"/>
                  <a:gd name="connsiteY27" fmla="*/ 0 h 1229273"/>
                  <a:gd name="connsiteX28" fmla="*/ 1231722 w 1295542"/>
                  <a:gd name="connsiteY28" fmla="*/ 0 h 1229273"/>
                  <a:gd name="connsiteX29" fmla="*/ 1295542 w 1295542"/>
                  <a:gd name="connsiteY29" fmla="*/ 63878 h 1229273"/>
                  <a:gd name="connsiteX30" fmla="*/ 1295542 w 1295542"/>
                  <a:gd name="connsiteY30" fmla="*/ 196425 h 1229273"/>
                  <a:gd name="connsiteX31" fmla="*/ 1231722 w 1295542"/>
                  <a:gd name="connsiteY31" fmla="*/ 260303 h 1229273"/>
                  <a:gd name="connsiteX32" fmla="*/ 63820 w 1295542"/>
                  <a:gd name="connsiteY32" fmla="*/ 260303 h 1229273"/>
                  <a:gd name="connsiteX33" fmla="*/ 0 w 1295542"/>
                  <a:gd name="connsiteY33" fmla="*/ 196425 h 1229273"/>
                  <a:gd name="connsiteX34" fmla="*/ 0 w 1295542"/>
                  <a:gd name="connsiteY34" fmla="*/ 63878 h 1229273"/>
                  <a:gd name="connsiteX35" fmla="*/ 63820 w 1295542"/>
                  <a:gd name="connsiteY35" fmla="*/ 0 h 1229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95542" h="1229273">
                    <a:moveTo>
                      <a:pt x="63820" y="968970"/>
                    </a:moveTo>
                    <a:cubicBezTo>
                      <a:pt x="1231722" y="968970"/>
                      <a:pt x="1231722" y="968970"/>
                      <a:pt x="1231722" y="968970"/>
                    </a:cubicBezTo>
                    <a:cubicBezTo>
                      <a:pt x="1266823" y="968970"/>
                      <a:pt x="1295542" y="997715"/>
                      <a:pt x="1295542" y="1032848"/>
                    </a:cubicBezTo>
                    <a:lnTo>
                      <a:pt x="1295542" y="1165395"/>
                    </a:lnTo>
                    <a:cubicBezTo>
                      <a:pt x="1295542" y="1200528"/>
                      <a:pt x="1266823" y="1229273"/>
                      <a:pt x="1231722" y="1229273"/>
                    </a:cubicBezTo>
                    <a:cubicBezTo>
                      <a:pt x="63820" y="1229273"/>
                      <a:pt x="63820" y="1229273"/>
                      <a:pt x="63820" y="1229273"/>
                    </a:cubicBezTo>
                    <a:cubicBezTo>
                      <a:pt x="28719" y="1229273"/>
                      <a:pt x="0" y="1200528"/>
                      <a:pt x="0" y="1165395"/>
                    </a:cubicBezTo>
                    <a:cubicBezTo>
                      <a:pt x="0" y="1032848"/>
                      <a:pt x="0" y="1032848"/>
                      <a:pt x="0" y="1032848"/>
                    </a:cubicBezTo>
                    <a:cubicBezTo>
                      <a:pt x="0" y="997715"/>
                      <a:pt x="28719" y="968970"/>
                      <a:pt x="63820" y="968970"/>
                    </a:cubicBezTo>
                    <a:close/>
                    <a:moveTo>
                      <a:pt x="63820" y="646577"/>
                    </a:moveTo>
                    <a:cubicBezTo>
                      <a:pt x="1231722" y="646577"/>
                      <a:pt x="1231722" y="646577"/>
                      <a:pt x="1231722" y="646577"/>
                    </a:cubicBezTo>
                    <a:cubicBezTo>
                      <a:pt x="1266823" y="646577"/>
                      <a:pt x="1295542" y="675322"/>
                      <a:pt x="1295542" y="710455"/>
                    </a:cubicBezTo>
                    <a:lnTo>
                      <a:pt x="1295542" y="843002"/>
                    </a:lnTo>
                    <a:cubicBezTo>
                      <a:pt x="1295542" y="878135"/>
                      <a:pt x="1266823" y="906880"/>
                      <a:pt x="1231722" y="906880"/>
                    </a:cubicBezTo>
                    <a:cubicBezTo>
                      <a:pt x="63820" y="906880"/>
                      <a:pt x="63820" y="906880"/>
                      <a:pt x="63820" y="906880"/>
                    </a:cubicBezTo>
                    <a:cubicBezTo>
                      <a:pt x="28719" y="906880"/>
                      <a:pt x="0" y="878135"/>
                      <a:pt x="0" y="843002"/>
                    </a:cubicBezTo>
                    <a:cubicBezTo>
                      <a:pt x="0" y="710455"/>
                      <a:pt x="0" y="710455"/>
                      <a:pt x="0" y="710455"/>
                    </a:cubicBezTo>
                    <a:cubicBezTo>
                      <a:pt x="0" y="675322"/>
                      <a:pt x="28719" y="646577"/>
                      <a:pt x="63820" y="646577"/>
                    </a:cubicBezTo>
                    <a:close/>
                    <a:moveTo>
                      <a:pt x="63820" y="325378"/>
                    </a:moveTo>
                    <a:cubicBezTo>
                      <a:pt x="1231722" y="325378"/>
                      <a:pt x="1231722" y="325378"/>
                      <a:pt x="1231722" y="325378"/>
                    </a:cubicBezTo>
                    <a:cubicBezTo>
                      <a:pt x="1266823" y="325378"/>
                      <a:pt x="1295542" y="354123"/>
                      <a:pt x="1295542" y="389256"/>
                    </a:cubicBezTo>
                    <a:lnTo>
                      <a:pt x="1295542" y="521803"/>
                    </a:lnTo>
                    <a:cubicBezTo>
                      <a:pt x="1295542" y="556936"/>
                      <a:pt x="1266823" y="585681"/>
                      <a:pt x="1231722" y="585681"/>
                    </a:cubicBezTo>
                    <a:cubicBezTo>
                      <a:pt x="63820" y="585681"/>
                      <a:pt x="63820" y="585681"/>
                      <a:pt x="63820" y="585681"/>
                    </a:cubicBezTo>
                    <a:cubicBezTo>
                      <a:pt x="28719" y="585681"/>
                      <a:pt x="0" y="556936"/>
                      <a:pt x="0" y="521803"/>
                    </a:cubicBezTo>
                    <a:cubicBezTo>
                      <a:pt x="0" y="389256"/>
                      <a:pt x="0" y="389256"/>
                      <a:pt x="0" y="389256"/>
                    </a:cubicBezTo>
                    <a:cubicBezTo>
                      <a:pt x="0" y="354123"/>
                      <a:pt x="28719" y="325378"/>
                      <a:pt x="63820" y="325378"/>
                    </a:cubicBezTo>
                    <a:close/>
                    <a:moveTo>
                      <a:pt x="63820" y="0"/>
                    </a:moveTo>
                    <a:cubicBezTo>
                      <a:pt x="1231722" y="0"/>
                      <a:pt x="1231722" y="0"/>
                      <a:pt x="1231722" y="0"/>
                    </a:cubicBezTo>
                    <a:cubicBezTo>
                      <a:pt x="1266823" y="0"/>
                      <a:pt x="1295542" y="27148"/>
                      <a:pt x="1295542" y="63878"/>
                    </a:cubicBezTo>
                    <a:lnTo>
                      <a:pt x="1295542" y="196425"/>
                    </a:lnTo>
                    <a:cubicBezTo>
                      <a:pt x="1295542" y="231558"/>
                      <a:pt x="1266823" y="260303"/>
                      <a:pt x="1231722" y="260303"/>
                    </a:cubicBezTo>
                    <a:cubicBezTo>
                      <a:pt x="63820" y="260303"/>
                      <a:pt x="63820" y="260303"/>
                      <a:pt x="63820" y="260303"/>
                    </a:cubicBezTo>
                    <a:cubicBezTo>
                      <a:pt x="28719" y="260303"/>
                      <a:pt x="0" y="231558"/>
                      <a:pt x="0" y="196425"/>
                    </a:cubicBezTo>
                    <a:cubicBezTo>
                      <a:pt x="0" y="63878"/>
                      <a:pt x="0" y="63878"/>
                      <a:pt x="0" y="63878"/>
                    </a:cubicBezTo>
                    <a:cubicBezTo>
                      <a:pt x="0" y="27148"/>
                      <a:pt x="28719" y="0"/>
                      <a:pt x="63820"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82" name="Freeform: Shape 37">
                <a:extLst>
                  <a:ext uri="{FF2B5EF4-FFF2-40B4-BE49-F238E27FC236}">
                    <a16:creationId xmlns:a16="http://schemas.microsoft.com/office/drawing/2014/main" id="{C0AEE76D-D939-4E42-8B90-A4F5AA908FCA}"/>
                  </a:ext>
                </a:extLst>
              </p:cNvPr>
              <p:cNvSpPr>
                <a:spLocks noChangeArrowheads="1"/>
              </p:cNvSpPr>
              <p:nvPr/>
            </p:nvSpPr>
            <p:spPr bwMode="auto">
              <a:xfrm>
                <a:off x="1391243" y="3707525"/>
                <a:ext cx="257809" cy="806171"/>
              </a:xfrm>
              <a:custGeom>
                <a:avLst/>
                <a:gdLst>
                  <a:gd name="connsiteX0" fmla="*/ 296125 w 333738"/>
                  <a:gd name="connsiteY0" fmla="*/ 968373 h 1043599"/>
                  <a:gd name="connsiteX1" fmla="*/ 333738 w 333738"/>
                  <a:gd name="connsiteY1" fmla="*/ 1005986 h 1043599"/>
                  <a:gd name="connsiteX2" fmla="*/ 296125 w 333738"/>
                  <a:gd name="connsiteY2" fmla="*/ 1043599 h 1043599"/>
                  <a:gd name="connsiteX3" fmla="*/ 258512 w 333738"/>
                  <a:gd name="connsiteY3" fmla="*/ 1005986 h 1043599"/>
                  <a:gd name="connsiteX4" fmla="*/ 296125 w 333738"/>
                  <a:gd name="connsiteY4" fmla="*/ 968373 h 1043599"/>
                  <a:gd name="connsiteX5" fmla="*/ 167466 w 333738"/>
                  <a:gd name="connsiteY5" fmla="*/ 968373 h 1043599"/>
                  <a:gd name="connsiteX6" fmla="*/ 204183 w 333738"/>
                  <a:gd name="connsiteY6" fmla="*/ 1005986 h 1043599"/>
                  <a:gd name="connsiteX7" fmla="*/ 167466 w 333738"/>
                  <a:gd name="connsiteY7" fmla="*/ 1043599 h 1043599"/>
                  <a:gd name="connsiteX8" fmla="*/ 130749 w 333738"/>
                  <a:gd name="connsiteY8" fmla="*/ 1005986 h 1043599"/>
                  <a:gd name="connsiteX9" fmla="*/ 167466 w 333738"/>
                  <a:gd name="connsiteY9" fmla="*/ 968373 h 1043599"/>
                  <a:gd name="connsiteX10" fmla="*/ 37613 w 333738"/>
                  <a:gd name="connsiteY10" fmla="*/ 968373 h 1043599"/>
                  <a:gd name="connsiteX11" fmla="*/ 75226 w 333738"/>
                  <a:gd name="connsiteY11" fmla="*/ 1005986 h 1043599"/>
                  <a:gd name="connsiteX12" fmla="*/ 37613 w 333738"/>
                  <a:gd name="connsiteY12" fmla="*/ 1043599 h 1043599"/>
                  <a:gd name="connsiteX13" fmla="*/ 0 w 333738"/>
                  <a:gd name="connsiteY13" fmla="*/ 1005986 h 1043599"/>
                  <a:gd name="connsiteX14" fmla="*/ 37613 w 333738"/>
                  <a:gd name="connsiteY14" fmla="*/ 968373 h 1043599"/>
                  <a:gd name="connsiteX15" fmla="*/ 296125 w 333738"/>
                  <a:gd name="connsiteY15" fmla="*/ 645980 h 1043599"/>
                  <a:gd name="connsiteX16" fmla="*/ 333738 w 333738"/>
                  <a:gd name="connsiteY16" fmla="*/ 683593 h 1043599"/>
                  <a:gd name="connsiteX17" fmla="*/ 296125 w 333738"/>
                  <a:gd name="connsiteY17" fmla="*/ 721206 h 1043599"/>
                  <a:gd name="connsiteX18" fmla="*/ 258512 w 333738"/>
                  <a:gd name="connsiteY18" fmla="*/ 683593 h 1043599"/>
                  <a:gd name="connsiteX19" fmla="*/ 296125 w 333738"/>
                  <a:gd name="connsiteY19" fmla="*/ 645980 h 1043599"/>
                  <a:gd name="connsiteX20" fmla="*/ 167466 w 333738"/>
                  <a:gd name="connsiteY20" fmla="*/ 645980 h 1043599"/>
                  <a:gd name="connsiteX21" fmla="*/ 204183 w 333738"/>
                  <a:gd name="connsiteY21" fmla="*/ 683593 h 1043599"/>
                  <a:gd name="connsiteX22" fmla="*/ 167466 w 333738"/>
                  <a:gd name="connsiteY22" fmla="*/ 721206 h 1043599"/>
                  <a:gd name="connsiteX23" fmla="*/ 130749 w 333738"/>
                  <a:gd name="connsiteY23" fmla="*/ 683593 h 1043599"/>
                  <a:gd name="connsiteX24" fmla="*/ 167466 w 333738"/>
                  <a:gd name="connsiteY24" fmla="*/ 645980 h 1043599"/>
                  <a:gd name="connsiteX25" fmla="*/ 37613 w 333738"/>
                  <a:gd name="connsiteY25" fmla="*/ 645980 h 1043599"/>
                  <a:gd name="connsiteX26" fmla="*/ 75226 w 333738"/>
                  <a:gd name="connsiteY26" fmla="*/ 683593 h 1043599"/>
                  <a:gd name="connsiteX27" fmla="*/ 37613 w 333738"/>
                  <a:gd name="connsiteY27" fmla="*/ 721206 h 1043599"/>
                  <a:gd name="connsiteX28" fmla="*/ 0 w 333738"/>
                  <a:gd name="connsiteY28" fmla="*/ 683593 h 1043599"/>
                  <a:gd name="connsiteX29" fmla="*/ 37613 w 333738"/>
                  <a:gd name="connsiteY29" fmla="*/ 645980 h 1043599"/>
                  <a:gd name="connsiteX30" fmla="*/ 296125 w 333738"/>
                  <a:gd name="connsiteY30" fmla="*/ 325380 h 1043599"/>
                  <a:gd name="connsiteX31" fmla="*/ 333738 w 333738"/>
                  <a:gd name="connsiteY31" fmla="*/ 362694 h 1043599"/>
                  <a:gd name="connsiteX32" fmla="*/ 296125 w 333738"/>
                  <a:gd name="connsiteY32" fmla="*/ 400008 h 1043599"/>
                  <a:gd name="connsiteX33" fmla="*/ 258512 w 333738"/>
                  <a:gd name="connsiteY33" fmla="*/ 362694 h 1043599"/>
                  <a:gd name="connsiteX34" fmla="*/ 296125 w 333738"/>
                  <a:gd name="connsiteY34" fmla="*/ 325380 h 1043599"/>
                  <a:gd name="connsiteX35" fmla="*/ 167466 w 333738"/>
                  <a:gd name="connsiteY35" fmla="*/ 325380 h 1043599"/>
                  <a:gd name="connsiteX36" fmla="*/ 204183 w 333738"/>
                  <a:gd name="connsiteY36" fmla="*/ 362694 h 1043599"/>
                  <a:gd name="connsiteX37" fmla="*/ 167466 w 333738"/>
                  <a:gd name="connsiteY37" fmla="*/ 400008 h 1043599"/>
                  <a:gd name="connsiteX38" fmla="*/ 130749 w 333738"/>
                  <a:gd name="connsiteY38" fmla="*/ 362694 h 1043599"/>
                  <a:gd name="connsiteX39" fmla="*/ 167466 w 333738"/>
                  <a:gd name="connsiteY39" fmla="*/ 325380 h 1043599"/>
                  <a:gd name="connsiteX40" fmla="*/ 37613 w 333738"/>
                  <a:gd name="connsiteY40" fmla="*/ 325380 h 1043599"/>
                  <a:gd name="connsiteX41" fmla="*/ 75226 w 333738"/>
                  <a:gd name="connsiteY41" fmla="*/ 362694 h 1043599"/>
                  <a:gd name="connsiteX42" fmla="*/ 37613 w 333738"/>
                  <a:gd name="connsiteY42" fmla="*/ 400008 h 1043599"/>
                  <a:gd name="connsiteX43" fmla="*/ 0 w 333738"/>
                  <a:gd name="connsiteY43" fmla="*/ 362694 h 1043599"/>
                  <a:gd name="connsiteX44" fmla="*/ 37613 w 333738"/>
                  <a:gd name="connsiteY44" fmla="*/ 325380 h 1043599"/>
                  <a:gd name="connsiteX45" fmla="*/ 296125 w 333738"/>
                  <a:gd name="connsiteY45" fmla="*/ 0 h 1043599"/>
                  <a:gd name="connsiteX46" fmla="*/ 333738 w 333738"/>
                  <a:gd name="connsiteY46" fmla="*/ 37314 h 1043599"/>
                  <a:gd name="connsiteX47" fmla="*/ 296125 w 333738"/>
                  <a:gd name="connsiteY47" fmla="*/ 74628 h 1043599"/>
                  <a:gd name="connsiteX48" fmla="*/ 258512 w 333738"/>
                  <a:gd name="connsiteY48" fmla="*/ 37314 h 1043599"/>
                  <a:gd name="connsiteX49" fmla="*/ 296125 w 333738"/>
                  <a:gd name="connsiteY49" fmla="*/ 0 h 1043599"/>
                  <a:gd name="connsiteX50" fmla="*/ 167466 w 333738"/>
                  <a:gd name="connsiteY50" fmla="*/ 0 h 1043599"/>
                  <a:gd name="connsiteX51" fmla="*/ 204183 w 333738"/>
                  <a:gd name="connsiteY51" fmla="*/ 37314 h 1043599"/>
                  <a:gd name="connsiteX52" fmla="*/ 167466 w 333738"/>
                  <a:gd name="connsiteY52" fmla="*/ 74628 h 1043599"/>
                  <a:gd name="connsiteX53" fmla="*/ 130749 w 333738"/>
                  <a:gd name="connsiteY53" fmla="*/ 37314 h 1043599"/>
                  <a:gd name="connsiteX54" fmla="*/ 167466 w 333738"/>
                  <a:gd name="connsiteY54" fmla="*/ 0 h 1043599"/>
                  <a:gd name="connsiteX55" fmla="*/ 37613 w 333738"/>
                  <a:gd name="connsiteY55" fmla="*/ 0 h 1043599"/>
                  <a:gd name="connsiteX56" fmla="*/ 75226 w 333738"/>
                  <a:gd name="connsiteY56" fmla="*/ 37314 h 1043599"/>
                  <a:gd name="connsiteX57" fmla="*/ 37613 w 333738"/>
                  <a:gd name="connsiteY57" fmla="*/ 74628 h 1043599"/>
                  <a:gd name="connsiteX58" fmla="*/ 0 w 333738"/>
                  <a:gd name="connsiteY58" fmla="*/ 37314 h 1043599"/>
                  <a:gd name="connsiteX59" fmla="*/ 37613 w 333738"/>
                  <a:gd name="connsiteY59" fmla="*/ 0 h 104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33738" h="1043599">
                    <a:moveTo>
                      <a:pt x="296125" y="968373"/>
                    </a:moveTo>
                    <a:cubicBezTo>
                      <a:pt x="316898" y="968373"/>
                      <a:pt x="333738" y="985213"/>
                      <a:pt x="333738" y="1005986"/>
                    </a:cubicBezTo>
                    <a:cubicBezTo>
                      <a:pt x="333738" y="1026759"/>
                      <a:pt x="316898" y="1043599"/>
                      <a:pt x="296125" y="1043599"/>
                    </a:cubicBezTo>
                    <a:cubicBezTo>
                      <a:pt x="275352" y="1043599"/>
                      <a:pt x="258512" y="1026759"/>
                      <a:pt x="258512" y="1005986"/>
                    </a:cubicBezTo>
                    <a:cubicBezTo>
                      <a:pt x="258512" y="985213"/>
                      <a:pt x="275352" y="968373"/>
                      <a:pt x="296125" y="968373"/>
                    </a:cubicBezTo>
                    <a:close/>
                    <a:moveTo>
                      <a:pt x="167466" y="968373"/>
                    </a:moveTo>
                    <a:cubicBezTo>
                      <a:pt x="187744" y="968373"/>
                      <a:pt x="204183" y="985213"/>
                      <a:pt x="204183" y="1005986"/>
                    </a:cubicBezTo>
                    <a:cubicBezTo>
                      <a:pt x="204183" y="1026759"/>
                      <a:pt x="187744" y="1043599"/>
                      <a:pt x="167466" y="1043599"/>
                    </a:cubicBezTo>
                    <a:cubicBezTo>
                      <a:pt x="147188" y="1043599"/>
                      <a:pt x="130749" y="1026759"/>
                      <a:pt x="130749" y="1005986"/>
                    </a:cubicBezTo>
                    <a:cubicBezTo>
                      <a:pt x="130749" y="985213"/>
                      <a:pt x="147188" y="968373"/>
                      <a:pt x="167466" y="968373"/>
                    </a:cubicBezTo>
                    <a:close/>
                    <a:moveTo>
                      <a:pt x="37613" y="968373"/>
                    </a:moveTo>
                    <a:cubicBezTo>
                      <a:pt x="58386" y="968373"/>
                      <a:pt x="75226" y="985213"/>
                      <a:pt x="75226" y="1005986"/>
                    </a:cubicBezTo>
                    <a:cubicBezTo>
                      <a:pt x="75226" y="1026759"/>
                      <a:pt x="58386" y="1043599"/>
                      <a:pt x="37613" y="1043599"/>
                    </a:cubicBezTo>
                    <a:cubicBezTo>
                      <a:pt x="16840" y="1043599"/>
                      <a:pt x="0" y="1026759"/>
                      <a:pt x="0" y="1005986"/>
                    </a:cubicBezTo>
                    <a:cubicBezTo>
                      <a:pt x="0" y="985213"/>
                      <a:pt x="16840" y="968373"/>
                      <a:pt x="37613" y="968373"/>
                    </a:cubicBezTo>
                    <a:close/>
                    <a:moveTo>
                      <a:pt x="296125" y="645980"/>
                    </a:moveTo>
                    <a:cubicBezTo>
                      <a:pt x="316898" y="645980"/>
                      <a:pt x="333738" y="662820"/>
                      <a:pt x="333738" y="683593"/>
                    </a:cubicBezTo>
                    <a:cubicBezTo>
                      <a:pt x="333738" y="704366"/>
                      <a:pt x="316898" y="721206"/>
                      <a:pt x="296125" y="721206"/>
                    </a:cubicBezTo>
                    <a:cubicBezTo>
                      <a:pt x="275352" y="721206"/>
                      <a:pt x="258512" y="704366"/>
                      <a:pt x="258512" y="683593"/>
                    </a:cubicBezTo>
                    <a:cubicBezTo>
                      <a:pt x="258512" y="662820"/>
                      <a:pt x="275352" y="645980"/>
                      <a:pt x="296125" y="645980"/>
                    </a:cubicBezTo>
                    <a:close/>
                    <a:moveTo>
                      <a:pt x="167466" y="645980"/>
                    </a:moveTo>
                    <a:cubicBezTo>
                      <a:pt x="187744" y="645980"/>
                      <a:pt x="204183" y="662820"/>
                      <a:pt x="204183" y="683593"/>
                    </a:cubicBezTo>
                    <a:cubicBezTo>
                      <a:pt x="204183" y="704366"/>
                      <a:pt x="187744" y="721206"/>
                      <a:pt x="167466" y="721206"/>
                    </a:cubicBezTo>
                    <a:cubicBezTo>
                      <a:pt x="147188" y="721206"/>
                      <a:pt x="130749" y="704366"/>
                      <a:pt x="130749" y="683593"/>
                    </a:cubicBezTo>
                    <a:cubicBezTo>
                      <a:pt x="130749" y="662820"/>
                      <a:pt x="147188" y="645980"/>
                      <a:pt x="167466" y="645980"/>
                    </a:cubicBezTo>
                    <a:close/>
                    <a:moveTo>
                      <a:pt x="37613" y="645980"/>
                    </a:moveTo>
                    <a:cubicBezTo>
                      <a:pt x="58386" y="645980"/>
                      <a:pt x="75226" y="662820"/>
                      <a:pt x="75226" y="683593"/>
                    </a:cubicBezTo>
                    <a:cubicBezTo>
                      <a:pt x="75226" y="704366"/>
                      <a:pt x="58386" y="721206"/>
                      <a:pt x="37613" y="721206"/>
                    </a:cubicBezTo>
                    <a:cubicBezTo>
                      <a:pt x="16840" y="721206"/>
                      <a:pt x="0" y="704366"/>
                      <a:pt x="0" y="683593"/>
                    </a:cubicBezTo>
                    <a:cubicBezTo>
                      <a:pt x="0" y="662820"/>
                      <a:pt x="16840" y="645980"/>
                      <a:pt x="37613" y="645980"/>
                    </a:cubicBezTo>
                    <a:close/>
                    <a:moveTo>
                      <a:pt x="296125" y="325380"/>
                    </a:moveTo>
                    <a:cubicBezTo>
                      <a:pt x="316898" y="325380"/>
                      <a:pt x="333738" y="342086"/>
                      <a:pt x="333738" y="362694"/>
                    </a:cubicBezTo>
                    <a:cubicBezTo>
                      <a:pt x="333738" y="383302"/>
                      <a:pt x="316898" y="400008"/>
                      <a:pt x="296125" y="400008"/>
                    </a:cubicBezTo>
                    <a:cubicBezTo>
                      <a:pt x="275352" y="400008"/>
                      <a:pt x="258512" y="383302"/>
                      <a:pt x="258512" y="362694"/>
                    </a:cubicBezTo>
                    <a:cubicBezTo>
                      <a:pt x="258512" y="342086"/>
                      <a:pt x="275352" y="325380"/>
                      <a:pt x="296125" y="325380"/>
                    </a:cubicBezTo>
                    <a:close/>
                    <a:moveTo>
                      <a:pt x="167466" y="325380"/>
                    </a:moveTo>
                    <a:cubicBezTo>
                      <a:pt x="187744" y="325380"/>
                      <a:pt x="204183" y="342086"/>
                      <a:pt x="204183" y="362694"/>
                    </a:cubicBezTo>
                    <a:cubicBezTo>
                      <a:pt x="204183" y="383302"/>
                      <a:pt x="187744" y="400008"/>
                      <a:pt x="167466" y="400008"/>
                    </a:cubicBezTo>
                    <a:cubicBezTo>
                      <a:pt x="147188" y="400008"/>
                      <a:pt x="130749" y="383302"/>
                      <a:pt x="130749" y="362694"/>
                    </a:cubicBezTo>
                    <a:cubicBezTo>
                      <a:pt x="130749" y="342086"/>
                      <a:pt x="147188" y="325380"/>
                      <a:pt x="167466" y="325380"/>
                    </a:cubicBezTo>
                    <a:close/>
                    <a:moveTo>
                      <a:pt x="37613" y="325380"/>
                    </a:moveTo>
                    <a:cubicBezTo>
                      <a:pt x="58386" y="325380"/>
                      <a:pt x="75226" y="342086"/>
                      <a:pt x="75226" y="362694"/>
                    </a:cubicBezTo>
                    <a:cubicBezTo>
                      <a:pt x="75226" y="383302"/>
                      <a:pt x="58386" y="400008"/>
                      <a:pt x="37613" y="400008"/>
                    </a:cubicBezTo>
                    <a:cubicBezTo>
                      <a:pt x="16840" y="400008"/>
                      <a:pt x="0" y="383302"/>
                      <a:pt x="0" y="362694"/>
                    </a:cubicBezTo>
                    <a:cubicBezTo>
                      <a:pt x="0" y="342086"/>
                      <a:pt x="16840" y="325380"/>
                      <a:pt x="37613" y="325380"/>
                    </a:cubicBezTo>
                    <a:close/>
                    <a:moveTo>
                      <a:pt x="296125" y="0"/>
                    </a:moveTo>
                    <a:cubicBezTo>
                      <a:pt x="316898" y="0"/>
                      <a:pt x="333738" y="16706"/>
                      <a:pt x="333738" y="37314"/>
                    </a:cubicBezTo>
                    <a:cubicBezTo>
                      <a:pt x="333738" y="57922"/>
                      <a:pt x="316898" y="74628"/>
                      <a:pt x="296125" y="74628"/>
                    </a:cubicBezTo>
                    <a:cubicBezTo>
                      <a:pt x="275352" y="74628"/>
                      <a:pt x="258512" y="57922"/>
                      <a:pt x="258512" y="37314"/>
                    </a:cubicBezTo>
                    <a:cubicBezTo>
                      <a:pt x="258512" y="16706"/>
                      <a:pt x="275352" y="0"/>
                      <a:pt x="296125" y="0"/>
                    </a:cubicBezTo>
                    <a:close/>
                    <a:moveTo>
                      <a:pt x="167466" y="0"/>
                    </a:moveTo>
                    <a:cubicBezTo>
                      <a:pt x="187744" y="0"/>
                      <a:pt x="204183" y="16706"/>
                      <a:pt x="204183" y="37314"/>
                    </a:cubicBezTo>
                    <a:cubicBezTo>
                      <a:pt x="204183" y="57922"/>
                      <a:pt x="187744" y="74628"/>
                      <a:pt x="167466" y="74628"/>
                    </a:cubicBezTo>
                    <a:cubicBezTo>
                      <a:pt x="147188" y="74628"/>
                      <a:pt x="130749" y="57922"/>
                      <a:pt x="130749" y="37314"/>
                    </a:cubicBezTo>
                    <a:cubicBezTo>
                      <a:pt x="130749" y="16706"/>
                      <a:pt x="147188" y="0"/>
                      <a:pt x="167466" y="0"/>
                    </a:cubicBezTo>
                    <a:close/>
                    <a:moveTo>
                      <a:pt x="37613" y="0"/>
                    </a:moveTo>
                    <a:cubicBezTo>
                      <a:pt x="58386" y="0"/>
                      <a:pt x="75226" y="16706"/>
                      <a:pt x="75226" y="37314"/>
                    </a:cubicBezTo>
                    <a:cubicBezTo>
                      <a:pt x="75226" y="57922"/>
                      <a:pt x="58386" y="74628"/>
                      <a:pt x="37613" y="74628"/>
                    </a:cubicBezTo>
                    <a:cubicBezTo>
                      <a:pt x="16840" y="74628"/>
                      <a:pt x="0" y="57922"/>
                      <a:pt x="0" y="37314"/>
                    </a:cubicBezTo>
                    <a:cubicBezTo>
                      <a:pt x="0" y="16706"/>
                      <a:pt x="16840" y="0"/>
                      <a:pt x="37613" y="0"/>
                    </a:cubicBezTo>
                    <a:close/>
                  </a:path>
                </a:pathLst>
              </a:custGeom>
              <a:solidFill>
                <a:schemeClr val="accent2">
                  <a:lumMod val="60000"/>
                  <a:lumOff val="40000"/>
                </a:schemeClr>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grpSp>
        <p:nvGrpSpPr>
          <p:cNvPr id="116" name="Group 115">
            <a:extLst>
              <a:ext uri="{FF2B5EF4-FFF2-40B4-BE49-F238E27FC236}">
                <a16:creationId xmlns:a16="http://schemas.microsoft.com/office/drawing/2014/main" id="{FECB562B-901D-410F-AE00-846C1A5EDE01}"/>
              </a:ext>
            </a:extLst>
          </p:cNvPr>
          <p:cNvGrpSpPr/>
          <p:nvPr/>
        </p:nvGrpSpPr>
        <p:grpSpPr>
          <a:xfrm>
            <a:off x="7824543" y="3301463"/>
            <a:ext cx="588051" cy="1001109"/>
            <a:chOff x="1263988" y="2256055"/>
            <a:chExt cx="588051" cy="1001109"/>
          </a:xfrm>
        </p:grpSpPr>
        <p:grpSp>
          <p:nvGrpSpPr>
            <p:cNvPr id="171" name="Group 170">
              <a:extLst>
                <a:ext uri="{FF2B5EF4-FFF2-40B4-BE49-F238E27FC236}">
                  <a16:creationId xmlns:a16="http://schemas.microsoft.com/office/drawing/2014/main" id="{9B6A0CCC-6C98-489B-B902-847C676356E2}"/>
                </a:ext>
              </a:extLst>
            </p:cNvPr>
            <p:cNvGrpSpPr/>
            <p:nvPr/>
          </p:nvGrpSpPr>
          <p:grpSpPr>
            <a:xfrm>
              <a:off x="1279490" y="2256055"/>
              <a:ext cx="564752" cy="561286"/>
              <a:chOff x="4054863" y="1116013"/>
              <a:chExt cx="4654550" cy="4625975"/>
            </a:xfrm>
          </p:grpSpPr>
          <p:sp>
            <p:nvSpPr>
              <p:cNvPr id="175" name="Oval 5">
                <a:extLst>
                  <a:ext uri="{FF2B5EF4-FFF2-40B4-BE49-F238E27FC236}">
                    <a16:creationId xmlns:a16="http://schemas.microsoft.com/office/drawing/2014/main" id="{319A3252-CEA4-40B3-A6DA-ED4A5F9416C6}"/>
                  </a:ext>
                </a:extLst>
              </p:cNvPr>
              <p:cNvSpPr>
                <a:spLocks noChangeArrowheads="1"/>
              </p:cNvSpPr>
              <p:nvPr/>
            </p:nvSpPr>
            <p:spPr bwMode="auto">
              <a:xfrm>
                <a:off x="4869253" y="1925641"/>
                <a:ext cx="3013071" cy="2995618"/>
              </a:xfrm>
              <a:prstGeom prst="ellipse">
                <a:avLst/>
              </a:pr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76" name="Freeform 6">
                <a:extLst>
                  <a:ext uri="{FF2B5EF4-FFF2-40B4-BE49-F238E27FC236}">
                    <a16:creationId xmlns:a16="http://schemas.microsoft.com/office/drawing/2014/main" id="{D1B7E0FE-00DB-4F71-B44A-23CB42E22AE3}"/>
                  </a:ext>
                </a:extLst>
              </p:cNvPr>
              <p:cNvSpPr>
                <a:spLocks noEditPoints="1"/>
              </p:cNvSpPr>
              <p:nvPr/>
            </p:nvSpPr>
            <p:spPr bwMode="auto">
              <a:xfrm>
                <a:off x="4054863" y="1116013"/>
                <a:ext cx="4654550" cy="4625975"/>
              </a:xfrm>
              <a:custGeom>
                <a:avLst/>
                <a:gdLst>
                  <a:gd name="T0" fmla="*/ 4000 w 8000"/>
                  <a:gd name="T1" fmla="*/ 7974 h 7974"/>
                  <a:gd name="T2" fmla="*/ 2443 w 8000"/>
                  <a:gd name="T3" fmla="*/ 7661 h 7974"/>
                  <a:gd name="T4" fmla="*/ 1172 w 8000"/>
                  <a:gd name="T5" fmla="*/ 6807 h 7974"/>
                  <a:gd name="T6" fmla="*/ 315 w 8000"/>
                  <a:gd name="T7" fmla="*/ 5539 h 7974"/>
                  <a:gd name="T8" fmla="*/ 0 w 8000"/>
                  <a:gd name="T9" fmla="*/ 3987 h 7974"/>
                  <a:gd name="T10" fmla="*/ 315 w 8000"/>
                  <a:gd name="T11" fmla="*/ 2435 h 7974"/>
                  <a:gd name="T12" fmla="*/ 1172 w 8000"/>
                  <a:gd name="T13" fmla="*/ 1168 h 7974"/>
                  <a:gd name="T14" fmla="*/ 2443 w 8000"/>
                  <a:gd name="T15" fmla="*/ 313 h 7974"/>
                  <a:gd name="T16" fmla="*/ 4000 w 8000"/>
                  <a:gd name="T17" fmla="*/ 0 h 7974"/>
                  <a:gd name="T18" fmla="*/ 5557 w 8000"/>
                  <a:gd name="T19" fmla="*/ 313 h 7974"/>
                  <a:gd name="T20" fmla="*/ 6829 w 8000"/>
                  <a:gd name="T21" fmla="*/ 1168 h 7974"/>
                  <a:gd name="T22" fmla="*/ 7686 w 8000"/>
                  <a:gd name="T23" fmla="*/ 2435 h 7974"/>
                  <a:gd name="T24" fmla="*/ 8000 w 8000"/>
                  <a:gd name="T25" fmla="*/ 3987 h 7974"/>
                  <a:gd name="T26" fmla="*/ 7686 w 8000"/>
                  <a:gd name="T27" fmla="*/ 5539 h 7974"/>
                  <a:gd name="T28" fmla="*/ 6829 w 8000"/>
                  <a:gd name="T29" fmla="*/ 6807 h 7974"/>
                  <a:gd name="T30" fmla="*/ 5557 w 8000"/>
                  <a:gd name="T31" fmla="*/ 7661 h 7974"/>
                  <a:gd name="T32" fmla="*/ 4000 w 8000"/>
                  <a:gd name="T33" fmla="*/ 7974 h 7974"/>
                  <a:gd name="T34" fmla="*/ 4000 w 8000"/>
                  <a:gd name="T35" fmla="*/ 121 h 7974"/>
                  <a:gd name="T36" fmla="*/ 122 w 8000"/>
                  <a:gd name="T37" fmla="*/ 3987 h 7974"/>
                  <a:gd name="T38" fmla="*/ 4000 w 8000"/>
                  <a:gd name="T39" fmla="*/ 7853 h 7974"/>
                  <a:gd name="T40" fmla="*/ 7879 w 8000"/>
                  <a:gd name="T41" fmla="*/ 3987 h 7974"/>
                  <a:gd name="T42" fmla="*/ 4000 w 8000"/>
                  <a:gd name="T43" fmla="*/ 121 h 7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0" h="7974">
                    <a:moveTo>
                      <a:pt x="4000" y="7974"/>
                    </a:moveTo>
                    <a:cubicBezTo>
                      <a:pt x="3460" y="7974"/>
                      <a:pt x="2937" y="7869"/>
                      <a:pt x="2443" y="7661"/>
                    </a:cubicBezTo>
                    <a:cubicBezTo>
                      <a:pt x="1967" y="7460"/>
                      <a:pt x="1539" y="7173"/>
                      <a:pt x="1172" y="6807"/>
                    </a:cubicBezTo>
                    <a:cubicBezTo>
                      <a:pt x="805" y="6440"/>
                      <a:pt x="516" y="6014"/>
                      <a:pt x="315" y="5539"/>
                    </a:cubicBezTo>
                    <a:cubicBezTo>
                      <a:pt x="106" y="5048"/>
                      <a:pt x="0" y="4525"/>
                      <a:pt x="0" y="3987"/>
                    </a:cubicBezTo>
                    <a:cubicBezTo>
                      <a:pt x="0" y="3449"/>
                      <a:pt x="106" y="2927"/>
                      <a:pt x="315" y="2435"/>
                    </a:cubicBezTo>
                    <a:cubicBezTo>
                      <a:pt x="516" y="1960"/>
                      <a:pt x="805" y="1534"/>
                      <a:pt x="1172" y="1168"/>
                    </a:cubicBezTo>
                    <a:cubicBezTo>
                      <a:pt x="1539" y="802"/>
                      <a:pt x="1967" y="514"/>
                      <a:pt x="2443" y="313"/>
                    </a:cubicBezTo>
                    <a:cubicBezTo>
                      <a:pt x="2937" y="105"/>
                      <a:pt x="3460" y="0"/>
                      <a:pt x="4000" y="0"/>
                    </a:cubicBezTo>
                    <a:cubicBezTo>
                      <a:pt x="4540" y="0"/>
                      <a:pt x="5064" y="105"/>
                      <a:pt x="5557" y="313"/>
                    </a:cubicBezTo>
                    <a:cubicBezTo>
                      <a:pt x="6034" y="514"/>
                      <a:pt x="6461" y="802"/>
                      <a:pt x="6829" y="1168"/>
                    </a:cubicBezTo>
                    <a:cubicBezTo>
                      <a:pt x="7196" y="1534"/>
                      <a:pt x="7484" y="1960"/>
                      <a:pt x="7686" y="2435"/>
                    </a:cubicBezTo>
                    <a:cubicBezTo>
                      <a:pt x="7895" y="2927"/>
                      <a:pt x="8000" y="3449"/>
                      <a:pt x="8000" y="3987"/>
                    </a:cubicBezTo>
                    <a:cubicBezTo>
                      <a:pt x="8000" y="4525"/>
                      <a:pt x="7895" y="5048"/>
                      <a:pt x="7686" y="5539"/>
                    </a:cubicBezTo>
                    <a:cubicBezTo>
                      <a:pt x="7484" y="6014"/>
                      <a:pt x="7196" y="6440"/>
                      <a:pt x="6829" y="6807"/>
                    </a:cubicBezTo>
                    <a:cubicBezTo>
                      <a:pt x="6461" y="7173"/>
                      <a:pt x="6034" y="7460"/>
                      <a:pt x="5557" y="7661"/>
                    </a:cubicBezTo>
                    <a:cubicBezTo>
                      <a:pt x="5064" y="7869"/>
                      <a:pt x="4540" y="7974"/>
                      <a:pt x="4000" y="7974"/>
                    </a:cubicBezTo>
                    <a:close/>
                    <a:moveTo>
                      <a:pt x="4000" y="121"/>
                    </a:moveTo>
                    <a:cubicBezTo>
                      <a:pt x="1862" y="121"/>
                      <a:pt x="122" y="1856"/>
                      <a:pt x="122" y="3987"/>
                    </a:cubicBezTo>
                    <a:cubicBezTo>
                      <a:pt x="122" y="6119"/>
                      <a:pt x="1862" y="7853"/>
                      <a:pt x="4000" y="7853"/>
                    </a:cubicBezTo>
                    <a:cubicBezTo>
                      <a:pt x="6139" y="7853"/>
                      <a:pt x="7879" y="6119"/>
                      <a:pt x="7879" y="3987"/>
                    </a:cubicBezTo>
                    <a:cubicBezTo>
                      <a:pt x="7879" y="1856"/>
                      <a:pt x="6139" y="121"/>
                      <a:pt x="4000" y="12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77" name="Oval 7">
                <a:extLst>
                  <a:ext uri="{FF2B5EF4-FFF2-40B4-BE49-F238E27FC236}">
                    <a16:creationId xmlns:a16="http://schemas.microsoft.com/office/drawing/2014/main" id="{3ACA33AB-ADCF-4D64-929F-E2F3462AEB07}"/>
                  </a:ext>
                </a:extLst>
              </p:cNvPr>
              <p:cNvSpPr>
                <a:spLocks noChangeArrowheads="1"/>
              </p:cNvSpPr>
              <p:nvPr/>
            </p:nvSpPr>
            <p:spPr bwMode="auto">
              <a:xfrm>
                <a:off x="5642366" y="2667002"/>
                <a:ext cx="1466852" cy="1511298"/>
              </a:xfrm>
              <a:prstGeom prst="ellipse">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grpSp>
          <p:nvGrpSpPr>
            <p:cNvPr id="172" name="Group 171">
              <a:extLst>
                <a:ext uri="{FF2B5EF4-FFF2-40B4-BE49-F238E27FC236}">
                  <a16:creationId xmlns:a16="http://schemas.microsoft.com/office/drawing/2014/main" id="{FAD8E66D-39C9-4B65-8487-C443DCD17EB7}"/>
                </a:ext>
              </a:extLst>
            </p:cNvPr>
            <p:cNvGrpSpPr/>
            <p:nvPr/>
          </p:nvGrpSpPr>
          <p:grpSpPr>
            <a:xfrm>
              <a:off x="1263988" y="2552114"/>
              <a:ext cx="588051" cy="705050"/>
              <a:chOff x="1268187" y="3395208"/>
              <a:chExt cx="1097423" cy="1315771"/>
            </a:xfrm>
          </p:grpSpPr>
          <p:sp>
            <p:nvSpPr>
              <p:cNvPr id="173" name="Rectangle 172">
                <a:extLst>
                  <a:ext uri="{FF2B5EF4-FFF2-40B4-BE49-F238E27FC236}">
                    <a16:creationId xmlns:a16="http://schemas.microsoft.com/office/drawing/2014/main" id="{9DA1DB65-7838-4C9B-BBD2-1571C551B77F}"/>
                  </a:ext>
                </a:extLst>
              </p:cNvPr>
              <p:cNvSpPr>
                <a:spLocks noChangeArrowheads="1"/>
              </p:cNvSpPr>
              <p:nvPr/>
            </p:nvSpPr>
            <p:spPr bwMode="auto">
              <a:xfrm>
                <a:off x="1337459" y="3740760"/>
                <a:ext cx="958878" cy="143812"/>
              </a:xfrm>
              <a:prstGeom prst="rect">
                <a:avLst/>
              </a:prstGeom>
              <a:solidFill>
                <a:schemeClr val="accent2">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74" name="Freeform 10">
                <a:extLst>
                  <a:ext uri="{FF2B5EF4-FFF2-40B4-BE49-F238E27FC236}">
                    <a16:creationId xmlns:a16="http://schemas.microsoft.com/office/drawing/2014/main" id="{5260CFFB-F34E-4F76-838E-B10C5D2D966E}"/>
                  </a:ext>
                </a:extLst>
              </p:cNvPr>
              <p:cNvSpPr>
                <a:spLocks noEditPoints="1"/>
              </p:cNvSpPr>
              <p:nvPr/>
            </p:nvSpPr>
            <p:spPr bwMode="auto">
              <a:xfrm>
                <a:off x="1268187" y="3395208"/>
                <a:ext cx="1097423" cy="1315771"/>
              </a:xfrm>
              <a:custGeom>
                <a:avLst/>
                <a:gdLst>
                  <a:gd name="T0" fmla="*/ 590 w 1013"/>
                  <a:gd name="T1" fmla="*/ 1131 h 1215"/>
                  <a:gd name="T2" fmla="*/ 506 w 1013"/>
                  <a:gd name="T3" fmla="*/ 1215 h 1215"/>
                  <a:gd name="T4" fmla="*/ 506 w 1013"/>
                  <a:gd name="T5" fmla="*/ 1215 h 1215"/>
                  <a:gd name="T6" fmla="*/ 422 w 1013"/>
                  <a:gd name="T7" fmla="*/ 1131 h 1215"/>
                  <a:gd name="T8" fmla="*/ 422 w 1013"/>
                  <a:gd name="T9" fmla="*/ 85 h 1215"/>
                  <a:gd name="T10" fmla="*/ 506 w 1013"/>
                  <a:gd name="T11" fmla="*/ 0 h 1215"/>
                  <a:gd name="T12" fmla="*/ 506 w 1013"/>
                  <a:gd name="T13" fmla="*/ 0 h 1215"/>
                  <a:gd name="T14" fmla="*/ 590 w 1013"/>
                  <a:gd name="T15" fmla="*/ 85 h 1215"/>
                  <a:gd name="T16" fmla="*/ 590 w 1013"/>
                  <a:gd name="T17" fmla="*/ 1131 h 1215"/>
                  <a:gd name="T18" fmla="*/ 341 w 1013"/>
                  <a:gd name="T19" fmla="*/ 105 h 1215"/>
                  <a:gd name="T20" fmla="*/ 277 w 1013"/>
                  <a:gd name="T21" fmla="*/ 41 h 1215"/>
                  <a:gd name="T22" fmla="*/ 277 w 1013"/>
                  <a:gd name="T23" fmla="*/ 41 h 1215"/>
                  <a:gd name="T24" fmla="*/ 213 w 1013"/>
                  <a:gd name="T25" fmla="*/ 105 h 1215"/>
                  <a:gd name="T26" fmla="*/ 213 w 1013"/>
                  <a:gd name="T27" fmla="*/ 618 h 1215"/>
                  <a:gd name="T28" fmla="*/ 277 w 1013"/>
                  <a:gd name="T29" fmla="*/ 682 h 1215"/>
                  <a:gd name="T30" fmla="*/ 277 w 1013"/>
                  <a:gd name="T31" fmla="*/ 682 h 1215"/>
                  <a:gd name="T32" fmla="*/ 341 w 1013"/>
                  <a:gd name="T33" fmla="*/ 618 h 1215"/>
                  <a:gd name="T34" fmla="*/ 341 w 1013"/>
                  <a:gd name="T35" fmla="*/ 105 h 1215"/>
                  <a:gd name="T36" fmla="*/ 128 w 1013"/>
                  <a:gd name="T37" fmla="*/ 196 h 1215"/>
                  <a:gd name="T38" fmla="*/ 64 w 1013"/>
                  <a:gd name="T39" fmla="*/ 132 h 1215"/>
                  <a:gd name="T40" fmla="*/ 64 w 1013"/>
                  <a:gd name="T41" fmla="*/ 132 h 1215"/>
                  <a:gd name="T42" fmla="*/ 0 w 1013"/>
                  <a:gd name="T43" fmla="*/ 196 h 1215"/>
                  <a:gd name="T44" fmla="*/ 0 w 1013"/>
                  <a:gd name="T45" fmla="*/ 709 h 1215"/>
                  <a:gd name="T46" fmla="*/ 64 w 1013"/>
                  <a:gd name="T47" fmla="*/ 773 h 1215"/>
                  <a:gd name="T48" fmla="*/ 64 w 1013"/>
                  <a:gd name="T49" fmla="*/ 773 h 1215"/>
                  <a:gd name="T50" fmla="*/ 128 w 1013"/>
                  <a:gd name="T51" fmla="*/ 709 h 1215"/>
                  <a:gd name="T52" fmla="*/ 128 w 1013"/>
                  <a:gd name="T53" fmla="*/ 196 h 1215"/>
                  <a:gd name="T54" fmla="*/ 672 w 1013"/>
                  <a:gd name="T55" fmla="*/ 618 h 1215"/>
                  <a:gd name="T56" fmla="*/ 736 w 1013"/>
                  <a:gd name="T57" fmla="*/ 682 h 1215"/>
                  <a:gd name="T58" fmla="*/ 736 w 1013"/>
                  <a:gd name="T59" fmla="*/ 682 h 1215"/>
                  <a:gd name="T60" fmla="*/ 800 w 1013"/>
                  <a:gd name="T61" fmla="*/ 618 h 1215"/>
                  <a:gd name="T62" fmla="*/ 800 w 1013"/>
                  <a:gd name="T63" fmla="*/ 105 h 1215"/>
                  <a:gd name="T64" fmla="*/ 736 w 1013"/>
                  <a:gd name="T65" fmla="*/ 41 h 1215"/>
                  <a:gd name="T66" fmla="*/ 736 w 1013"/>
                  <a:gd name="T67" fmla="*/ 41 h 1215"/>
                  <a:gd name="T68" fmla="*/ 672 w 1013"/>
                  <a:gd name="T69" fmla="*/ 105 h 1215"/>
                  <a:gd name="T70" fmla="*/ 672 w 1013"/>
                  <a:gd name="T71" fmla="*/ 618 h 1215"/>
                  <a:gd name="T72" fmla="*/ 885 w 1013"/>
                  <a:gd name="T73" fmla="*/ 709 h 1215"/>
                  <a:gd name="T74" fmla="*/ 949 w 1013"/>
                  <a:gd name="T75" fmla="*/ 773 h 1215"/>
                  <a:gd name="T76" fmla="*/ 949 w 1013"/>
                  <a:gd name="T77" fmla="*/ 773 h 1215"/>
                  <a:gd name="T78" fmla="*/ 1013 w 1013"/>
                  <a:gd name="T79" fmla="*/ 709 h 1215"/>
                  <a:gd name="T80" fmla="*/ 1013 w 1013"/>
                  <a:gd name="T81" fmla="*/ 196 h 1215"/>
                  <a:gd name="T82" fmla="*/ 949 w 1013"/>
                  <a:gd name="T83" fmla="*/ 132 h 1215"/>
                  <a:gd name="T84" fmla="*/ 949 w 1013"/>
                  <a:gd name="T85" fmla="*/ 132 h 1215"/>
                  <a:gd name="T86" fmla="*/ 885 w 1013"/>
                  <a:gd name="T87" fmla="*/ 196 h 1215"/>
                  <a:gd name="T88" fmla="*/ 885 w 1013"/>
                  <a:gd name="T89" fmla="*/ 709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3" h="1215">
                    <a:moveTo>
                      <a:pt x="590" y="1131"/>
                    </a:moveTo>
                    <a:cubicBezTo>
                      <a:pt x="590" y="1177"/>
                      <a:pt x="553" y="1215"/>
                      <a:pt x="506" y="1215"/>
                    </a:cubicBezTo>
                    <a:cubicBezTo>
                      <a:pt x="506" y="1215"/>
                      <a:pt x="506" y="1215"/>
                      <a:pt x="506" y="1215"/>
                    </a:cubicBezTo>
                    <a:cubicBezTo>
                      <a:pt x="460" y="1215"/>
                      <a:pt x="422" y="1177"/>
                      <a:pt x="422" y="1131"/>
                    </a:cubicBezTo>
                    <a:cubicBezTo>
                      <a:pt x="422" y="85"/>
                      <a:pt x="422" y="85"/>
                      <a:pt x="422" y="85"/>
                    </a:cubicBezTo>
                    <a:cubicBezTo>
                      <a:pt x="422" y="38"/>
                      <a:pt x="460" y="0"/>
                      <a:pt x="506" y="0"/>
                    </a:cubicBezTo>
                    <a:cubicBezTo>
                      <a:pt x="506" y="0"/>
                      <a:pt x="506" y="0"/>
                      <a:pt x="506" y="0"/>
                    </a:cubicBezTo>
                    <a:cubicBezTo>
                      <a:pt x="553" y="0"/>
                      <a:pt x="590" y="38"/>
                      <a:pt x="590" y="85"/>
                    </a:cubicBezTo>
                    <a:lnTo>
                      <a:pt x="590" y="1131"/>
                    </a:lnTo>
                    <a:close/>
                    <a:moveTo>
                      <a:pt x="341" y="105"/>
                    </a:moveTo>
                    <a:cubicBezTo>
                      <a:pt x="341" y="70"/>
                      <a:pt x="312" y="41"/>
                      <a:pt x="277" y="41"/>
                    </a:cubicBezTo>
                    <a:cubicBezTo>
                      <a:pt x="277" y="41"/>
                      <a:pt x="277" y="41"/>
                      <a:pt x="277" y="41"/>
                    </a:cubicBezTo>
                    <a:cubicBezTo>
                      <a:pt x="241" y="41"/>
                      <a:pt x="213" y="70"/>
                      <a:pt x="213" y="105"/>
                    </a:cubicBezTo>
                    <a:cubicBezTo>
                      <a:pt x="213" y="618"/>
                      <a:pt x="213" y="618"/>
                      <a:pt x="213" y="618"/>
                    </a:cubicBezTo>
                    <a:cubicBezTo>
                      <a:pt x="213" y="653"/>
                      <a:pt x="241" y="682"/>
                      <a:pt x="277" y="682"/>
                    </a:cubicBezTo>
                    <a:cubicBezTo>
                      <a:pt x="277" y="682"/>
                      <a:pt x="277" y="682"/>
                      <a:pt x="277" y="682"/>
                    </a:cubicBezTo>
                    <a:cubicBezTo>
                      <a:pt x="312" y="682"/>
                      <a:pt x="341" y="653"/>
                      <a:pt x="341" y="618"/>
                    </a:cubicBezTo>
                    <a:lnTo>
                      <a:pt x="341" y="105"/>
                    </a:lnTo>
                    <a:close/>
                    <a:moveTo>
                      <a:pt x="128" y="196"/>
                    </a:moveTo>
                    <a:cubicBezTo>
                      <a:pt x="128" y="161"/>
                      <a:pt x="99" y="132"/>
                      <a:pt x="64" y="132"/>
                    </a:cubicBezTo>
                    <a:cubicBezTo>
                      <a:pt x="64" y="132"/>
                      <a:pt x="64" y="132"/>
                      <a:pt x="64" y="132"/>
                    </a:cubicBezTo>
                    <a:cubicBezTo>
                      <a:pt x="28" y="132"/>
                      <a:pt x="0" y="161"/>
                      <a:pt x="0" y="196"/>
                    </a:cubicBezTo>
                    <a:cubicBezTo>
                      <a:pt x="0" y="709"/>
                      <a:pt x="0" y="709"/>
                      <a:pt x="0" y="709"/>
                    </a:cubicBezTo>
                    <a:cubicBezTo>
                      <a:pt x="0" y="744"/>
                      <a:pt x="28" y="773"/>
                      <a:pt x="64" y="773"/>
                    </a:cubicBezTo>
                    <a:cubicBezTo>
                      <a:pt x="64" y="773"/>
                      <a:pt x="64" y="773"/>
                      <a:pt x="64" y="773"/>
                    </a:cubicBezTo>
                    <a:cubicBezTo>
                      <a:pt x="99" y="773"/>
                      <a:pt x="128" y="744"/>
                      <a:pt x="128" y="709"/>
                    </a:cubicBezTo>
                    <a:lnTo>
                      <a:pt x="128" y="196"/>
                    </a:lnTo>
                    <a:close/>
                    <a:moveTo>
                      <a:pt x="672" y="618"/>
                    </a:moveTo>
                    <a:cubicBezTo>
                      <a:pt x="672" y="653"/>
                      <a:pt x="700" y="682"/>
                      <a:pt x="736" y="682"/>
                    </a:cubicBezTo>
                    <a:cubicBezTo>
                      <a:pt x="736" y="682"/>
                      <a:pt x="736" y="682"/>
                      <a:pt x="736" y="682"/>
                    </a:cubicBezTo>
                    <a:cubicBezTo>
                      <a:pt x="771" y="682"/>
                      <a:pt x="800" y="653"/>
                      <a:pt x="800" y="618"/>
                    </a:cubicBezTo>
                    <a:cubicBezTo>
                      <a:pt x="800" y="105"/>
                      <a:pt x="800" y="105"/>
                      <a:pt x="800" y="105"/>
                    </a:cubicBezTo>
                    <a:cubicBezTo>
                      <a:pt x="800" y="70"/>
                      <a:pt x="771" y="41"/>
                      <a:pt x="736" y="41"/>
                    </a:cubicBezTo>
                    <a:cubicBezTo>
                      <a:pt x="736" y="41"/>
                      <a:pt x="736" y="41"/>
                      <a:pt x="736" y="41"/>
                    </a:cubicBezTo>
                    <a:cubicBezTo>
                      <a:pt x="700" y="41"/>
                      <a:pt x="672" y="70"/>
                      <a:pt x="672" y="105"/>
                    </a:cubicBezTo>
                    <a:lnTo>
                      <a:pt x="672" y="618"/>
                    </a:lnTo>
                    <a:close/>
                    <a:moveTo>
                      <a:pt x="885" y="709"/>
                    </a:moveTo>
                    <a:cubicBezTo>
                      <a:pt x="885" y="744"/>
                      <a:pt x="913" y="773"/>
                      <a:pt x="949" y="773"/>
                    </a:cubicBezTo>
                    <a:cubicBezTo>
                      <a:pt x="949" y="773"/>
                      <a:pt x="949" y="773"/>
                      <a:pt x="949" y="773"/>
                    </a:cubicBezTo>
                    <a:cubicBezTo>
                      <a:pt x="984" y="773"/>
                      <a:pt x="1013" y="744"/>
                      <a:pt x="1013" y="709"/>
                    </a:cubicBezTo>
                    <a:cubicBezTo>
                      <a:pt x="1013" y="196"/>
                      <a:pt x="1013" y="196"/>
                      <a:pt x="1013" y="196"/>
                    </a:cubicBezTo>
                    <a:cubicBezTo>
                      <a:pt x="1013" y="161"/>
                      <a:pt x="984" y="132"/>
                      <a:pt x="949" y="132"/>
                    </a:cubicBezTo>
                    <a:cubicBezTo>
                      <a:pt x="949" y="132"/>
                      <a:pt x="949" y="132"/>
                      <a:pt x="949" y="132"/>
                    </a:cubicBezTo>
                    <a:cubicBezTo>
                      <a:pt x="913" y="132"/>
                      <a:pt x="885" y="161"/>
                      <a:pt x="885" y="196"/>
                    </a:cubicBezTo>
                    <a:lnTo>
                      <a:pt x="885" y="709"/>
                    </a:ln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sp>
        <p:nvSpPr>
          <p:cNvPr id="117" name="TextBox 116">
            <a:extLst>
              <a:ext uri="{FF2B5EF4-FFF2-40B4-BE49-F238E27FC236}">
                <a16:creationId xmlns:a16="http://schemas.microsoft.com/office/drawing/2014/main" id="{01402684-5065-4E9C-ABF8-A03B7BE970FD}"/>
              </a:ext>
            </a:extLst>
          </p:cNvPr>
          <p:cNvSpPr txBox="1"/>
          <p:nvPr/>
        </p:nvSpPr>
        <p:spPr>
          <a:xfrm>
            <a:off x="6875204" y="4527161"/>
            <a:ext cx="2688058" cy="332399"/>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2853DC"/>
                </a:solidFill>
                <a:effectLst/>
                <a:uLnTx/>
                <a:uFillTx/>
                <a:latin typeface="Microsoft Sans Serif"/>
                <a:ea typeface="+mn-ea"/>
                <a:cs typeface="+mn-cs"/>
              </a:rPr>
              <a:t>Dynamic switching between broadcast and unicast, e.g., SC-PTM</a:t>
            </a:r>
            <a:r>
              <a:rPr kumimoji="0" lang="en-US" sz="1200" b="0" i="0" u="none" strike="noStrike" kern="1200" cap="none" spc="0" normalizeH="0" baseline="30000" noProof="0">
                <a:ln>
                  <a:noFill/>
                </a:ln>
                <a:solidFill>
                  <a:srgbClr val="2853DC"/>
                </a:solidFill>
                <a:effectLst/>
                <a:uLnTx/>
                <a:uFillTx/>
                <a:latin typeface="Microsoft Sans Serif"/>
                <a:ea typeface="+mn-ea"/>
                <a:cs typeface="+mn-cs"/>
              </a:rPr>
              <a:t>1</a:t>
            </a:r>
            <a:endParaRPr kumimoji="0" lang="en-US" sz="1200" b="0" i="0" u="none" strike="noStrike" kern="1200" cap="none" spc="0" normalizeH="0" baseline="0" noProof="0">
              <a:ln>
                <a:noFill/>
              </a:ln>
              <a:solidFill>
                <a:srgbClr val="2853DC"/>
              </a:solidFill>
              <a:effectLst/>
              <a:uLnTx/>
              <a:uFillTx/>
              <a:latin typeface="Microsoft Sans Serif"/>
              <a:ea typeface="+mn-ea"/>
              <a:cs typeface="+mn-cs"/>
            </a:endParaRPr>
          </a:p>
        </p:txBody>
      </p:sp>
      <p:sp>
        <p:nvSpPr>
          <p:cNvPr id="118" name="Freeform: Shape 117">
            <a:extLst>
              <a:ext uri="{FF2B5EF4-FFF2-40B4-BE49-F238E27FC236}">
                <a16:creationId xmlns:a16="http://schemas.microsoft.com/office/drawing/2014/main" id="{E5FAC529-BBAB-4793-914F-2968725E27BC}"/>
              </a:ext>
            </a:extLst>
          </p:cNvPr>
          <p:cNvSpPr/>
          <p:nvPr/>
        </p:nvSpPr>
        <p:spPr>
          <a:xfrm>
            <a:off x="7354871" y="3357957"/>
            <a:ext cx="732918" cy="902201"/>
          </a:xfrm>
          <a:custGeom>
            <a:avLst/>
            <a:gdLst>
              <a:gd name="connsiteX0" fmla="*/ 0 w 566057"/>
              <a:gd name="connsiteY0" fmla="*/ 0 h 870857"/>
              <a:gd name="connsiteX1" fmla="*/ 283029 w 566057"/>
              <a:gd name="connsiteY1" fmla="*/ 195943 h 870857"/>
              <a:gd name="connsiteX2" fmla="*/ 435429 w 566057"/>
              <a:gd name="connsiteY2" fmla="*/ 696686 h 870857"/>
              <a:gd name="connsiteX3" fmla="*/ 566057 w 566057"/>
              <a:gd name="connsiteY3" fmla="*/ 870857 h 870857"/>
              <a:gd name="connsiteX0" fmla="*/ 0 w 566057"/>
              <a:gd name="connsiteY0" fmla="*/ 0 h 870857"/>
              <a:gd name="connsiteX1" fmla="*/ 206221 w 566057"/>
              <a:gd name="connsiteY1" fmla="*/ 291769 h 870857"/>
              <a:gd name="connsiteX2" fmla="*/ 435429 w 566057"/>
              <a:gd name="connsiteY2" fmla="*/ 696686 h 870857"/>
              <a:gd name="connsiteX3" fmla="*/ 566057 w 566057"/>
              <a:gd name="connsiteY3" fmla="*/ 870857 h 870857"/>
              <a:gd name="connsiteX0" fmla="*/ 0 w 566057"/>
              <a:gd name="connsiteY0" fmla="*/ 0 h 870857"/>
              <a:gd name="connsiteX1" fmla="*/ 206221 w 566057"/>
              <a:gd name="connsiteY1" fmla="*/ 291769 h 870857"/>
              <a:gd name="connsiteX2" fmla="*/ 341553 w 566057"/>
              <a:gd name="connsiteY2" fmla="*/ 754182 h 870857"/>
              <a:gd name="connsiteX3" fmla="*/ 566057 w 566057"/>
              <a:gd name="connsiteY3" fmla="*/ 870857 h 870857"/>
              <a:gd name="connsiteX0" fmla="*/ 0 w 574591"/>
              <a:gd name="connsiteY0" fmla="*/ 0 h 795566"/>
              <a:gd name="connsiteX1" fmla="*/ 206221 w 574591"/>
              <a:gd name="connsiteY1" fmla="*/ 291769 h 795566"/>
              <a:gd name="connsiteX2" fmla="*/ 341553 w 574591"/>
              <a:gd name="connsiteY2" fmla="*/ 754182 h 795566"/>
              <a:gd name="connsiteX3" fmla="*/ 574591 w 574591"/>
              <a:gd name="connsiteY3" fmla="*/ 794196 h 795566"/>
              <a:gd name="connsiteX0" fmla="*/ 0 w 574591"/>
              <a:gd name="connsiteY0" fmla="*/ 0 h 794196"/>
              <a:gd name="connsiteX1" fmla="*/ 206221 w 574591"/>
              <a:gd name="connsiteY1" fmla="*/ 291769 h 794196"/>
              <a:gd name="connsiteX2" fmla="*/ 367155 w 574591"/>
              <a:gd name="connsiteY2" fmla="*/ 696686 h 794196"/>
              <a:gd name="connsiteX3" fmla="*/ 574591 w 574591"/>
              <a:gd name="connsiteY3" fmla="*/ 794196 h 794196"/>
            </a:gdLst>
            <a:ahLst/>
            <a:cxnLst>
              <a:cxn ang="0">
                <a:pos x="connsiteX0" y="connsiteY0"/>
              </a:cxn>
              <a:cxn ang="0">
                <a:pos x="connsiteX1" y="connsiteY1"/>
              </a:cxn>
              <a:cxn ang="0">
                <a:pos x="connsiteX2" y="connsiteY2"/>
              </a:cxn>
              <a:cxn ang="0">
                <a:pos x="connsiteX3" y="connsiteY3"/>
              </a:cxn>
            </a:cxnLst>
            <a:rect l="l" t="t" r="r" b="b"/>
            <a:pathLst>
              <a:path w="574591" h="794196">
                <a:moveTo>
                  <a:pt x="0" y="0"/>
                </a:moveTo>
                <a:cubicBezTo>
                  <a:pt x="105229" y="39914"/>
                  <a:pt x="145029" y="175655"/>
                  <a:pt x="206221" y="291769"/>
                </a:cubicBezTo>
                <a:cubicBezTo>
                  <a:pt x="267413" y="407883"/>
                  <a:pt x="305760" y="612948"/>
                  <a:pt x="367155" y="696686"/>
                </a:cubicBezTo>
                <a:cubicBezTo>
                  <a:pt x="428550" y="780424"/>
                  <a:pt x="532862" y="763353"/>
                  <a:pt x="574591" y="794196"/>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icrosoft Sans Serif"/>
              <a:ea typeface="+mn-ea"/>
              <a:cs typeface="+mn-cs"/>
            </a:endParaRPr>
          </a:p>
        </p:txBody>
      </p:sp>
      <p:grpSp>
        <p:nvGrpSpPr>
          <p:cNvPr id="156" name="Group 155">
            <a:extLst>
              <a:ext uri="{FF2B5EF4-FFF2-40B4-BE49-F238E27FC236}">
                <a16:creationId xmlns:a16="http://schemas.microsoft.com/office/drawing/2014/main" id="{F47147DB-9745-4224-A23B-B2F2E34D15DA}"/>
              </a:ext>
            </a:extLst>
          </p:cNvPr>
          <p:cNvGrpSpPr/>
          <p:nvPr/>
        </p:nvGrpSpPr>
        <p:grpSpPr>
          <a:xfrm>
            <a:off x="9506396" y="3028391"/>
            <a:ext cx="412626" cy="255643"/>
            <a:chOff x="16516350" y="0"/>
            <a:chExt cx="11074400" cy="6861175"/>
          </a:xfrm>
        </p:grpSpPr>
        <p:sp>
          <p:nvSpPr>
            <p:cNvPr id="167" name="Freeform 5">
              <a:extLst>
                <a:ext uri="{FF2B5EF4-FFF2-40B4-BE49-F238E27FC236}">
                  <a16:creationId xmlns:a16="http://schemas.microsoft.com/office/drawing/2014/main" id="{B98C4994-2E0C-49C1-B5E2-B49CD6536AFB}"/>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8" name="Freeform 6">
              <a:extLst>
                <a:ext uri="{FF2B5EF4-FFF2-40B4-BE49-F238E27FC236}">
                  <a16:creationId xmlns:a16="http://schemas.microsoft.com/office/drawing/2014/main" id="{F5D21956-3F7F-4738-A5E6-AD72EB52F431}"/>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9" name="Freeform 7">
              <a:extLst>
                <a:ext uri="{FF2B5EF4-FFF2-40B4-BE49-F238E27FC236}">
                  <a16:creationId xmlns:a16="http://schemas.microsoft.com/office/drawing/2014/main" id="{31647AB4-9A60-427E-81AD-737B15EA14FE}"/>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70" name="Freeform 8">
              <a:extLst>
                <a:ext uri="{FF2B5EF4-FFF2-40B4-BE49-F238E27FC236}">
                  <a16:creationId xmlns:a16="http://schemas.microsoft.com/office/drawing/2014/main" id="{8D8CEC23-37A4-4F71-9879-FCE399F5BC8D}"/>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57" name="Group 156">
            <a:extLst>
              <a:ext uri="{FF2B5EF4-FFF2-40B4-BE49-F238E27FC236}">
                <a16:creationId xmlns:a16="http://schemas.microsoft.com/office/drawing/2014/main" id="{0CE8F4D9-A069-4947-A6D6-8D59E8CB50B4}"/>
              </a:ext>
            </a:extLst>
          </p:cNvPr>
          <p:cNvGrpSpPr/>
          <p:nvPr/>
        </p:nvGrpSpPr>
        <p:grpSpPr>
          <a:xfrm>
            <a:off x="9260450" y="3361342"/>
            <a:ext cx="412626" cy="255643"/>
            <a:chOff x="16516350" y="0"/>
            <a:chExt cx="11074400" cy="6861175"/>
          </a:xfrm>
        </p:grpSpPr>
        <p:sp>
          <p:nvSpPr>
            <p:cNvPr id="163" name="Freeform 5">
              <a:extLst>
                <a:ext uri="{FF2B5EF4-FFF2-40B4-BE49-F238E27FC236}">
                  <a16:creationId xmlns:a16="http://schemas.microsoft.com/office/drawing/2014/main" id="{86AB15AC-7EED-4014-9CC4-11984FAEBC6D}"/>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4" name="Freeform 6">
              <a:extLst>
                <a:ext uri="{FF2B5EF4-FFF2-40B4-BE49-F238E27FC236}">
                  <a16:creationId xmlns:a16="http://schemas.microsoft.com/office/drawing/2014/main" id="{C1F19F74-19F7-4D6B-B7AB-052AA05F826A}"/>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5" name="Freeform 7">
              <a:extLst>
                <a:ext uri="{FF2B5EF4-FFF2-40B4-BE49-F238E27FC236}">
                  <a16:creationId xmlns:a16="http://schemas.microsoft.com/office/drawing/2014/main" id="{89691CEA-FE15-4BB3-8793-1D7D5EFE76BB}"/>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6" name="Freeform 8">
              <a:extLst>
                <a:ext uri="{FF2B5EF4-FFF2-40B4-BE49-F238E27FC236}">
                  <a16:creationId xmlns:a16="http://schemas.microsoft.com/office/drawing/2014/main" id="{68274EA2-750F-42A3-A0FC-1AF9ECB1F796}"/>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58" name="Group 157">
            <a:extLst>
              <a:ext uri="{FF2B5EF4-FFF2-40B4-BE49-F238E27FC236}">
                <a16:creationId xmlns:a16="http://schemas.microsoft.com/office/drawing/2014/main" id="{44359AED-31FB-4D26-BB9E-7EEF236E0094}"/>
              </a:ext>
            </a:extLst>
          </p:cNvPr>
          <p:cNvGrpSpPr/>
          <p:nvPr/>
        </p:nvGrpSpPr>
        <p:grpSpPr>
          <a:xfrm>
            <a:off x="9752342" y="3361342"/>
            <a:ext cx="412626" cy="255643"/>
            <a:chOff x="16516350" y="0"/>
            <a:chExt cx="11074400" cy="6861175"/>
          </a:xfrm>
        </p:grpSpPr>
        <p:sp>
          <p:nvSpPr>
            <p:cNvPr id="159" name="Freeform 5">
              <a:extLst>
                <a:ext uri="{FF2B5EF4-FFF2-40B4-BE49-F238E27FC236}">
                  <a16:creationId xmlns:a16="http://schemas.microsoft.com/office/drawing/2014/main" id="{B41088C2-D738-4E3F-B4F2-A06CE9776BAE}"/>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0" name="Freeform 6">
              <a:extLst>
                <a:ext uri="{FF2B5EF4-FFF2-40B4-BE49-F238E27FC236}">
                  <a16:creationId xmlns:a16="http://schemas.microsoft.com/office/drawing/2014/main" id="{4C22C56D-AC4D-4905-BE55-3ADB8DCA3F23}"/>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1" name="Freeform 7">
              <a:extLst>
                <a:ext uri="{FF2B5EF4-FFF2-40B4-BE49-F238E27FC236}">
                  <a16:creationId xmlns:a16="http://schemas.microsoft.com/office/drawing/2014/main" id="{6C848E5A-145A-4ED1-AD64-24ACCFD8AB5B}"/>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62" name="Freeform 8">
              <a:extLst>
                <a:ext uri="{FF2B5EF4-FFF2-40B4-BE49-F238E27FC236}">
                  <a16:creationId xmlns:a16="http://schemas.microsoft.com/office/drawing/2014/main" id="{A1A6D6D7-F627-40CC-879B-EDD9BDC005B9}"/>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21" name="Group 120">
            <a:extLst>
              <a:ext uri="{FF2B5EF4-FFF2-40B4-BE49-F238E27FC236}">
                <a16:creationId xmlns:a16="http://schemas.microsoft.com/office/drawing/2014/main" id="{77A3DA02-481B-4C58-8194-921DEFEF63B5}"/>
              </a:ext>
            </a:extLst>
          </p:cNvPr>
          <p:cNvGrpSpPr>
            <a:grpSpLocks noChangeAspect="1"/>
          </p:cNvGrpSpPr>
          <p:nvPr/>
        </p:nvGrpSpPr>
        <p:grpSpPr>
          <a:xfrm>
            <a:off x="9837063" y="4152976"/>
            <a:ext cx="246841" cy="457574"/>
            <a:chOff x="5434013" y="2201863"/>
            <a:chExt cx="1323975" cy="2454275"/>
          </a:xfrm>
        </p:grpSpPr>
        <p:sp>
          <p:nvSpPr>
            <p:cNvPr id="154" name="Freeform 5">
              <a:extLst>
                <a:ext uri="{FF2B5EF4-FFF2-40B4-BE49-F238E27FC236}">
                  <a16:creationId xmlns:a16="http://schemas.microsoft.com/office/drawing/2014/main" id="{9D5740F3-9699-4493-B0E9-1D730F43510E}"/>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55" name="Freeform: Shape 15">
              <a:extLst>
                <a:ext uri="{FF2B5EF4-FFF2-40B4-BE49-F238E27FC236}">
                  <a16:creationId xmlns:a16="http://schemas.microsoft.com/office/drawing/2014/main" id="{BF77DC51-14F1-4061-A477-5F2D6D7EDE85}"/>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122" name="Group 121">
            <a:extLst>
              <a:ext uri="{FF2B5EF4-FFF2-40B4-BE49-F238E27FC236}">
                <a16:creationId xmlns:a16="http://schemas.microsoft.com/office/drawing/2014/main" id="{CB58FBD1-F72F-4289-BC80-E5B4C7888D55}"/>
              </a:ext>
            </a:extLst>
          </p:cNvPr>
          <p:cNvGrpSpPr>
            <a:grpSpLocks noChangeAspect="1"/>
          </p:cNvGrpSpPr>
          <p:nvPr/>
        </p:nvGrpSpPr>
        <p:grpSpPr>
          <a:xfrm>
            <a:off x="10124616" y="4152976"/>
            <a:ext cx="246841" cy="457574"/>
            <a:chOff x="5434013" y="2201863"/>
            <a:chExt cx="1323975" cy="2454275"/>
          </a:xfrm>
        </p:grpSpPr>
        <p:sp>
          <p:nvSpPr>
            <p:cNvPr id="152" name="Freeform 5">
              <a:extLst>
                <a:ext uri="{FF2B5EF4-FFF2-40B4-BE49-F238E27FC236}">
                  <a16:creationId xmlns:a16="http://schemas.microsoft.com/office/drawing/2014/main" id="{D9399F81-18A6-45F1-B643-B301F75A8776}"/>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53" name="Freeform: Shape 15">
              <a:extLst>
                <a:ext uri="{FF2B5EF4-FFF2-40B4-BE49-F238E27FC236}">
                  <a16:creationId xmlns:a16="http://schemas.microsoft.com/office/drawing/2014/main" id="{0B1283DE-93B4-40EA-A8E0-9A306B0008F6}"/>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grpSp>
        <p:nvGrpSpPr>
          <p:cNvPr id="123" name="Group 122">
            <a:extLst>
              <a:ext uri="{FF2B5EF4-FFF2-40B4-BE49-F238E27FC236}">
                <a16:creationId xmlns:a16="http://schemas.microsoft.com/office/drawing/2014/main" id="{3BBF93F1-592C-4E3C-9795-05CB8630870B}"/>
              </a:ext>
            </a:extLst>
          </p:cNvPr>
          <p:cNvGrpSpPr>
            <a:grpSpLocks noChangeAspect="1"/>
          </p:cNvGrpSpPr>
          <p:nvPr/>
        </p:nvGrpSpPr>
        <p:grpSpPr>
          <a:xfrm>
            <a:off x="10412170" y="4152976"/>
            <a:ext cx="246841" cy="457574"/>
            <a:chOff x="5434013" y="2201863"/>
            <a:chExt cx="1323975" cy="2454275"/>
          </a:xfrm>
        </p:grpSpPr>
        <p:sp>
          <p:nvSpPr>
            <p:cNvPr id="150" name="Freeform 5">
              <a:extLst>
                <a:ext uri="{FF2B5EF4-FFF2-40B4-BE49-F238E27FC236}">
                  <a16:creationId xmlns:a16="http://schemas.microsoft.com/office/drawing/2014/main" id="{EF94FE5C-FAB1-4097-8B05-AF7BBFA2DDB3}"/>
                </a:ext>
              </a:extLst>
            </p:cNvPr>
            <p:cNvSpPr>
              <a:spLocks/>
            </p:cNvSpPr>
            <p:nvPr/>
          </p:nvSpPr>
          <p:spPr bwMode="auto">
            <a:xfrm>
              <a:off x="5434013" y="2201863"/>
              <a:ext cx="1323975" cy="2454275"/>
            </a:xfrm>
            <a:custGeom>
              <a:avLst/>
              <a:gdLst>
                <a:gd name="T0" fmla="*/ 7527 w 8000"/>
                <a:gd name="T1" fmla="*/ 14889 h 14889"/>
                <a:gd name="T2" fmla="*/ 485 w 8000"/>
                <a:gd name="T3" fmla="*/ 14889 h 14889"/>
                <a:gd name="T4" fmla="*/ 0 w 8000"/>
                <a:gd name="T5" fmla="*/ 14419 h 14889"/>
                <a:gd name="T6" fmla="*/ 0 w 8000"/>
                <a:gd name="T7" fmla="*/ 470 h 14889"/>
                <a:gd name="T8" fmla="*/ 485 w 8000"/>
                <a:gd name="T9" fmla="*/ 0 h 14889"/>
                <a:gd name="T10" fmla="*/ 7527 w 8000"/>
                <a:gd name="T11" fmla="*/ 0 h 14889"/>
                <a:gd name="T12" fmla="*/ 8000 w 8000"/>
                <a:gd name="T13" fmla="*/ 470 h 14889"/>
                <a:gd name="T14" fmla="*/ 8000 w 8000"/>
                <a:gd name="T15" fmla="*/ 14419 h 14889"/>
                <a:gd name="T16" fmla="*/ 7527 w 8000"/>
                <a:gd name="T17" fmla="*/ 14889 h 1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0" h="14889">
                  <a:moveTo>
                    <a:pt x="7527" y="14889"/>
                  </a:moveTo>
                  <a:cubicBezTo>
                    <a:pt x="485" y="14889"/>
                    <a:pt x="485" y="14889"/>
                    <a:pt x="485" y="14889"/>
                  </a:cubicBezTo>
                  <a:cubicBezTo>
                    <a:pt x="224" y="14889"/>
                    <a:pt x="0" y="14679"/>
                    <a:pt x="0" y="14419"/>
                  </a:cubicBezTo>
                  <a:cubicBezTo>
                    <a:pt x="0" y="470"/>
                    <a:pt x="0" y="470"/>
                    <a:pt x="0" y="470"/>
                  </a:cubicBezTo>
                  <a:cubicBezTo>
                    <a:pt x="0" y="210"/>
                    <a:pt x="224" y="0"/>
                    <a:pt x="485" y="0"/>
                  </a:cubicBezTo>
                  <a:cubicBezTo>
                    <a:pt x="7527" y="0"/>
                    <a:pt x="7527" y="0"/>
                    <a:pt x="7527" y="0"/>
                  </a:cubicBezTo>
                  <a:cubicBezTo>
                    <a:pt x="7788" y="0"/>
                    <a:pt x="8000" y="210"/>
                    <a:pt x="8000" y="470"/>
                  </a:cubicBezTo>
                  <a:cubicBezTo>
                    <a:pt x="8000" y="14419"/>
                    <a:pt x="8000" y="14419"/>
                    <a:pt x="8000" y="14419"/>
                  </a:cubicBezTo>
                  <a:cubicBezTo>
                    <a:pt x="8000" y="14679"/>
                    <a:pt x="7788" y="14889"/>
                    <a:pt x="7527" y="1488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sp>
          <p:nvSpPr>
            <p:cNvPr id="151" name="Freeform: Shape 15">
              <a:extLst>
                <a:ext uri="{FF2B5EF4-FFF2-40B4-BE49-F238E27FC236}">
                  <a16:creationId xmlns:a16="http://schemas.microsoft.com/office/drawing/2014/main" id="{BFFBD468-2438-48BA-B958-15347A09BDD2}"/>
                </a:ext>
              </a:extLst>
            </p:cNvPr>
            <p:cNvSpPr>
              <a:spLocks/>
            </p:cNvSpPr>
            <p:nvPr/>
          </p:nvSpPr>
          <p:spPr bwMode="auto">
            <a:xfrm>
              <a:off x="5518151" y="2286001"/>
              <a:ext cx="1155700" cy="2239963"/>
            </a:xfrm>
            <a:custGeom>
              <a:avLst/>
              <a:gdLst>
                <a:gd name="connsiteX0" fmla="*/ 453942 w 1155700"/>
                <a:gd name="connsiteY0" fmla="*/ 2159000 h 2239963"/>
                <a:gd name="connsiteX1" fmla="*/ 701592 w 1155700"/>
                <a:gd name="connsiteY1" fmla="*/ 2159000 h 2239963"/>
                <a:gd name="connsiteX2" fmla="*/ 742950 w 1155700"/>
                <a:gd name="connsiteY2" fmla="*/ 2199482 h 2239963"/>
                <a:gd name="connsiteX3" fmla="*/ 701592 w 1155700"/>
                <a:gd name="connsiteY3" fmla="*/ 2239963 h 2239963"/>
                <a:gd name="connsiteX4" fmla="*/ 453942 w 1155700"/>
                <a:gd name="connsiteY4" fmla="*/ 2239963 h 2239963"/>
                <a:gd name="connsiteX5" fmla="*/ 412750 w 1155700"/>
                <a:gd name="connsiteY5" fmla="*/ 2199482 h 2239963"/>
                <a:gd name="connsiteX6" fmla="*/ 453942 w 1155700"/>
                <a:gd name="connsiteY6" fmla="*/ 2159000 h 2239963"/>
                <a:gd name="connsiteX7" fmla="*/ 39059 w 1155700"/>
                <a:gd name="connsiteY7" fmla="*/ 0 h 2239963"/>
                <a:gd name="connsiteX8" fmla="*/ 1116642 w 1155700"/>
                <a:gd name="connsiteY8" fmla="*/ 0 h 2239963"/>
                <a:gd name="connsiteX9" fmla="*/ 1155700 w 1155700"/>
                <a:gd name="connsiteY9" fmla="*/ 38549 h 2239963"/>
                <a:gd name="connsiteX10" fmla="*/ 1155700 w 1155700"/>
                <a:gd name="connsiteY10" fmla="*/ 1996626 h 2239963"/>
                <a:gd name="connsiteX11" fmla="*/ 1116642 w 1155700"/>
                <a:gd name="connsiteY11" fmla="*/ 2035175 h 2239963"/>
                <a:gd name="connsiteX12" fmla="*/ 39059 w 1155700"/>
                <a:gd name="connsiteY12" fmla="*/ 2035175 h 2239963"/>
                <a:gd name="connsiteX13" fmla="*/ 0 w 1155700"/>
                <a:gd name="connsiteY13" fmla="*/ 1996626 h 2239963"/>
                <a:gd name="connsiteX14" fmla="*/ 0 w 1155700"/>
                <a:gd name="connsiteY14" fmla="*/ 38549 h 2239963"/>
                <a:gd name="connsiteX15" fmla="*/ 39059 w 1155700"/>
                <a:gd name="connsiteY15" fmla="*/ 0 h 223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5700" h="2239963">
                  <a:moveTo>
                    <a:pt x="453942" y="2159000"/>
                  </a:moveTo>
                  <a:cubicBezTo>
                    <a:pt x="701592" y="2159000"/>
                    <a:pt x="701592" y="2159000"/>
                    <a:pt x="701592" y="2159000"/>
                  </a:cubicBezTo>
                  <a:cubicBezTo>
                    <a:pt x="724347" y="2159000"/>
                    <a:pt x="742950" y="2177102"/>
                    <a:pt x="742950" y="2199482"/>
                  </a:cubicBezTo>
                  <a:cubicBezTo>
                    <a:pt x="742950" y="2221697"/>
                    <a:pt x="724347" y="2239963"/>
                    <a:pt x="701592" y="2239963"/>
                  </a:cubicBezTo>
                  <a:cubicBezTo>
                    <a:pt x="453942" y="2239963"/>
                    <a:pt x="453942" y="2239963"/>
                    <a:pt x="453942" y="2239963"/>
                  </a:cubicBezTo>
                  <a:cubicBezTo>
                    <a:pt x="431187" y="2239963"/>
                    <a:pt x="412750" y="2221697"/>
                    <a:pt x="412750" y="2199482"/>
                  </a:cubicBezTo>
                  <a:cubicBezTo>
                    <a:pt x="412750" y="2177102"/>
                    <a:pt x="431187" y="2159000"/>
                    <a:pt x="453942" y="2159000"/>
                  </a:cubicBezTo>
                  <a:close/>
                  <a:moveTo>
                    <a:pt x="39059" y="0"/>
                  </a:moveTo>
                  <a:cubicBezTo>
                    <a:pt x="39059" y="0"/>
                    <a:pt x="39059" y="0"/>
                    <a:pt x="1116642" y="0"/>
                  </a:cubicBezTo>
                  <a:cubicBezTo>
                    <a:pt x="1139315" y="0"/>
                    <a:pt x="1155700" y="18286"/>
                    <a:pt x="1155700" y="38549"/>
                  </a:cubicBezTo>
                  <a:cubicBezTo>
                    <a:pt x="1155700" y="38549"/>
                    <a:pt x="1155700" y="38549"/>
                    <a:pt x="1155700" y="1996626"/>
                  </a:cubicBezTo>
                  <a:cubicBezTo>
                    <a:pt x="1155700" y="2016889"/>
                    <a:pt x="1139315" y="2035175"/>
                    <a:pt x="1116642" y="2035175"/>
                  </a:cubicBezTo>
                  <a:cubicBezTo>
                    <a:pt x="1116642" y="2035175"/>
                    <a:pt x="1116642" y="2035175"/>
                    <a:pt x="39059" y="2035175"/>
                  </a:cubicBezTo>
                  <a:cubicBezTo>
                    <a:pt x="16550" y="2035175"/>
                    <a:pt x="0" y="2016889"/>
                    <a:pt x="0" y="1996626"/>
                  </a:cubicBezTo>
                  <a:cubicBezTo>
                    <a:pt x="0" y="1996626"/>
                    <a:pt x="0" y="1996626"/>
                    <a:pt x="0" y="38549"/>
                  </a:cubicBezTo>
                  <a:cubicBezTo>
                    <a:pt x="0" y="18286"/>
                    <a:pt x="16550" y="0"/>
                    <a:pt x="39059"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icrosoft Sans Serif"/>
                <a:ea typeface="+mn-ea"/>
                <a:cs typeface="+mn-cs"/>
              </a:endParaRPr>
            </a:p>
          </p:txBody>
        </p:sp>
      </p:grpSp>
      <p:sp>
        <p:nvSpPr>
          <p:cNvPr id="124" name="Freeform 19">
            <a:extLst>
              <a:ext uri="{FF2B5EF4-FFF2-40B4-BE49-F238E27FC236}">
                <a16:creationId xmlns:a16="http://schemas.microsoft.com/office/drawing/2014/main" id="{1E10ECCD-240E-46EA-BF09-6F4ABD98DBE9}"/>
              </a:ext>
            </a:extLst>
          </p:cNvPr>
          <p:cNvSpPr>
            <a:spLocks/>
          </p:cNvSpPr>
          <p:nvPr/>
        </p:nvSpPr>
        <p:spPr bwMode="auto">
          <a:xfrm>
            <a:off x="9579742" y="3733091"/>
            <a:ext cx="265935" cy="394001"/>
          </a:xfrm>
          <a:custGeom>
            <a:avLst/>
            <a:gdLst>
              <a:gd name="T0" fmla="*/ 1681 w 1913"/>
              <a:gd name="T1" fmla="*/ 2831 h 2832"/>
              <a:gd name="T2" fmla="*/ 1543 w 1913"/>
              <a:gd name="T3" fmla="*/ 2774 h 2832"/>
              <a:gd name="T4" fmla="*/ 31 w 1913"/>
              <a:gd name="T5" fmla="*/ 287 h 2832"/>
              <a:gd name="T6" fmla="*/ 173 w 1913"/>
              <a:gd name="T7" fmla="*/ 31 h 2832"/>
              <a:gd name="T8" fmla="*/ 428 w 1913"/>
              <a:gd name="T9" fmla="*/ 173 h 2832"/>
              <a:gd name="T10" fmla="*/ 1827 w 1913"/>
              <a:gd name="T11" fmla="*/ 2475 h 2832"/>
              <a:gd name="T12" fmla="*/ 1835 w 1913"/>
              <a:gd name="T13" fmla="*/ 2767 h 2832"/>
              <a:gd name="T14" fmla="*/ 1681 w 1913"/>
              <a:gd name="T15" fmla="*/ 2831 h 28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3" h="2832">
                <a:moveTo>
                  <a:pt x="1681" y="2831"/>
                </a:moveTo>
                <a:cubicBezTo>
                  <a:pt x="1631" y="2830"/>
                  <a:pt x="1582" y="2811"/>
                  <a:pt x="1543" y="2774"/>
                </a:cubicBezTo>
                <a:cubicBezTo>
                  <a:pt x="825" y="2093"/>
                  <a:pt x="302" y="1233"/>
                  <a:pt x="31" y="287"/>
                </a:cubicBezTo>
                <a:cubicBezTo>
                  <a:pt x="0" y="177"/>
                  <a:pt x="63" y="63"/>
                  <a:pt x="173" y="31"/>
                </a:cubicBezTo>
                <a:cubicBezTo>
                  <a:pt x="283" y="0"/>
                  <a:pt x="397" y="63"/>
                  <a:pt x="428" y="173"/>
                </a:cubicBezTo>
                <a:cubicBezTo>
                  <a:pt x="679" y="1048"/>
                  <a:pt x="1162" y="1844"/>
                  <a:pt x="1827" y="2475"/>
                </a:cubicBezTo>
                <a:cubicBezTo>
                  <a:pt x="1910" y="2553"/>
                  <a:pt x="1913" y="2684"/>
                  <a:pt x="1835" y="2767"/>
                </a:cubicBezTo>
                <a:cubicBezTo>
                  <a:pt x="1793" y="2811"/>
                  <a:pt x="1737" y="2832"/>
                  <a:pt x="1681" y="28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25" name="Freeform 20">
            <a:extLst>
              <a:ext uri="{FF2B5EF4-FFF2-40B4-BE49-F238E27FC236}">
                <a16:creationId xmlns:a16="http://schemas.microsoft.com/office/drawing/2014/main" id="{081D3F2A-6696-4E6E-ABA5-7822021C004B}"/>
              </a:ext>
            </a:extLst>
          </p:cNvPr>
          <p:cNvSpPr>
            <a:spLocks/>
          </p:cNvSpPr>
          <p:nvPr/>
        </p:nvSpPr>
        <p:spPr bwMode="auto">
          <a:xfrm>
            <a:off x="10664828" y="3733091"/>
            <a:ext cx="265935" cy="394001"/>
          </a:xfrm>
          <a:custGeom>
            <a:avLst/>
            <a:gdLst>
              <a:gd name="T0" fmla="*/ 233 w 1914"/>
              <a:gd name="T1" fmla="*/ 2831 h 2832"/>
              <a:gd name="T2" fmla="*/ 371 w 1914"/>
              <a:gd name="T3" fmla="*/ 2774 h 2832"/>
              <a:gd name="T4" fmla="*/ 1882 w 1914"/>
              <a:gd name="T5" fmla="*/ 287 h 2832"/>
              <a:gd name="T6" fmla="*/ 1741 w 1914"/>
              <a:gd name="T7" fmla="*/ 31 h 2832"/>
              <a:gd name="T8" fmla="*/ 1486 w 1914"/>
              <a:gd name="T9" fmla="*/ 173 h 2832"/>
              <a:gd name="T10" fmla="*/ 87 w 1914"/>
              <a:gd name="T11" fmla="*/ 2475 h 2832"/>
              <a:gd name="T12" fmla="*/ 79 w 1914"/>
              <a:gd name="T13" fmla="*/ 2767 h 2832"/>
              <a:gd name="T14" fmla="*/ 233 w 1914"/>
              <a:gd name="T15" fmla="*/ 2831 h 28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4" h="2832">
                <a:moveTo>
                  <a:pt x="233" y="2831"/>
                </a:moveTo>
                <a:cubicBezTo>
                  <a:pt x="283" y="2830"/>
                  <a:pt x="332" y="2811"/>
                  <a:pt x="371" y="2774"/>
                </a:cubicBezTo>
                <a:cubicBezTo>
                  <a:pt x="1089" y="2093"/>
                  <a:pt x="1612" y="1233"/>
                  <a:pt x="1882" y="287"/>
                </a:cubicBezTo>
                <a:cubicBezTo>
                  <a:pt x="1914" y="177"/>
                  <a:pt x="1850" y="63"/>
                  <a:pt x="1741" y="31"/>
                </a:cubicBezTo>
                <a:cubicBezTo>
                  <a:pt x="1631" y="0"/>
                  <a:pt x="1517" y="63"/>
                  <a:pt x="1486" y="173"/>
                </a:cubicBezTo>
                <a:cubicBezTo>
                  <a:pt x="1235" y="1048"/>
                  <a:pt x="751" y="1844"/>
                  <a:pt x="87" y="2475"/>
                </a:cubicBezTo>
                <a:cubicBezTo>
                  <a:pt x="4" y="2553"/>
                  <a:pt x="0" y="2684"/>
                  <a:pt x="79" y="2767"/>
                </a:cubicBezTo>
                <a:cubicBezTo>
                  <a:pt x="121" y="2811"/>
                  <a:pt x="177" y="2832"/>
                  <a:pt x="233" y="28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26" name="Freeform 21">
            <a:extLst>
              <a:ext uri="{FF2B5EF4-FFF2-40B4-BE49-F238E27FC236}">
                <a16:creationId xmlns:a16="http://schemas.microsoft.com/office/drawing/2014/main" id="{3BFC802B-8089-4E85-B6E8-93BA5FC06438}"/>
              </a:ext>
            </a:extLst>
          </p:cNvPr>
          <p:cNvSpPr>
            <a:spLocks/>
          </p:cNvSpPr>
          <p:nvPr/>
        </p:nvSpPr>
        <p:spPr bwMode="auto">
          <a:xfrm>
            <a:off x="10026814" y="2937593"/>
            <a:ext cx="451687" cy="95760"/>
          </a:xfrm>
          <a:custGeom>
            <a:avLst/>
            <a:gdLst>
              <a:gd name="T0" fmla="*/ 3206 w 3247"/>
              <a:gd name="T1" fmla="*/ 348 h 689"/>
              <a:gd name="T2" fmla="*/ 3086 w 3247"/>
              <a:gd name="T3" fmla="*/ 260 h 689"/>
              <a:gd name="T4" fmla="*/ 175 w 3247"/>
              <a:gd name="T5" fmla="*/ 260 h 689"/>
              <a:gd name="T6" fmla="*/ 30 w 3247"/>
              <a:gd name="T7" fmla="*/ 514 h 689"/>
              <a:gd name="T8" fmla="*/ 284 w 3247"/>
              <a:gd name="T9" fmla="*/ 658 h 689"/>
              <a:gd name="T10" fmla="*/ 2978 w 3247"/>
              <a:gd name="T11" fmla="*/ 658 h 689"/>
              <a:gd name="T12" fmla="*/ 3231 w 3247"/>
              <a:gd name="T13" fmla="*/ 513 h 689"/>
              <a:gd name="T14" fmla="*/ 3206 w 3247"/>
              <a:gd name="T15" fmla="*/ 348 h 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47" h="689">
                <a:moveTo>
                  <a:pt x="3206" y="348"/>
                </a:moveTo>
                <a:cubicBezTo>
                  <a:pt x="3179" y="306"/>
                  <a:pt x="3138" y="274"/>
                  <a:pt x="3086" y="260"/>
                </a:cubicBezTo>
                <a:cubicBezTo>
                  <a:pt x="2131" y="0"/>
                  <a:pt x="1124" y="0"/>
                  <a:pt x="175" y="260"/>
                </a:cubicBezTo>
                <a:cubicBezTo>
                  <a:pt x="65" y="290"/>
                  <a:pt x="0" y="404"/>
                  <a:pt x="30" y="514"/>
                </a:cubicBezTo>
                <a:cubicBezTo>
                  <a:pt x="60" y="624"/>
                  <a:pt x="174" y="689"/>
                  <a:pt x="284" y="658"/>
                </a:cubicBezTo>
                <a:cubicBezTo>
                  <a:pt x="1162" y="418"/>
                  <a:pt x="2094" y="418"/>
                  <a:pt x="2978" y="658"/>
                </a:cubicBezTo>
                <a:cubicBezTo>
                  <a:pt x="3088" y="688"/>
                  <a:pt x="3201" y="624"/>
                  <a:pt x="3231" y="513"/>
                </a:cubicBezTo>
                <a:cubicBezTo>
                  <a:pt x="3247" y="455"/>
                  <a:pt x="3236" y="396"/>
                  <a:pt x="3206" y="3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27" name="Freeform 4">
            <a:extLst>
              <a:ext uri="{FF2B5EF4-FFF2-40B4-BE49-F238E27FC236}">
                <a16:creationId xmlns:a16="http://schemas.microsoft.com/office/drawing/2014/main" id="{9785602C-11C4-496D-BF37-EA0BA22510E4}"/>
              </a:ext>
            </a:extLst>
          </p:cNvPr>
          <p:cNvSpPr>
            <a:spLocks noChangeAspect="1"/>
          </p:cNvSpPr>
          <p:nvPr/>
        </p:nvSpPr>
        <p:spPr bwMode="auto">
          <a:xfrm>
            <a:off x="9869694" y="4276913"/>
            <a:ext cx="179627" cy="179552"/>
          </a:xfrm>
          <a:custGeom>
            <a:avLst/>
            <a:gdLst>
              <a:gd name="T0" fmla="*/ 1176 w 1216"/>
              <a:gd name="T1" fmla="*/ 406 h 1216"/>
              <a:gd name="T2" fmla="*/ 810 w 1216"/>
              <a:gd name="T3" fmla="*/ 406 h 1216"/>
              <a:gd name="T4" fmla="*/ 810 w 1216"/>
              <a:gd name="T5" fmla="*/ 40 h 1216"/>
              <a:gd name="T6" fmla="*/ 770 w 1216"/>
              <a:gd name="T7" fmla="*/ 0 h 1216"/>
              <a:gd name="T8" fmla="*/ 446 w 1216"/>
              <a:gd name="T9" fmla="*/ 0 h 1216"/>
              <a:gd name="T10" fmla="*/ 406 w 1216"/>
              <a:gd name="T11" fmla="*/ 40 h 1216"/>
              <a:gd name="T12" fmla="*/ 406 w 1216"/>
              <a:gd name="T13" fmla="*/ 406 h 1216"/>
              <a:gd name="T14" fmla="*/ 40 w 1216"/>
              <a:gd name="T15" fmla="*/ 406 h 1216"/>
              <a:gd name="T16" fmla="*/ 0 w 1216"/>
              <a:gd name="T17" fmla="*/ 446 h 1216"/>
              <a:gd name="T18" fmla="*/ 0 w 1216"/>
              <a:gd name="T19" fmla="*/ 770 h 1216"/>
              <a:gd name="T20" fmla="*/ 40 w 1216"/>
              <a:gd name="T21" fmla="*/ 810 h 1216"/>
              <a:gd name="T22" fmla="*/ 406 w 1216"/>
              <a:gd name="T23" fmla="*/ 810 h 1216"/>
              <a:gd name="T24" fmla="*/ 406 w 1216"/>
              <a:gd name="T25" fmla="*/ 1176 h 1216"/>
              <a:gd name="T26" fmla="*/ 446 w 1216"/>
              <a:gd name="T27" fmla="*/ 1216 h 1216"/>
              <a:gd name="T28" fmla="*/ 770 w 1216"/>
              <a:gd name="T29" fmla="*/ 1216 h 1216"/>
              <a:gd name="T30" fmla="*/ 810 w 1216"/>
              <a:gd name="T31" fmla="*/ 1176 h 1216"/>
              <a:gd name="T32" fmla="*/ 810 w 1216"/>
              <a:gd name="T33" fmla="*/ 810 h 1216"/>
              <a:gd name="T34" fmla="*/ 1176 w 1216"/>
              <a:gd name="T35" fmla="*/ 810 h 1216"/>
              <a:gd name="T36" fmla="*/ 1216 w 1216"/>
              <a:gd name="T37" fmla="*/ 770 h 1216"/>
              <a:gd name="T38" fmla="*/ 1216 w 1216"/>
              <a:gd name="T39" fmla="*/ 446 h 1216"/>
              <a:gd name="T40" fmla="*/ 1176 w 1216"/>
              <a:gd name="T41" fmla="*/ 40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1216">
                <a:moveTo>
                  <a:pt x="1176" y="406"/>
                </a:moveTo>
                <a:cubicBezTo>
                  <a:pt x="810" y="406"/>
                  <a:pt x="810" y="406"/>
                  <a:pt x="810" y="406"/>
                </a:cubicBezTo>
                <a:cubicBezTo>
                  <a:pt x="810" y="40"/>
                  <a:pt x="810" y="40"/>
                  <a:pt x="810" y="40"/>
                </a:cubicBezTo>
                <a:cubicBezTo>
                  <a:pt x="810" y="18"/>
                  <a:pt x="792" y="0"/>
                  <a:pt x="770" y="0"/>
                </a:cubicBezTo>
                <a:cubicBezTo>
                  <a:pt x="446" y="0"/>
                  <a:pt x="446" y="0"/>
                  <a:pt x="446" y="0"/>
                </a:cubicBezTo>
                <a:cubicBezTo>
                  <a:pt x="424" y="0"/>
                  <a:pt x="406" y="18"/>
                  <a:pt x="406" y="40"/>
                </a:cubicBezTo>
                <a:cubicBezTo>
                  <a:pt x="406" y="406"/>
                  <a:pt x="406" y="406"/>
                  <a:pt x="406" y="406"/>
                </a:cubicBezTo>
                <a:cubicBezTo>
                  <a:pt x="40" y="406"/>
                  <a:pt x="40" y="406"/>
                  <a:pt x="40" y="406"/>
                </a:cubicBezTo>
                <a:cubicBezTo>
                  <a:pt x="18" y="406"/>
                  <a:pt x="0" y="424"/>
                  <a:pt x="0" y="446"/>
                </a:cubicBezTo>
                <a:cubicBezTo>
                  <a:pt x="0" y="770"/>
                  <a:pt x="0" y="770"/>
                  <a:pt x="0" y="770"/>
                </a:cubicBezTo>
                <a:cubicBezTo>
                  <a:pt x="0" y="792"/>
                  <a:pt x="18" y="810"/>
                  <a:pt x="40" y="810"/>
                </a:cubicBezTo>
                <a:cubicBezTo>
                  <a:pt x="406" y="810"/>
                  <a:pt x="406" y="810"/>
                  <a:pt x="406" y="810"/>
                </a:cubicBezTo>
                <a:cubicBezTo>
                  <a:pt x="406" y="1176"/>
                  <a:pt x="406" y="1176"/>
                  <a:pt x="406" y="1176"/>
                </a:cubicBezTo>
                <a:cubicBezTo>
                  <a:pt x="406" y="1198"/>
                  <a:pt x="424" y="1216"/>
                  <a:pt x="446" y="1216"/>
                </a:cubicBezTo>
                <a:cubicBezTo>
                  <a:pt x="770" y="1216"/>
                  <a:pt x="770" y="1216"/>
                  <a:pt x="770" y="1216"/>
                </a:cubicBezTo>
                <a:cubicBezTo>
                  <a:pt x="792" y="1216"/>
                  <a:pt x="810" y="1198"/>
                  <a:pt x="810" y="1176"/>
                </a:cubicBezTo>
                <a:cubicBezTo>
                  <a:pt x="810" y="810"/>
                  <a:pt x="810" y="810"/>
                  <a:pt x="810" y="810"/>
                </a:cubicBezTo>
                <a:cubicBezTo>
                  <a:pt x="1176" y="810"/>
                  <a:pt x="1176" y="810"/>
                  <a:pt x="1176" y="810"/>
                </a:cubicBezTo>
                <a:cubicBezTo>
                  <a:pt x="1198" y="810"/>
                  <a:pt x="1216" y="792"/>
                  <a:pt x="1216" y="770"/>
                </a:cubicBezTo>
                <a:cubicBezTo>
                  <a:pt x="1216" y="446"/>
                  <a:pt x="1216" y="446"/>
                  <a:pt x="1216" y="446"/>
                </a:cubicBezTo>
                <a:cubicBezTo>
                  <a:pt x="1216" y="424"/>
                  <a:pt x="1198" y="406"/>
                  <a:pt x="1176" y="406"/>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28" name="Freeform 4">
            <a:extLst>
              <a:ext uri="{FF2B5EF4-FFF2-40B4-BE49-F238E27FC236}">
                <a16:creationId xmlns:a16="http://schemas.microsoft.com/office/drawing/2014/main" id="{797D4545-A77C-468C-B8A3-67DF300CB155}"/>
              </a:ext>
            </a:extLst>
          </p:cNvPr>
          <p:cNvSpPr>
            <a:spLocks noChangeAspect="1"/>
          </p:cNvSpPr>
          <p:nvPr/>
        </p:nvSpPr>
        <p:spPr bwMode="auto">
          <a:xfrm>
            <a:off x="10155967" y="4276913"/>
            <a:ext cx="179627" cy="179552"/>
          </a:xfrm>
          <a:custGeom>
            <a:avLst/>
            <a:gdLst>
              <a:gd name="T0" fmla="*/ 1176 w 1216"/>
              <a:gd name="T1" fmla="*/ 406 h 1216"/>
              <a:gd name="T2" fmla="*/ 810 w 1216"/>
              <a:gd name="T3" fmla="*/ 406 h 1216"/>
              <a:gd name="T4" fmla="*/ 810 w 1216"/>
              <a:gd name="T5" fmla="*/ 40 h 1216"/>
              <a:gd name="T6" fmla="*/ 770 w 1216"/>
              <a:gd name="T7" fmla="*/ 0 h 1216"/>
              <a:gd name="T8" fmla="*/ 446 w 1216"/>
              <a:gd name="T9" fmla="*/ 0 h 1216"/>
              <a:gd name="T10" fmla="*/ 406 w 1216"/>
              <a:gd name="T11" fmla="*/ 40 h 1216"/>
              <a:gd name="T12" fmla="*/ 406 w 1216"/>
              <a:gd name="T13" fmla="*/ 406 h 1216"/>
              <a:gd name="T14" fmla="*/ 40 w 1216"/>
              <a:gd name="T15" fmla="*/ 406 h 1216"/>
              <a:gd name="T16" fmla="*/ 0 w 1216"/>
              <a:gd name="T17" fmla="*/ 446 h 1216"/>
              <a:gd name="T18" fmla="*/ 0 w 1216"/>
              <a:gd name="T19" fmla="*/ 770 h 1216"/>
              <a:gd name="T20" fmla="*/ 40 w 1216"/>
              <a:gd name="T21" fmla="*/ 810 h 1216"/>
              <a:gd name="T22" fmla="*/ 406 w 1216"/>
              <a:gd name="T23" fmla="*/ 810 h 1216"/>
              <a:gd name="T24" fmla="*/ 406 w 1216"/>
              <a:gd name="T25" fmla="*/ 1176 h 1216"/>
              <a:gd name="T26" fmla="*/ 446 w 1216"/>
              <a:gd name="T27" fmla="*/ 1216 h 1216"/>
              <a:gd name="T28" fmla="*/ 770 w 1216"/>
              <a:gd name="T29" fmla="*/ 1216 h 1216"/>
              <a:gd name="T30" fmla="*/ 810 w 1216"/>
              <a:gd name="T31" fmla="*/ 1176 h 1216"/>
              <a:gd name="T32" fmla="*/ 810 w 1216"/>
              <a:gd name="T33" fmla="*/ 810 h 1216"/>
              <a:gd name="T34" fmla="*/ 1176 w 1216"/>
              <a:gd name="T35" fmla="*/ 810 h 1216"/>
              <a:gd name="T36" fmla="*/ 1216 w 1216"/>
              <a:gd name="T37" fmla="*/ 770 h 1216"/>
              <a:gd name="T38" fmla="*/ 1216 w 1216"/>
              <a:gd name="T39" fmla="*/ 446 h 1216"/>
              <a:gd name="T40" fmla="*/ 1176 w 1216"/>
              <a:gd name="T41" fmla="*/ 40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1216">
                <a:moveTo>
                  <a:pt x="1176" y="406"/>
                </a:moveTo>
                <a:cubicBezTo>
                  <a:pt x="810" y="406"/>
                  <a:pt x="810" y="406"/>
                  <a:pt x="810" y="406"/>
                </a:cubicBezTo>
                <a:cubicBezTo>
                  <a:pt x="810" y="40"/>
                  <a:pt x="810" y="40"/>
                  <a:pt x="810" y="40"/>
                </a:cubicBezTo>
                <a:cubicBezTo>
                  <a:pt x="810" y="18"/>
                  <a:pt x="792" y="0"/>
                  <a:pt x="770" y="0"/>
                </a:cubicBezTo>
                <a:cubicBezTo>
                  <a:pt x="446" y="0"/>
                  <a:pt x="446" y="0"/>
                  <a:pt x="446" y="0"/>
                </a:cubicBezTo>
                <a:cubicBezTo>
                  <a:pt x="424" y="0"/>
                  <a:pt x="406" y="18"/>
                  <a:pt x="406" y="40"/>
                </a:cubicBezTo>
                <a:cubicBezTo>
                  <a:pt x="406" y="406"/>
                  <a:pt x="406" y="406"/>
                  <a:pt x="406" y="406"/>
                </a:cubicBezTo>
                <a:cubicBezTo>
                  <a:pt x="40" y="406"/>
                  <a:pt x="40" y="406"/>
                  <a:pt x="40" y="406"/>
                </a:cubicBezTo>
                <a:cubicBezTo>
                  <a:pt x="18" y="406"/>
                  <a:pt x="0" y="424"/>
                  <a:pt x="0" y="446"/>
                </a:cubicBezTo>
                <a:cubicBezTo>
                  <a:pt x="0" y="770"/>
                  <a:pt x="0" y="770"/>
                  <a:pt x="0" y="770"/>
                </a:cubicBezTo>
                <a:cubicBezTo>
                  <a:pt x="0" y="792"/>
                  <a:pt x="18" y="810"/>
                  <a:pt x="40" y="810"/>
                </a:cubicBezTo>
                <a:cubicBezTo>
                  <a:pt x="406" y="810"/>
                  <a:pt x="406" y="810"/>
                  <a:pt x="406" y="810"/>
                </a:cubicBezTo>
                <a:cubicBezTo>
                  <a:pt x="406" y="1176"/>
                  <a:pt x="406" y="1176"/>
                  <a:pt x="406" y="1176"/>
                </a:cubicBezTo>
                <a:cubicBezTo>
                  <a:pt x="406" y="1198"/>
                  <a:pt x="424" y="1216"/>
                  <a:pt x="446" y="1216"/>
                </a:cubicBezTo>
                <a:cubicBezTo>
                  <a:pt x="770" y="1216"/>
                  <a:pt x="770" y="1216"/>
                  <a:pt x="770" y="1216"/>
                </a:cubicBezTo>
                <a:cubicBezTo>
                  <a:pt x="792" y="1216"/>
                  <a:pt x="810" y="1198"/>
                  <a:pt x="810" y="1176"/>
                </a:cubicBezTo>
                <a:cubicBezTo>
                  <a:pt x="810" y="810"/>
                  <a:pt x="810" y="810"/>
                  <a:pt x="810" y="810"/>
                </a:cubicBezTo>
                <a:cubicBezTo>
                  <a:pt x="1176" y="810"/>
                  <a:pt x="1176" y="810"/>
                  <a:pt x="1176" y="810"/>
                </a:cubicBezTo>
                <a:cubicBezTo>
                  <a:pt x="1198" y="810"/>
                  <a:pt x="1216" y="792"/>
                  <a:pt x="1216" y="770"/>
                </a:cubicBezTo>
                <a:cubicBezTo>
                  <a:pt x="1216" y="446"/>
                  <a:pt x="1216" y="446"/>
                  <a:pt x="1216" y="446"/>
                </a:cubicBezTo>
                <a:cubicBezTo>
                  <a:pt x="1216" y="424"/>
                  <a:pt x="1198" y="406"/>
                  <a:pt x="1176" y="406"/>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sp>
        <p:nvSpPr>
          <p:cNvPr id="129" name="Freeform 4">
            <a:extLst>
              <a:ext uri="{FF2B5EF4-FFF2-40B4-BE49-F238E27FC236}">
                <a16:creationId xmlns:a16="http://schemas.microsoft.com/office/drawing/2014/main" id="{10894FDE-FAAB-4615-AFC3-C95782CC335F}"/>
              </a:ext>
            </a:extLst>
          </p:cNvPr>
          <p:cNvSpPr>
            <a:spLocks noChangeAspect="1"/>
          </p:cNvSpPr>
          <p:nvPr/>
        </p:nvSpPr>
        <p:spPr bwMode="auto">
          <a:xfrm>
            <a:off x="10449496" y="4276913"/>
            <a:ext cx="179627" cy="179552"/>
          </a:xfrm>
          <a:custGeom>
            <a:avLst/>
            <a:gdLst>
              <a:gd name="T0" fmla="*/ 1176 w 1216"/>
              <a:gd name="T1" fmla="*/ 406 h 1216"/>
              <a:gd name="T2" fmla="*/ 810 w 1216"/>
              <a:gd name="T3" fmla="*/ 406 h 1216"/>
              <a:gd name="T4" fmla="*/ 810 w 1216"/>
              <a:gd name="T5" fmla="*/ 40 h 1216"/>
              <a:gd name="T6" fmla="*/ 770 w 1216"/>
              <a:gd name="T7" fmla="*/ 0 h 1216"/>
              <a:gd name="T8" fmla="*/ 446 w 1216"/>
              <a:gd name="T9" fmla="*/ 0 h 1216"/>
              <a:gd name="T10" fmla="*/ 406 w 1216"/>
              <a:gd name="T11" fmla="*/ 40 h 1216"/>
              <a:gd name="T12" fmla="*/ 406 w 1216"/>
              <a:gd name="T13" fmla="*/ 406 h 1216"/>
              <a:gd name="T14" fmla="*/ 40 w 1216"/>
              <a:gd name="T15" fmla="*/ 406 h 1216"/>
              <a:gd name="T16" fmla="*/ 0 w 1216"/>
              <a:gd name="T17" fmla="*/ 446 h 1216"/>
              <a:gd name="T18" fmla="*/ 0 w 1216"/>
              <a:gd name="T19" fmla="*/ 770 h 1216"/>
              <a:gd name="T20" fmla="*/ 40 w 1216"/>
              <a:gd name="T21" fmla="*/ 810 h 1216"/>
              <a:gd name="T22" fmla="*/ 406 w 1216"/>
              <a:gd name="T23" fmla="*/ 810 h 1216"/>
              <a:gd name="T24" fmla="*/ 406 w 1216"/>
              <a:gd name="T25" fmla="*/ 1176 h 1216"/>
              <a:gd name="T26" fmla="*/ 446 w 1216"/>
              <a:gd name="T27" fmla="*/ 1216 h 1216"/>
              <a:gd name="T28" fmla="*/ 770 w 1216"/>
              <a:gd name="T29" fmla="*/ 1216 h 1216"/>
              <a:gd name="T30" fmla="*/ 810 w 1216"/>
              <a:gd name="T31" fmla="*/ 1176 h 1216"/>
              <a:gd name="T32" fmla="*/ 810 w 1216"/>
              <a:gd name="T33" fmla="*/ 810 h 1216"/>
              <a:gd name="T34" fmla="*/ 1176 w 1216"/>
              <a:gd name="T35" fmla="*/ 810 h 1216"/>
              <a:gd name="T36" fmla="*/ 1216 w 1216"/>
              <a:gd name="T37" fmla="*/ 770 h 1216"/>
              <a:gd name="T38" fmla="*/ 1216 w 1216"/>
              <a:gd name="T39" fmla="*/ 446 h 1216"/>
              <a:gd name="T40" fmla="*/ 1176 w 1216"/>
              <a:gd name="T41" fmla="*/ 40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6" h="1216">
                <a:moveTo>
                  <a:pt x="1176" y="406"/>
                </a:moveTo>
                <a:cubicBezTo>
                  <a:pt x="810" y="406"/>
                  <a:pt x="810" y="406"/>
                  <a:pt x="810" y="406"/>
                </a:cubicBezTo>
                <a:cubicBezTo>
                  <a:pt x="810" y="40"/>
                  <a:pt x="810" y="40"/>
                  <a:pt x="810" y="40"/>
                </a:cubicBezTo>
                <a:cubicBezTo>
                  <a:pt x="810" y="18"/>
                  <a:pt x="792" y="0"/>
                  <a:pt x="770" y="0"/>
                </a:cubicBezTo>
                <a:cubicBezTo>
                  <a:pt x="446" y="0"/>
                  <a:pt x="446" y="0"/>
                  <a:pt x="446" y="0"/>
                </a:cubicBezTo>
                <a:cubicBezTo>
                  <a:pt x="424" y="0"/>
                  <a:pt x="406" y="18"/>
                  <a:pt x="406" y="40"/>
                </a:cubicBezTo>
                <a:cubicBezTo>
                  <a:pt x="406" y="406"/>
                  <a:pt x="406" y="406"/>
                  <a:pt x="406" y="406"/>
                </a:cubicBezTo>
                <a:cubicBezTo>
                  <a:pt x="40" y="406"/>
                  <a:pt x="40" y="406"/>
                  <a:pt x="40" y="406"/>
                </a:cubicBezTo>
                <a:cubicBezTo>
                  <a:pt x="18" y="406"/>
                  <a:pt x="0" y="424"/>
                  <a:pt x="0" y="446"/>
                </a:cubicBezTo>
                <a:cubicBezTo>
                  <a:pt x="0" y="770"/>
                  <a:pt x="0" y="770"/>
                  <a:pt x="0" y="770"/>
                </a:cubicBezTo>
                <a:cubicBezTo>
                  <a:pt x="0" y="792"/>
                  <a:pt x="18" y="810"/>
                  <a:pt x="40" y="810"/>
                </a:cubicBezTo>
                <a:cubicBezTo>
                  <a:pt x="406" y="810"/>
                  <a:pt x="406" y="810"/>
                  <a:pt x="406" y="810"/>
                </a:cubicBezTo>
                <a:cubicBezTo>
                  <a:pt x="406" y="1176"/>
                  <a:pt x="406" y="1176"/>
                  <a:pt x="406" y="1176"/>
                </a:cubicBezTo>
                <a:cubicBezTo>
                  <a:pt x="406" y="1198"/>
                  <a:pt x="424" y="1216"/>
                  <a:pt x="446" y="1216"/>
                </a:cubicBezTo>
                <a:cubicBezTo>
                  <a:pt x="770" y="1216"/>
                  <a:pt x="770" y="1216"/>
                  <a:pt x="770" y="1216"/>
                </a:cubicBezTo>
                <a:cubicBezTo>
                  <a:pt x="792" y="1216"/>
                  <a:pt x="810" y="1198"/>
                  <a:pt x="810" y="1176"/>
                </a:cubicBezTo>
                <a:cubicBezTo>
                  <a:pt x="810" y="810"/>
                  <a:pt x="810" y="810"/>
                  <a:pt x="810" y="810"/>
                </a:cubicBezTo>
                <a:cubicBezTo>
                  <a:pt x="1176" y="810"/>
                  <a:pt x="1176" y="810"/>
                  <a:pt x="1176" y="810"/>
                </a:cubicBezTo>
                <a:cubicBezTo>
                  <a:pt x="1198" y="810"/>
                  <a:pt x="1216" y="792"/>
                  <a:pt x="1216" y="770"/>
                </a:cubicBezTo>
                <a:cubicBezTo>
                  <a:pt x="1216" y="446"/>
                  <a:pt x="1216" y="446"/>
                  <a:pt x="1216" y="446"/>
                </a:cubicBezTo>
                <a:cubicBezTo>
                  <a:pt x="1216" y="424"/>
                  <a:pt x="1198" y="406"/>
                  <a:pt x="1176" y="406"/>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nvGrpSpPr>
          <p:cNvPr id="130" name="Group 129">
            <a:extLst>
              <a:ext uri="{FF2B5EF4-FFF2-40B4-BE49-F238E27FC236}">
                <a16:creationId xmlns:a16="http://schemas.microsoft.com/office/drawing/2014/main" id="{65B12708-0640-48E4-B11E-7D2E4FAA6E08}"/>
              </a:ext>
            </a:extLst>
          </p:cNvPr>
          <p:cNvGrpSpPr/>
          <p:nvPr/>
        </p:nvGrpSpPr>
        <p:grpSpPr>
          <a:xfrm>
            <a:off x="10983002" y="2894675"/>
            <a:ext cx="249989" cy="354658"/>
            <a:chOff x="6911903" y="1228430"/>
            <a:chExt cx="618756" cy="877824"/>
          </a:xfrm>
        </p:grpSpPr>
        <p:sp>
          <p:nvSpPr>
            <p:cNvPr id="146" name="Freeform 25">
              <a:extLst>
                <a:ext uri="{FF2B5EF4-FFF2-40B4-BE49-F238E27FC236}">
                  <a16:creationId xmlns:a16="http://schemas.microsoft.com/office/drawing/2014/main" id="{CF98DB8C-FE7D-43C5-9AE4-294A6776F41D}"/>
                </a:ext>
              </a:extLst>
            </p:cNvPr>
            <p:cNvSpPr>
              <a:spLocks/>
            </p:cNvSpPr>
            <p:nvPr/>
          </p:nvSpPr>
          <p:spPr bwMode="auto">
            <a:xfrm>
              <a:off x="6991504" y="1228430"/>
              <a:ext cx="419228" cy="877824"/>
            </a:xfrm>
            <a:custGeom>
              <a:avLst/>
              <a:gdLst>
                <a:gd name="T0" fmla="*/ 1593 w 1637"/>
                <a:gd name="T1" fmla="*/ 916 h 3451"/>
                <a:gd name="T2" fmla="*/ 1430 w 1637"/>
                <a:gd name="T3" fmla="*/ 619 h 3451"/>
                <a:gd name="T4" fmla="*/ 1332 w 1637"/>
                <a:gd name="T5" fmla="*/ 70 h 3451"/>
                <a:gd name="T6" fmla="*/ 1244 w 1637"/>
                <a:gd name="T7" fmla="*/ 0 h 3451"/>
                <a:gd name="T8" fmla="*/ 393 w 1637"/>
                <a:gd name="T9" fmla="*/ 0 h 3451"/>
                <a:gd name="T10" fmla="*/ 305 w 1637"/>
                <a:gd name="T11" fmla="*/ 70 h 3451"/>
                <a:gd name="T12" fmla="*/ 207 w 1637"/>
                <a:gd name="T13" fmla="*/ 619 h 3451"/>
                <a:gd name="T14" fmla="*/ 44 w 1637"/>
                <a:gd name="T15" fmla="*/ 916 h 3451"/>
                <a:gd name="T16" fmla="*/ 0 w 1637"/>
                <a:gd name="T17" fmla="*/ 1016 h 3451"/>
                <a:gd name="T18" fmla="*/ 0 w 1637"/>
                <a:gd name="T19" fmla="*/ 2436 h 3451"/>
                <a:gd name="T20" fmla="*/ 44 w 1637"/>
                <a:gd name="T21" fmla="*/ 2536 h 3451"/>
                <a:gd name="T22" fmla="*/ 207 w 1637"/>
                <a:gd name="T23" fmla="*/ 2833 h 3451"/>
                <a:gd name="T24" fmla="*/ 305 w 1637"/>
                <a:gd name="T25" fmla="*/ 3382 h 3451"/>
                <a:gd name="T26" fmla="*/ 393 w 1637"/>
                <a:gd name="T27" fmla="*/ 3451 h 3451"/>
                <a:gd name="T28" fmla="*/ 1244 w 1637"/>
                <a:gd name="T29" fmla="*/ 3451 h 3451"/>
                <a:gd name="T30" fmla="*/ 1332 w 1637"/>
                <a:gd name="T31" fmla="*/ 3382 h 3451"/>
                <a:gd name="T32" fmla="*/ 1430 w 1637"/>
                <a:gd name="T33" fmla="*/ 2833 h 3451"/>
                <a:gd name="T34" fmla="*/ 1593 w 1637"/>
                <a:gd name="T35" fmla="*/ 2536 h 3451"/>
                <a:gd name="T36" fmla="*/ 1637 w 1637"/>
                <a:gd name="T37" fmla="*/ 2436 h 3451"/>
                <a:gd name="T38" fmla="*/ 1637 w 1637"/>
                <a:gd name="T39" fmla="*/ 1016 h 3451"/>
                <a:gd name="T40" fmla="*/ 1593 w 1637"/>
                <a:gd name="T41" fmla="*/ 916 h 3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7" h="3451">
                  <a:moveTo>
                    <a:pt x="1593" y="916"/>
                  </a:moveTo>
                  <a:cubicBezTo>
                    <a:pt x="1570" y="886"/>
                    <a:pt x="1516" y="794"/>
                    <a:pt x="1430" y="619"/>
                  </a:cubicBezTo>
                  <a:cubicBezTo>
                    <a:pt x="1373" y="499"/>
                    <a:pt x="1347" y="114"/>
                    <a:pt x="1332" y="70"/>
                  </a:cubicBezTo>
                  <a:cubicBezTo>
                    <a:pt x="1319" y="28"/>
                    <a:pt x="1283" y="0"/>
                    <a:pt x="1244" y="0"/>
                  </a:cubicBezTo>
                  <a:cubicBezTo>
                    <a:pt x="393" y="0"/>
                    <a:pt x="393" y="0"/>
                    <a:pt x="393" y="0"/>
                  </a:cubicBezTo>
                  <a:cubicBezTo>
                    <a:pt x="354" y="0"/>
                    <a:pt x="318" y="28"/>
                    <a:pt x="305" y="70"/>
                  </a:cubicBezTo>
                  <a:cubicBezTo>
                    <a:pt x="290" y="114"/>
                    <a:pt x="264" y="499"/>
                    <a:pt x="207" y="619"/>
                  </a:cubicBezTo>
                  <a:cubicBezTo>
                    <a:pt x="121" y="794"/>
                    <a:pt x="67" y="886"/>
                    <a:pt x="44" y="916"/>
                  </a:cubicBezTo>
                  <a:cubicBezTo>
                    <a:pt x="15" y="936"/>
                    <a:pt x="0" y="972"/>
                    <a:pt x="0" y="1016"/>
                  </a:cubicBezTo>
                  <a:cubicBezTo>
                    <a:pt x="0" y="2436"/>
                    <a:pt x="0" y="1016"/>
                    <a:pt x="0" y="2436"/>
                  </a:cubicBezTo>
                  <a:cubicBezTo>
                    <a:pt x="0" y="2480"/>
                    <a:pt x="15" y="2516"/>
                    <a:pt x="44" y="2536"/>
                  </a:cubicBezTo>
                  <a:cubicBezTo>
                    <a:pt x="67" y="2566"/>
                    <a:pt x="121" y="2658"/>
                    <a:pt x="207" y="2833"/>
                  </a:cubicBezTo>
                  <a:cubicBezTo>
                    <a:pt x="264" y="2952"/>
                    <a:pt x="290" y="3337"/>
                    <a:pt x="305" y="3382"/>
                  </a:cubicBezTo>
                  <a:cubicBezTo>
                    <a:pt x="318" y="3424"/>
                    <a:pt x="354" y="3451"/>
                    <a:pt x="393" y="3451"/>
                  </a:cubicBezTo>
                  <a:cubicBezTo>
                    <a:pt x="393" y="3451"/>
                    <a:pt x="393" y="3451"/>
                    <a:pt x="1244" y="3451"/>
                  </a:cubicBezTo>
                  <a:cubicBezTo>
                    <a:pt x="1283" y="3451"/>
                    <a:pt x="1319" y="3424"/>
                    <a:pt x="1332" y="3382"/>
                  </a:cubicBezTo>
                  <a:cubicBezTo>
                    <a:pt x="1347" y="3337"/>
                    <a:pt x="1373" y="2952"/>
                    <a:pt x="1430" y="2833"/>
                  </a:cubicBezTo>
                  <a:cubicBezTo>
                    <a:pt x="1516" y="2658"/>
                    <a:pt x="1570" y="2566"/>
                    <a:pt x="1593" y="2536"/>
                  </a:cubicBezTo>
                  <a:cubicBezTo>
                    <a:pt x="1622" y="2516"/>
                    <a:pt x="1637" y="2480"/>
                    <a:pt x="1637" y="2436"/>
                  </a:cubicBezTo>
                  <a:cubicBezTo>
                    <a:pt x="1637" y="1016"/>
                    <a:pt x="1637" y="2436"/>
                    <a:pt x="1637" y="1016"/>
                  </a:cubicBezTo>
                  <a:cubicBezTo>
                    <a:pt x="1637" y="972"/>
                    <a:pt x="1622" y="936"/>
                    <a:pt x="1593" y="9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7" name="Oval 26">
              <a:extLst>
                <a:ext uri="{FF2B5EF4-FFF2-40B4-BE49-F238E27FC236}">
                  <a16:creationId xmlns:a16="http://schemas.microsoft.com/office/drawing/2014/main" id="{42878C5F-944B-45FB-A68C-277CB0F1FB49}"/>
                </a:ext>
              </a:extLst>
            </p:cNvPr>
            <p:cNvSpPr>
              <a:spLocks noChangeArrowheads="1"/>
            </p:cNvSpPr>
            <p:nvPr/>
          </p:nvSpPr>
          <p:spPr bwMode="auto">
            <a:xfrm>
              <a:off x="6911903" y="1380180"/>
              <a:ext cx="578426" cy="574328"/>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8" name="Oval 27">
              <a:extLst>
                <a:ext uri="{FF2B5EF4-FFF2-40B4-BE49-F238E27FC236}">
                  <a16:creationId xmlns:a16="http://schemas.microsoft.com/office/drawing/2014/main" id="{C5FA190C-69E2-46B2-8849-91B9A6E9B1E2}"/>
                </a:ext>
              </a:extLst>
            </p:cNvPr>
            <p:cNvSpPr>
              <a:spLocks noChangeArrowheads="1"/>
            </p:cNvSpPr>
            <p:nvPr/>
          </p:nvSpPr>
          <p:spPr bwMode="auto">
            <a:xfrm>
              <a:off x="6977706" y="1445517"/>
              <a:ext cx="446820" cy="44365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9" name="Freeform 28">
              <a:extLst>
                <a:ext uri="{FF2B5EF4-FFF2-40B4-BE49-F238E27FC236}">
                  <a16:creationId xmlns:a16="http://schemas.microsoft.com/office/drawing/2014/main" id="{C65D7A29-EDE9-480B-B971-DE23D36251EB}"/>
                </a:ext>
              </a:extLst>
            </p:cNvPr>
            <p:cNvSpPr>
              <a:spLocks/>
            </p:cNvSpPr>
            <p:nvPr/>
          </p:nvSpPr>
          <p:spPr bwMode="auto">
            <a:xfrm>
              <a:off x="7483960" y="1621503"/>
              <a:ext cx="46699" cy="91681"/>
            </a:xfrm>
            <a:custGeom>
              <a:avLst/>
              <a:gdLst>
                <a:gd name="T0" fmla="*/ 0 w 180"/>
                <a:gd name="T1" fmla="*/ 0 h 360"/>
                <a:gd name="T2" fmla="*/ 180 w 180"/>
                <a:gd name="T3" fmla="*/ 177 h 360"/>
                <a:gd name="T4" fmla="*/ 0 w 180"/>
                <a:gd name="T5" fmla="*/ 360 h 360"/>
                <a:gd name="T6" fmla="*/ 0 w 180"/>
                <a:gd name="T7" fmla="*/ 0 h 360"/>
              </a:gdLst>
              <a:ahLst/>
              <a:cxnLst>
                <a:cxn ang="0">
                  <a:pos x="T0" y="T1"/>
                </a:cxn>
                <a:cxn ang="0">
                  <a:pos x="T2" y="T3"/>
                </a:cxn>
                <a:cxn ang="0">
                  <a:pos x="T4" y="T5"/>
                </a:cxn>
                <a:cxn ang="0">
                  <a:pos x="T6" y="T7"/>
                </a:cxn>
              </a:cxnLst>
              <a:rect l="0" t="0" r="r" b="b"/>
              <a:pathLst>
                <a:path w="180" h="360">
                  <a:moveTo>
                    <a:pt x="0" y="0"/>
                  </a:moveTo>
                  <a:cubicBezTo>
                    <a:pt x="104" y="0"/>
                    <a:pt x="180" y="80"/>
                    <a:pt x="180" y="177"/>
                  </a:cubicBezTo>
                  <a:cubicBezTo>
                    <a:pt x="180" y="279"/>
                    <a:pt x="104" y="360"/>
                    <a:pt x="0" y="360"/>
                  </a:cubicBezTo>
                  <a:lnTo>
                    <a:pt x="0" y="0"/>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31" name="Group 130">
            <a:extLst>
              <a:ext uri="{FF2B5EF4-FFF2-40B4-BE49-F238E27FC236}">
                <a16:creationId xmlns:a16="http://schemas.microsoft.com/office/drawing/2014/main" id="{B1C69A4D-153E-4E85-982C-C0E4E2DA646D}"/>
              </a:ext>
            </a:extLst>
          </p:cNvPr>
          <p:cNvGrpSpPr>
            <a:grpSpLocks noChangeAspect="1"/>
          </p:cNvGrpSpPr>
          <p:nvPr/>
        </p:nvGrpSpPr>
        <p:grpSpPr>
          <a:xfrm>
            <a:off x="10557210" y="2884746"/>
            <a:ext cx="373553" cy="370949"/>
            <a:chOff x="6415005" y="3149663"/>
            <a:chExt cx="2535582" cy="2517209"/>
          </a:xfrm>
        </p:grpSpPr>
        <p:sp>
          <p:nvSpPr>
            <p:cNvPr id="141" name="Oval 8">
              <a:extLst>
                <a:ext uri="{FF2B5EF4-FFF2-40B4-BE49-F238E27FC236}">
                  <a16:creationId xmlns:a16="http://schemas.microsoft.com/office/drawing/2014/main" id="{378C1A18-C5FE-44DB-801A-C50538A054B3}"/>
                </a:ext>
              </a:extLst>
            </p:cNvPr>
            <p:cNvSpPr>
              <a:spLocks noChangeArrowheads="1"/>
            </p:cNvSpPr>
            <p:nvPr/>
          </p:nvSpPr>
          <p:spPr bwMode="auto">
            <a:xfrm>
              <a:off x="6415005" y="3149663"/>
              <a:ext cx="2535582" cy="2517209"/>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2" name="Freeform: Shape 20">
              <a:extLst>
                <a:ext uri="{FF2B5EF4-FFF2-40B4-BE49-F238E27FC236}">
                  <a16:creationId xmlns:a16="http://schemas.microsoft.com/office/drawing/2014/main" id="{95078F98-0FAB-49BB-A1DE-E12EDCF30D81}"/>
                </a:ext>
              </a:extLst>
            </p:cNvPr>
            <p:cNvSpPr>
              <a:spLocks/>
            </p:cNvSpPr>
            <p:nvPr/>
          </p:nvSpPr>
          <p:spPr bwMode="auto">
            <a:xfrm>
              <a:off x="6653865" y="3385180"/>
              <a:ext cx="2058992" cy="2046172"/>
            </a:xfrm>
            <a:custGeom>
              <a:avLst/>
              <a:gdLst>
                <a:gd name="connsiteX0" fmla="*/ 26024 w 2058992"/>
                <a:gd name="connsiteY0" fmla="*/ 1189285 h 2046172"/>
                <a:gd name="connsiteX1" fmla="*/ 1891146 w 2058992"/>
                <a:gd name="connsiteY1" fmla="*/ 1189285 h 2046172"/>
                <a:gd name="connsiteX2" fmla="*/ 1897510 w 2058992"/>
                <a:gd name="connsiteY2" fmla="*/ 1195624 h 2046172"/>
                <a:gd name="connsiteX3" fmla="*/ 1897510 w 2058992"/>
                <a:gd name="connsiteY3" fmla="*/ 1197353 h 2046172"/>
                <a:gd name="connsiteX4" fmla="*/ 1892303 w 2058992"/>
                <a:gd name="connsiteY4" fmla="*/ 1204268 h 2046172"/>
                <a:gd name="connsiteX5" fmla="*/ 1038998 w 2058992"/>
                <a:gd name="connsiteY5" fmla="*/ 2039833 h 2046172"/>
                <a:gd name="connsiteX6" fmla="*/ 1032635 w 2058992"/>
                <a:gd name="connsiteY6" fmla="*/ 2046172 h 2046172"/>
                <a:gd name="connsiteX7" fmla="*/ 16189 w 2058992"/>
                <a:gd name="connsiteY7" fmla="*/ 1201387 h 2046172"/>
                <a:gd name="connsiteX8" fmla="*/ 26024 w 2058992"/>
                <a:gd name="connsiteY8" fmla="*/ 1189285 h 2046172"/>
                <a:gd name="connsiteX9" fmla="*/ 1032948 w 2058992"/>
                <a:gd name="connsiteY9" fmla="*/ 0 h 2046172"/>
                <a:gd name="connsiteX10" fmla="*/ 2058956 w 2058992"/>
                <a:gd name="connsiteY10" fmla="*/ 996747 h 2046172"/>
                <a:gd name="connsiteX11" fmla="*/ 2045653 w 2058992"/>
                <a:gd name="connsiteY11" fmla="*/ 1010559 h 2046172"/>
                <a:gd name="connsiteX12" fmla="*/ 13881 w 2058992"/>
                <a:gd name="connsiteY12" fmla="*/ 1010559 h 2046172"/>
                <a:gd name="connsiteX13" fmla="*/ 0 w 2058992"/>
                <a:gd name="connsiteY13" fmla="*/ 996747 h 2046172"/>
                <a:gd name="connsiteX14" fmla="*/ 1032948 w 2058992"/>
                <a:gd name="connsiteY14" fmla="*/ 0 h 204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8992" h="2046172">
                  <a:moveTo>
                    <a:pt x="26024" y="1189285"/>
                  </a:moveTo>
                  <a:cubicBezTo>
                    <a:pt x="26024" y="1189285"/>
                    <a:pt x="26024" y="1189285"/>
                    <a:pt x="1891146" y="1189285"/>
                  </a:cubicBezTo>
                  <a:cubicBezTo>
                    <a:pt x="1894617" y="1189285"/>
                    <a:pt x="1897510" y="1192167"/>
                    <a:pt x="1897510" y="1195624"/>
                  </a:cubicBezTo>
                  <a:cubicBezTo>
                    <a:pt x="1897510" y="1195624"/>
                    <a:pt x="1897510" y="1195624"/>
                    <a:pt x="1897510" y="1197353"/>
                  </a:cubicBezTo>
                  <a:cubicBezTo>
                    <a:pt x="1897510" y="1200810"/>
                    <a:pt x="1895196" y="1203692"/>
                    <a:pt x="1892303" y="1204268"/>
                  </a:cubicBezTo>
                  <a:cubicBezTo>
                    <a:pt x="1414453" y="1279757"/>
                    <a:pt x="1051726" y="1623779"/>
                    <a:pt x="1038998" y="2039833"/>
                  </a:cubicBezTo>
                  <a:cubicBezTo>
                    <a:pt x="1038998" y="2043867"/>
                    <a:pt x="1036106" y="2046172"/>
                    <a:pt x="1032635" y="2046172"/>
                  </a:cubicBezTo>
                  <a:cubicBezTo>
                    <a:pt x="524123" y="2046172"/>
                    <a:pt x="100652" y="1680828"/>
                    <a:pt x="16189" y="1201387"/>
                  </a:cubicBezTo>
                  <a:cubicBezTo>
                    <a:pt x="15032" y="1195048"/>
                    <a:pt x="20239" y="1189285"/>
                    <a:pt x="26024" y="1189285"/>
                  </a:cubicBezTo>
                  <a:close/>
                  <a:moveTo>
                    <a:pt x="1032948" y="0"/>
                  </a:moveTo>
                  <a:cubicBezTo>
                    <a:pt x="1590486" y="0"/>
                    <a:pt x="2045653" y="444853"/>
                    <a:pt x="2058956" y="996747"/>
                  </a:cubicBezTo>
                  <a:cubicBezTo>
                    <a:pt x="2059534" y="1004229"/>
                    <a:pt x="2053172" y="1010559"/>
                    <a:pt x="2045653" y="1010559"/>
                  </a:cubicBezTo>
                  <a:lnTo>
                    <a:pt x="13881" y="1010559"/>
                  </a:lnTo>
                  <a:cubicBezTo>
                    <a:pt x="6362" y="1010559"/>
                    <a:pt x="0" y="1004229"/>
                    <a:pt x="0" y="996747"/>
                  </a:cubicBezTo>
                  <a:cubicBezTo>
                    <a:pt x="13881" y="444853"/>
                    <a:pt x="473097" y="0"/>
                    <a:pt x="1032948" y="0"/>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3" name="Freeform 11">
              <a:extLst>
                <a:ext uri="{FF2B5EF4-FFF2-40B4-BE49-F238E27FC236}">
                  <a16:creationId xmlns:a16="http://schemas.microsoft.com/office/drawing/2014/main" id="{AA14BC31-B3C3-49C7-84C2-857D933A0B43}"/>
                </a:ext>
              </a:extLst>
            </p:cNvPr>
            <p:cNvSpPr>
              <a:spLocks/>
            </p:cNvSpPr>
            <p:nvPr/>
          </p:nvSpPr>
          <p:spPr bwMode="auto">
            <a:xfrm>
              <a:off x="6996285" y="3809449"/>
              <a:ext cx="1373023" cy="444311"/>
            </a:xfrm>
            <a:custGeom>
              <a:avLst/>
              <a:gdLst>
                <a:gd name="T0" fmla="*/ 2223 w 2375"/>
                <a:gd name="T1" fmla="*/ 0 h 771"/>
                <a:gd name="T2" fmla="*/ 152 w 2375"/>
                <a:gd name="T3" fmla="*/ 0 h 771"/>
                <a:gd name="T4" fmla="*/ 0 w 2375"/>
                <a:gd name="T5" fmla="*/ 152 h 771"/>
                <a:gd name="T6" fmla="*/ 0 w 2375"/>
                <a:gd name="T7" fmla="*/ 622 h 771"/>
                <a:gd name="T8" fmla="*/ 152 w 2375"/>
                <a:gd name="T9" fmla="*/ 771 h 771"/>
                <a:gd name="T10" fmla="*/ 2223 w 2375"/>
                <a:gd name="T11" fmla="*/ 771 h 771"/>
                <a:gd name="T12" fmla="*/ 2375 w 2375"/>
                <a:gd name="T13" fmla="*/ 622 h 771"/>
                <a:gd name="T14" fmla="*/ 2375 w 2375"/>
                <a:gd name="T15" fmla="*/ 152 h 771"/>
                <a:gd name="T16" fmla="*/ 2223 w 2375"/>
                <a:gd name="T17" fmla="*/ 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5" h="771">
                  <a:moveTo>
                    <a:pt x="2223" y="0"/>
                  </a:moveTo>
                  <a:cubicBezTo>
                    <a:pt x="152" y="0"/>
                    <a:pt x="152" y="0"/>
                    <a:pt x="152" y="0"/>
                  </a:cubicBezTo>
                  <a:cubicBezTo>
                    <a:pt x="69" y="0"/>
                    <a:pt x="0" y="65"/>
                    <a:pt x="0" y="152"/>
                  </a:cubicBezTo>
                  <a:cubicBezTo>
                    <a:pt x="0" y="622"/>
                    <a:pt x="0" y="622"/>
                    <a:pt x="0" y="622"/>
                  </a:cubicBezTo>
                  <a:cubicBezTo>
                    <a:pt x="0" y="706"/>
                    <a:pt x="69" y="771"/>
                    <a:pt x="152" y="771"/>
                  </a:cubicBezTo>
                  <a:cubicBezTo>
                    <a:pt x="2223" y="771"/>
                    <a:pt x="2223" y="771"/>
                    <a:pt x="2223" y="771"/>
                  </a:cubicBezTo>
                  <a:cubicBezTo>
                    <a:pt x="2306" y="771"/>
                    <a:pt x="2375" y="706"/>
                    <a:pt x="2375" y="622"/>
                  </a:cubicBezTo>
                  <a:cubicBezTo>
                    <a:pt x="2375" y="152"/>
                    <a:pt x="2375" y="152"/>
                    <a:pt x="2375" y="152"/>
                  </a:cubicBezTo>
                  <a:cubicBezTo>
                    <a:pt x="2375" y="65"/>
                    <a:pt x="2306" y="0"/>
                    <a:pt x="2223" y="0"/>
                  </a:cubicBez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4" name="Freeform 13">
              <a:extLst>
                <a:ext uri="{FF2B5EF4-FFF2-40B4-BE49-F238E27FC236}">
                  <a16:creationId xmlns:a16="http://schemas.microsoft.com/office/drawing/2014/main" id="{AD9F5997-8C02-451B-B0FD-F9366211D744}"/>
                </a:ext>
              </a:extLst>
            </p:cNvPr>
            <p:cNvSpPr>
              <a:spLocks/>
            </p:cNvSpPr>
            <p:nvPr/>
          </p:nvSpPr>
          <p:spPr bwMode="auto">
            <a:xfrm>
              <a:off x="8095371" y="4786600"/>
              <a:ext cx="415916" cy="611346"/>
            </a:xfrm>
            <a:custGeom>
              <a:avLst/>
              <a:gdLst>
                <a:gd name="T0" fmla="*/ 15 w 722"/>
                <a:gd name="T1" fmla="*/ 1050 h 1062"/>
                <a:gd name="T2" fmla="*/ 288 w 722"/>
                <a:gd name="T3" fmla="*/ 602 h 1062"/>
                <a:gd name="T4" fmla="*/ 284 w 722"/>
                <a:gd name="T5" fmla="*/ 594 h 1062"/>
                <a:gd name="T6" fmla="*/ 25 w 722"/>
                <a:gd name="T7" fmla="*/ 594 h 1062"/>
                <a:gd name="T8" fmla="*/ 9 w 722"/>
                <a:gd name="T9" fmla="*/ 567 h 1062"/>
                <a:gd name="T10" fmla="*/ 345 w 722"/>
                <a:gd name="T11" fmla="*/ 20 h 1062"/>
                <a:gd name="T12" fmla="*/ 379 w 722"/>
                <a:gd name="T13" fmla="*/ 0 h 1062"/>
                <a:gd name="T14" fmla="*/ 639 w 722"/>
                <a:gd name="T15" fmla="*/ 0 h 1062"/>
                <a:gd name="T16" fmla="*/ 653 w 722"/>
                <a:gd name="T17" fmla="*/ 27 h 1062"/>
                <a:gd name="T18" fmla="*/ 393 w 722"/>
                <a:gd name="T19" fmla="*/ 388 h 1062"/>
                <a:gd name="T20" fmla="*/ 397 w 722"/>
                <a:gd name="T21" fmla="*/ 396 h 1062"/>
                <a:gd name="T22" fmla="*/ 694 w 722"/>
                <a:gd name="T23" fmla="*/ 396 h 1062"/>
                <a:gd name="T24" fmla="*/ 708 w 722"/>
                <a:gd name="T25" fmla="*/ 434 h 1062"/>
                <a:gd name="T26" fmla="*/ 24 w 722"/>
                <a:gd name="T27" fmla="*/ 1057 h 1062"/>
                <a:gd name="T28" fmla="*/ 15 w 722"/>
                <a:gd name="T29" fmla="*/ 1050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2" h="1062">
                  <a:moveTo>
                    <a:pt x="15" y="1050"/>
                  </a:moveTo>
                  <a:cubicBezTo>
                    <a:pt x="288" y="602"/>
                    <a:pt x="288" y="602"/>
                    <a:pt x="288" y="602"/>
                  </a:cubicBezTo>
                  <a:cubicBezTo>
                    <a:pt x="290" y="598"/>
                    <a:pt x="288" y="594"/>
                    <a:pt x="284" y="594"/>
                  </a:cubicBezTo>
                  <a:cubicBezTo>
                    <a:pt x="25" y="594"/>
                    <a:pt x="25" y="594"/>
                    <a:pt x="25" y="594"/>
                  </a:cubicBezTo>
                  <a:cubicBezTo>
                    <a:pt x="7" y="594"/>
                    <a:pt x="0" y="581"/>
                    <a:pt x="9" y="567"/>
                  </a:cubicBezTo>
                  <a:cubicBezTo>
                    <a:pt x="345" y="20"/>
                    <a:pt x="345" y="20"/>
                    <a:pt x="345" y="20"/>
                  </a:cubicBezTo>
                  <a:cubicBezTo>
                    <a:pt x="352" y="8"/>
                    <a:pt x="365" y="0"/>
                    <a:pt x="379" y="0"/>
                  </a:cubicBezTo>
                  <a:cubicBezTo>
                    <a:pt x="639" y="0"/>
                    <a:pt x="639" y="0"/>
                    <a:pt x="639" y="0"/>
                  </a:cubicBezTo>
                  <a:cubicBezTo>
                    <a:pt x="657" y="0"/>
                    <a:pt x="662" y="13"/>
                    <a:pt x="653" y="27"/>
                  </a:cubicBezTo>
                  <a:cubicBezTo>
                    <a:pt x="393" y="388"/>
                    <a:pt x="393" y="388"/>
                    <a:pt x="393" y="388"/>
                  </a:cubicBezTo>
                  <a:cubicBezTo>
                    <a:pt x="391" y="391"/>
                    <a:pt x="393" y="396"/>
                    <a:pt x="397" y="396"/>
                  </a:cubicBezTo>
                  <a:cubicBezTo>
                    <a:pt x="694" y="396"/>
                    <a:pt x="694" y="396"/>
                    <a:pt x="694" y="396"/>
                  </a:cubicBezTo>
                  <a:cubicBezTo>
                    <a:pt x="713" y="396"/>
                    <a:pt x="722" y="421"/>
                    <a:pt x="708" y="434"/>
                  </a:cubicBezTo>
                  <a:cubicBezTo>
                    <a:pt x="24" y="1057"/>
                    <a:pt x="24" y="1057"/>
                    <a:pt x="24" y="1057"/>
                  </a:cubicBezTo>
                  <a:cubicBezTo>
                    <a:pt x="18" y="1062"/>
                    <a:pt x="11" y="1056"/>
                    <a:pt x="15" y="1050"/>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5" name="Freeform: Shape 23">
              <a:extLst>
                <a:ext uri="{FF2B5EF4-FFF2-40B4-BE49-F238E27FC236}">
                  <a16:creationId xmlns:a16="http://schemas.microsoft.com/office/drawing/2014/main" id="{FDF29980-405D-4335-A108-59A027078E17}"/>
                </a:ext>
              </a:extLst>
            </p:cNvPr>
            <p:cNvSpPr/>
            <p:nvPr/>
          </p:nvSpPr>
          <p:spPr>
            <a:xfrm>
              <a:off x="7066368" y="3889625"/>
              <a:ext cx="1264522" cy="299810"/>
            </a:xfrm>
            <a:custGeom>
              <a:avLst/>
              <a:gdLst>
                <a:gd name="connsiteX0" fmla="*/ 500029 w 1264522"/>
                <a:gd name="connsiteY0" fmla="*/ 240384 h 299810"/>
                <a:gd name="connsiteX1" fmla="*/ 520301 w 1264522"/>
                <a:gd name="connsiteY1" fmla="*/ 248740 h 299810"/>
                <a:gd name="connsiteX2" fmla="*/ 528502 w 1264522"/>
                <a:gd name="connsiteY2" fmla="*/ 268856 h 299810"/>
                <a:gd name="connsiteX3" fmla="*/ 520301 w 1264522"/>
                <a:gd name="connsiteY3" fmla="*/ 288405 h 299810"/>
                <a:gd name="connsiteX4" fmla="*/ 500029 w 1264522"/>
                <a:gd name="connsiteY4" fmla="*/ 296504 h 299810"/>
                <a:gd name="connsiteX5" fmla="*/ 480325 w 1264522"/>
                <a:gd name="connsiteY5" fmla="*/ 288405 h 299810"/>
                <a:gd name="connsiteX6" fmla="*/ 472382 w 1264522"/>
                <a:gd name="connsiteY6" fmla="*/ 268856 h 299810"/>
                <a:gd name="connsiteX7" fmla="*/ 480325 w 1264522"/>
                <a:gd name="connsiteY7" fmla="*/ 248740 h 299810"/>
                <a:gd name="connsiteX8" fmla="*/ 500029 w 1264522"/>
                <a:gd name="connsiteY8" fmla="*/ 240384 h 299810"/>
                <a:gd name="connsiteX9" fmla="*/ 1157986 w 1264522"/>
                <a:gd name="connsiteY9" fmla="*/ 33818 h 299810"/>
                <a:gd name="connsiteX10" fmla="*/ 1111657 w 1264522"/>
                <a:gd name="connsiteY10" fmla="*/ 61549 h 299810"/>
                <a:gd name="connsiteX11" fmla="*/ 1092288 w 1264522"/>
                <a:gd name="connsiteY11" fmla="*/ 150318 h 299810"/>
                <a:gd name="connsiteX12" fmla="*/ 1111657 w 1264522"/>
                <a:gd name="connsiteY12" fmla="*/ 238210 h 299810"/>
                <a:gd name="connsiteX13" fmla="*/ 1157986 w 1264522"/>
                <a:gd name="connsiteY13" fmla="*/ 265993 h 299810"/>
                <a:gd name="connsiteX14" fmla="*/ 1204314 w 1264522"/>
                <a:gd name="connsiteY14" fmla="*/ 238210 h 299810"/>
                <a:gd name="connsiteX15" fmla="*/ 1223683 w 1264522"/>
                <a:gd name="connsiteY15" fmla="*/ 150318 h 299810"/>
                <a:gd name="connsiteX16" fmla="*/ 1204314 w 1264522"/>
                <a:gd name="connsiteY16" fmla="*/ 61549 h 299810"/>
                <a:gd name="connsiteX17" fmla="*/ 1157986 w 1264522"/>
                <a:gd name="connsiteY17" fmla="*/ 33818 h 299810"/>
                <a:gd name="connsiteX18" fmla="*/ 910168 w 1264522"/>
                <a:gd name="connsiteY18" fmla="*/ 33818 h 299810"/>
                <a:gd name="connsiteX19" fmla="*/ 863839 w 1264522"/>
                <a:gd name="connsiteY19" fmla="*/ 61549 h 299810"/>
                <a:gd name="connsiteX20" fmla="*/ 844470 w 1264522"/>
                <a:gd name="connsiteY20" fmla="*/ 150318 h 299810"/>
                <a:gd name="connsiteX21" fmla="*/ 863839 w 1264522"/>
                <a:gd name="connsiteY21" fmla="*/ 238210 h 299810"/>
                <a:gd name="connsiteX22" fmla="*/ 910168 w 1264522"/>
                <a:gd name="connsiteY22" fmla="*/ 265993 h 299810"/>
                <a:gd name="connsiteX23" fmla="*/ 956496 w 1264522"/>
                <a:gd name="connsiteY23" fmla="*/ 238210 h 299810"/>
                <a:gd name="connsiteX24" fmla="*/ 975865 w 1264522"/>
                <a:gd name="connsiteY24" fmla="*/ 150318 h 299810"/>
                <a:gd name="connsiteX25" fmla="*/ 956496 w 1264522"/>
                <a:gd name="connsiteY25" fmla="*/ 61549 h 299810"/>
                <a:gd name="connsiteX26" fmla="*/ 910168 w 1264522"/>
                <a:gd name="connsiteY26" fmla="*/ 33818 h 299810"/>
                <a:gd name="connsiteX27" fmla="*/ 662350 w 1264522"/>
                <a:gd name="connsiteY27" fmla="*/ 33818 h 299810"/>
                <a:gd name="connsiteX28" fmla="*/ 616021 w 1264522"/>
                <a:gd name="connsiteY28" fmla="*/ 61549 h 299810"/>
                <a:gd name="connsiteX29" fmla="*/ 596652 w 1264522"/>
                <a:gd name="connsiteY29" fmla="*/ 150318 h 299810"/>
                <a:gd name="connsiteX30" fmla="*/ 616021 w 1264522"/>
                <a:gd name="connsiteY30" fmla="*/ 238210 h 299810"/>
                <a:gd name="connsiteX31" fmla="*/ 662350 w 1264522"/>
                <a:gd name="connsiteY31" fmla="*/ 265993 h 299810"/>
                <a:gd name="connsiteX32" fmla="*/ 708678 w 1264522"/>
                <a:gd name="connsiteY32" fmla="*/ 238210 h 299810"/>
                <a:gd name="connsiteX33" fmla="*/ 728047 w 1264522"/>
                <a:gd name="connsiteY33" fmla="*/ 150318 h 299810"/>
                <a:gd name="connsiteX34" fmla="*/ 708678 w 1264522"/>
                <a:gd name="connsiteY34" fmla="*/ 61549 h 299810"/>
                <a:gd name="connsiteX35" fmla="*/ 662350 w 1264522"/>
                <a:gd name="connsiteY35" fmla="*/ 33818 h 299810"/>
                <a:gd name="connsiteX36" fmla="*/ 345693 w 1264522"/>
                <a:gd name="connsiteY36" fmla="*/ 33818 h 299810"/>
                <a:gd name="connsiteX37" fmla="*/ 299365 w 1264522"/>
                <a:gd name="connsiteY37" fmla="*/ 61549 h 299810"/>
                <a:gd name="connsiteX38" fmla="*/ 279996 w 1264522"/>
                <a:gd name="connsiteY38" fmla="*/ 150318 h 299810"/>
                <a:gd name="connsiteX39" fmla="*/ 299365 w 1264522"/>
                <a:gd name="connsiteY39" fmla="*/ 238210 h 299810"/>
                <a:gd name="connsiteX40" fmla="*/ 345693 w 1264522"/>
                <a:gd name="connsiteY40" fmla="*/ 265993 h 299810"/>
                <a:gd name="connsiteX41" fmla="*/ 392022 w 1264522"/>
                <a:gd name="connsiteY41" fmla="*/ 238210 h 299810"/>
                <a:gd name="connsiteX42" fmla="*/ 411391 w 1264522"/>
                <a:gd name="connsiteY42" fmla="*/ 150318 h 299810"/>
                <a:gd name="connsiteX43" fmla="*/ 392022 w 1264522"/>
                <a:gd name="connsiteY43" fmla="*/ 61549 h 299810"/>
                <a:gd name="connsiteX44" fmla="*/ 345693 w 1264522"/>
                <a:gd name="connsiteY44" fmla="*/ 33818 h 299810"/>
                <a:gd name="connsiteX45" fmla="*/ 1157986 w 1264522"/>
                <a:gd name="connsiteY45" fmla="*/ 1 h 299810"/>
                <a:gd name="connsiteX46" fmla="*/ 1236819 w 1264522"/>
                <a:gd name="connsiteY46" fmla="*/ 41284 h 299810"/>
                <a:gd name="connsiteX47" fmla="*/ 1264522 w 1264522"/>
                <a:gd name="connsiteY47" fmla="*/ 149491 h 299810"/>
                <a:gd name="connsiteX48" fmla="*/ 1236819 w 1264522"/>
                <a:gd name="connsiteY48" fmla="*/ 258269 h 299810"/>
                <a:gd name="connsiteX49" fmla="*/ 1157986 w 1264522"/>
                <a:gd name="connsiteY49" fmla="*/ 299810 h 299810"/>
                <a:gd name="connsiteX50" fmla="*/ 1079152 w 1264522"/>
                <a:gd name="connsiteY50" fmla="*/ 258269 h 299810"/>
                <a:gd name="connsiteX51" fmla="*/ 1051449 w 1264522"/>
                <a:gd name="connsiteY51" fmla="*/ 149491 h 299810"/>
                <a:gd name="connsiteX52" fmla="*/ 1079152 w 1264522"/>
                <a:gd name="connsiteY52" fmla="*/ 41284 h 299810"/>
                <a:gd name="connsiteX53" fmla="*/ 1157986 w 1264522"/>
                <a:gd name="connsiteY53" fmla="*/ 1 h 299810"/>
                <a:gd name="connsiteX54" fmla="*/ 910168 w 1264522"/>
                <a:gd name="connsiteY54" fmla="*/ 1 h 299810"/>
                <a:gd name="connsiteX55" fmla="*/ 989001 w 1264522"/>
                <a:gd name="connsiteY55" fmla="*/ 41284 h 299810"/>
                <a:gd name="connsiteX56" fmla="*/ 1016704 w 1264522"/>
                <a:gd name="connsiteY56" fmla="*/ 149491 h 299810"/>
                <a:gd name="connsiteX57" fmla="*/ 989001 w 1264522"/>
                <a:gd name="connsiteY57" fmla="*/ 258269 h 299810"/>
                <a:gd name="connsiteX58" fmla="*/ 910168 w 1264522"/>
                <a:gd name="connsiteY58" fmla="*/ 299810 h 299810"/>
                <a:gd name="connsiteX59" fmla="*/ 831334 w 1264522"/>
                <a:gd name="connsiteY59" fmla="*/ 258269 h 299810"/>
                <a:gd name="connsiteX60" fmla="*/ 803631 w 1264522"/>
                <a:gd name="connsiteY60" fmla="*/ 149491 h 299810"/>
                <a:gd name="connsiteX61" fmla="*/ 831334 w 1264522"/>
                <a:gd name="connsiteY61" fmla="*/ 41284 h 299810"/>
                <a:gd name="connsiteX62" fmla="*/ 910168 w 1264522"/>
                <a:gd name="connsiteY62" fmla="*/ 1 h 299810"/>
                <a:gd name="connsiteX63" fmla="*/ 662350 w 1264522"/>
                <a:gd name="connsiteY63" fmla="*/ 1 h 299810"/>
                <a:gd name="connsiteX64" fmla="*/ 741182 w 1264522"/>
                <a:gd name="connsiteY64" fmla="*/ 41284 h 299810"/>
                <a:gd name="connsiteX65" fmla="*/ 768886 w 1264522"/>
                <a:gd name="connsiteY65" fmla="*/ 149491 h 299810"/>
                <a:gd name="connsiteX66" fmla="*/ 741182 w 1264522"/>
                <a:gd name="connsiteY66" fmla="*/ 258269 h 299810"/>
                <a:gd name="connsiteX67" fmla="*/ 662350 w 1264522"/>
                <a:gd name="connsiteY67" fmla="*/ 299810 h 299810"/>
                <a:gd name="connsiteX68" fmla="*/ 583516 w 1264522"/>
                <a:gd name="connsiteY68" fmla="*/ 258269 h 299810"/>
                <a:gd name="connsiteX69" fmla="*/ 555813 w 1264522"/>
                <a:gd name="connsiteY69" fmla="*/ 149491 h 299810"/>
                <a:gd name="connsiteX70" fmla="*/ 583516 w 1264522"/>
                <a:gd name="connsiteY70" fmla="*/ 41284 h 299810"/>
                <a:gd name="connsiteX71" fmla="*/ 662350 w 1264522"/>
                <a:gd name="connsiteY71" fmla="*/ 1 h 299810"/>
                <a:gd name="connsiteX72" fmla="*/ 345693 w 1264522"/>
                <a:gd name="connsiteY72" fmla="*/ 1 h 299810"/>
                <a:gd name="connsiteX73" fmla="*/ 424525 w 1264522"/>
                <a:gd name="connsiteY73" fmla="*/ 41284 h 299810"/>
                <a:gd name="connsiteX74" fmla="*/ 452230 w 1264522"/>
                <a:gd name="connsiteY74" fmla="*/ 149491 h 299810"/>
                <a:gd name="connsiteX75" fmla="*/ 424525 w 1264522"/>
                <a:gd name="connsiteY75" fmla="*/ 258269 h 299810"/>
                <a:gd name="connsiteX76" fmla="*/ 345693 w 1264522"/>
                <a:gd name="connsiteY76" fmla="*/ 299810 h 299810"/>
                <a:gd name="connsiteX77" fmla="*/ 266860 w 1264522"/>
                <a:gd name="connsiteY77" fmla="*/ 258269 h 299810"/>
                <a:gd name="connsiteX78" fmla="*/ 239157 w 1264522"/>
                <a:gd name="connsiteY78" fmla="*/ 149491 h 299810"/>
                <a:gd name="connsiteX79" fmla="*/ 266860 w 1264522"/>
                <a:gd name="connsiteY79" fmla="*/ 41284 h 299810"/>
                <a:gd name="connsiteX80" fmla="*/ 345693 w 1264522"/>
                <a:gd name="connsiteY80" fmla="*/ 1 h 299810"/>
                <a:gd name="connsiteX81" fmla="*/ 101756 w 1264522"/>
                <a:gd name="connsiteY81" fmla="*/ 0 h 299810"/>
                <a:gd name="connsiteX82" fmla="*/ 170603 w 1264522"/>
                <a:gd name="connsiteY82" fmla="*/ 23365 h 299810"/>
                <a:gd name="connsiteX83" fmla="*/ 197941 w 1264522"/>
                <a:gd name="connsiteY83" fmla="*/ 85458 h 299810"/>
                <a:gd name="connsiteX84" fmla="*/ 180915 w 1264522"/>
                <a:gd name="connsiteY84" fmla="*/ 138751 h 299810"/>
                <a:gd name="connsiteX85" fmla="*/ 126093 w 1264522"/>
                <a:gd name="connsiteY85" fmla="*/ 198241 h 299810"/>
                <a:gd name="connsiteX86" fmla="*/ 58787 w 1264522"/>
                <a:gd name="connsiteY86" fmla="*/ 258970 h 299810"/>
                <a:gd name="connsiteX87" fmla="*/ 196703 w 1264522"/>
                <a:gd name="connsiteY87" fmla="*/ 258970 h 299810"/>
                <a:gd name="connsiteX88" fmla="*/ 201968 w 1264522"/>
                <a:gd name="connsiteY88" fmla="*/ 261135 h 299810"/>
                <a:gd name="connsiteX89" fmla="*/ 204136 w 1264522"/>
                <a:gd name="connsiteY89" fmla="*/ 266394 h 299810"/>
                <a:gd name="connsiteX90" fmla="*/ 204136 w 1264522"/>
                <a:gd name="connsiteY90" fmla="*/ 286603 h 299810"/>
                <a:gd name="connsiteX91" fmla="*/ 201968 w 1264522"/>
                <a:gd name="connsiteY91" fmla="*/ 292069 h 299810"/>
                <a:gd name="connsiteX92" fmla="*/ 196703 w 1264522"/>
                <a:gd name="connsiteY92" fmla="*/ 294439 h 299810"/>
                <a:gd name="connsiteX93" fmla="*/ 12539 w 1264522"/>
                <a:gd name="connsiteY93" fmla="*/ 294439 h 299810"/>
                <a:gd name="connsiteX94" fmla="*/ 7068 w 1264522"/>
                <a:gd name="connsiteY94" fmla="*/ 292069 h 299810"/>
                <a:gd name="connsiteX95" fmla="*/ 4693 w 1264522"/>
                <a:gd name="connsiteY95" fmla="*/ 286603 h 299810"/>
                <a:gd name="connsiteX96" fmla="*/ 4693 w 1264522"/>
                <a:gd name="connsiteY96" fmla="*/ 269282 h 299810"/>
                <a:gd name="connsiteX97" fmla="*/ 6861 w 1264522"/>
                <a:gd name="connsiteY97" fmla="*/ 261135 h 299810"/>
                <a:gd name="connsiteX98" fmla="*/ 10888 w 1264522"/>
                <a:gd name="connsiteY98" fmla="*/ 256079 h 299810"/>
                <a:gd name="connsiteX99" fmla="*/ 96387 w 1264522"/>
                <a:gd name="connsiteY99" fmla="*/ 177998 h 299810"/>
                <a:gd name="connsiteX100" fmla="*/ 141149 w 1264522"/>
                <a:gd name="connsiteY100" fmla="*/ 131057 h 299810"/>
                <a:gd name="connsiteX101" fmla="*/ 157102 w 1264522"/>
                <a:gd name="connsiteY101" fmla="*/ 87523 h 299810"/>
                <a:gd name="connsiteX102" fmla="*/ 140633 w 1264522"/>
                <a:gd name="connsiteY102" fmla="*/ 49412 h 299810"/>
                <a:gd name="connsiteX103" fmla="*/ 100930 w 1264522"/>
                <a:gd name="connsiteY103" fmla="*/ 35469 h 299810"/>
                <a:gd name="connsiteX104" fmla="*/ 58647 w 1264522"/>
                <a:gd name="connsiteY104" fmla="*/ 52252 h 299810"/>
                <a:gd name="connsiteX105" fmla="*/ 37736 w 1264522"/>
                <a:gd name="connsiteY105" fmla="*/ 87937 h 299810"/>
                <a:gd name="connsiteX106" fmla="*/ 32883 w 1264522"/>
                <a:gd name="connsiteY106" fmla="*/ 95115 h 299810"/>
                <a:gd name="connsiteX107" fmla="*/ 24932 w 1264522"/>
                <a:gd name="connsiteY107" fmla="*/ 95785 h 299810"/>
                <a:gd name="connsiteX108" fmla="*/ 6345 w 1264522"/>
                <a:gd name="connsiteY108" fmla="*/ 91241 h 299810"/>
                <a:gd name="connsiteX109" fmla="*/ 1234 w 1264522"/>
                <a:gd name="connsiteY109" fmla="*/ 87058 h 299810"/>
                <a:gd name="connsiteX110" fmla="*/ 150 w 1264522"/>
                <a:gd name="connsiteY110" fmla="*/ 80087 h 299810"/>
                <a:gd name="connsiteX111" fmla="*/ 33606 w 1264522"/>
                <a:gd name="connsiteY111" fmla="*/ 23622 h 299810"/>
                <a:gd name="connsiteX112" fmla="*/ 101756 w 1264522"/>
                <a:gd name="connsiteY112" fmla="*/ 0 h 29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64522" h="299810">
                  <a:moveTo>
                    <a:pt x="500029" y="240384"/>
                  </a:moveTo>
                  <a:cubicBezTo>
                    <a:pt x="508256" y="240589"/>
                    <a:pt x="515013" y="243375"/>
                    <a:pt x="520301" y="248740"/>
                  </a:cubicBezTo>
                  <a:cubicBezTo>
                    <a:pt x="525588" y="254104"/>
                    <a:pt x="528321" y="260809"/>
                    <a:pt x="528502" y="268856"/>
                  </a:cubicBezTo>
                  <a:cubicBezTo>
                    <a:pt x="528321" y="276689"/>
                    <a:pt x="525588" y="283205"/>
                    <a:pt x="520301" y="288405"/>
                  </a:cubicBezTo>
                  <a:cubicBezTo>
                    <a:pt x="515013" y="293607"/>
                    <a:pt x="508256" y="296306"/>
                    <a:pt x="500029" y="296504"/>
                  </a:cubicBezTo>
                  <a:cubicBezTo>
                    <a:pt x="492017" y="296306"/>
                    <a:pt x="485449" y="293607"/>
                    <a:pt x="480325" y="288405"/>
                  </a:cubicBezTo>
                  <a:cubicBezTo>
                    <a:pt x="475202" y="283205"/>
                    <a:pt x="472554" y="276689"/>
                    <a:pt x="472382" y="268856"/>
                  </a:cubicBezTo>
                  <a:cubicBezTo>
                    <a:pt x="472554" y="260809"/>
                    <a:pt x="475202" y="254104"/>
                    <a:pt x="480325" y="248740"/>
                  </a:cubicBezTo>
                  <a:cubicBezTo>
                    <a:pt x="485449" y="243375"/>
                    <a:pt x="492017" y="240589"/>
                    <a:pt x="500029" y="240384"/>
                  </a:cubicBezTo>
                  <a:close/>
                  <a:moveTo>
                    <a:pt x="1157986" y="33818"/>
                  </a:moveTo>
                  <a:cubicBezTo>
                    <a:pt x="1139522" y="33585"/>
                    <a:pt x="1124077" y="42829"/>
                    <a:pt x="1111657" y="61549"/>
                  </a:cubicBezTo>
                  <a:cubicBezTo>
                    <a:pt x="1099235" y="80267"/>
                    <a:pt x="1092778" y="109858"/>
                    <a:pt x="1092288" y="150318"/>
                  </a:cubicBezTo>
                  <a:cubicBezTo>
                    <a:pt x="1092778" y="190202"/>
                    <a:pt x="1099235" y="219499"/>
                    <a:pt x="1111657" y="238210"/>
                  </a:cubicBezTo>
                  <a:cubicBezTo>
                    <a:pt x="1124077" y="256921"/>
                    <a:pt x="1139522" y="266182"/>
                    <a:pt x="1157986" y="265993"/>
                  </a:cubicBezTo>
                  <a:cubicBezTo>
                    <a:pt x="1176451" y="266182"/>
                    <a:pt x="1191894" y="256921"/>
                    <a:pt x="1204314" y="238210"/>
                  </a:cubicBezTo>
                  <a:cubicBezTo>
                    <a:pt x="1216736" y="219499"/>
                    <a:pt x="1223193" y="190202"/>
                    <a:pt x="1223683" y="150318"/>
                  </a:cubicBezTo>
                  <a:cubicBezTo>
                    <a:pt x="1223193" y="109858"/>
                    <a:pt x="1216736" y="80267"/>
                    <a:pt x="1204314" y="61549"/>
                  </a:cubicBezTo>
                  <a:cubicBezTo>
                    <a:pt x="1191894" y="42829"/>
                    <a:pt x="1176451" y="33585"/>
                    <a:pt x="1157986" y="33818"/>
                  </a:cubicBezTo>
                  <a:close/>
                  <a:moveTo>
                    <a:pt x="910168" y="33818"/>
                  </a:moveTo>
                  <a:cubicBezTo>
                    <a:pt x="891704" y="33585"/>
                    <a:pt x="876259" y="42829"/>
                    <a:pt x="863839" y="61549"/>
                  </a:cubicBezTo>
                  <a:cubicBezTo>
                    <a:pt x="851417" y="80267"/>
                    <a:pt x="844960" y="109858"/>
                    <a:pt x="844470" y="150318"/>
                  </a:cubicBezTo>
                  <a:cubicBezTo>
                    <a:pt x="844960" y="190202"/>
                    <a:pt x="851417" y="219499"/>
                    <a:pt x="863839" y="238210"/>
                  </a:cubicBezTo>
                  <a:cubicBezTo>
                    <a:pt x="876259" y="256921"/>
                    <a:pt x="891704" y="266182"/>
                    <a:pt x="910168" y="265993"/>
                  </a:cubicBezTo>
                  <a:cubicBezTo>
                    <a:pt x="928633" y="266182"/>
                    <a:pt x="944076" y="256921"/>
                    <a:pt x="956496" y="238210"/>
                  </a:cubicBezTo>
                  <a:cubicBezTo>
                    <a:pt x="968918" y="219499"/>
                    <a:pt x="975375" y="190202"/>
                    <a:pt x="975865" y="150318"/>
                  </a:cubicBezTo>
                  <a:cubicBezTo>
                    <a:pt x="975375" y="109858"/>
                    <a:pt x="968918" y="80267"/>
                    <a:pt x="956496" y="61549"/>
                  </a:cubicBezTo>
                  <a:cubicBezTo>
                    <a:pt x="944076" y="42829"/>
                    <a:pt x="928633" y="33585"/>
                    <a:pt x="910168" y="33818"/>
                  </a:cubicBezTo>
                  <a:close/>
                  <a:moveTo>
                    <a:pt x="662350" y="33818"/>
                  </a:moveTo>
                  <a:cubicBezTo>
                    <a:pt x="643886" y="33585"/>
                    <a:pt x="628441" y="42829"/>
                    <a:pt x="616021" y="61549"/>
                  </a:cubicBezTo>
                  <a:cubicBezTo>
                    <a:pt x="603599" y="80267"/>
                    <a:pt x="597142" y="109858"/>
                    <a:pt x="596652" y="150318"/>
                  </a:cubicBezTo>
                  <a:cubicBezTo>
                    <a:pt x="597142" y="190202"/>
                    <a:pt x="603599" y="219499"/>
                    <a:pt x="616021" y="238210"/>
                  </a:cubicBezTo>
                  <a:cubicBezTo>
                    <a:pt x="628441" y="256921"/>
                    <a:pt x="643886" y="266182"/>
                    <a:pt x="662350" y="265993"/>
                  </a:cubicBezTo>
                  <a:cubicBezTo>
                    <a:pt x="680815" y="266182"/>
                    <a:pt x="696258" y="256921"/>
                    <a:pt x="708678" y="238210"/>
                  </a:cubicBezTo>
                  <a:cubicBezTo>
                    <a:pt x="721100" y="219499"/>
                    <a:pt x="727557" y="190202"/>
                    <a:pt x="728047" y="150318"/>
                  </a:cubicBezTo>
                  <a:cubicBezTo>
                    <a:pt x="727557" y="109858"/>
                    <a:pt x="721100" y="80267"/>
                    <a:pt x="708678" y="61549"/>
                  </a:cubicBezTo>
                  <a:cubicBezTo>
                    <a:pt x="696258" y="42829"/>
                    <a:pt x="680815" y="33585"/>
                    <a:pt x="662350" y="33818"/>
                  </a:cubicBezTo>
                  <a:close/>
                  <a:moveTo>
                    <a:pt x="345693" y="33818"/>
                  </a:moveTo>
                  <a:cubicBezTo>
                    <a:pt x="327230" y="33585"/>
                    <a:pt x="311785" y="42829"/>
                    <a:pt x="299365" y="61549"/>
                  </a:cubicBezTo>
                  <a:cubicBezTo>
                    <a:pt x="286943" y="80267"/>
                    <a:pt x="280486" y="109858"/>
                    <a:pt x="279996" y="150318"/>
                  </a:cubicBezTo>
                  <a:cubicBezTo>
                    <a:pt x="280486" y="190202"/>
                    <a:pt x="286943" y="219499"/>
                    <a:pt x="299365" y="238210"/>
                  </a:cubicBezTo>
                  <a:cubicBezTo>
                    <a:pt x="311785" y="256921"/>
                    <a:pt x="327230" y="266182"/>
                    <a:pt x="345693" y="265993"/>
                  </a:cubicBezTo>
                  <a:cubicBezTo>
                    <a:pt x="364159" y="266182"/>
                    <a:pt x="379602" y="256921"/>
                    <a:pt x="392022" y="238210"/>
                  </a:cubicBezTo>
                  <a:cubicBezTo>
                    <a:pt x="404444" y="219499"/>
                    <a:pt x="410901" y="190202"/>
                    <a:pt x="411391" y="150318"/>
                  </a:cubicBezTo>
                  <a:cubicBezTo>
                    <a:pt x="410901" y="109858"/>
                    <a:pt x="404444" y="80267"/>
                    <a:pt x="392022" y="61549"/>
                  </a:cubicBezTo>
                  <a:cubicBezTo>
                    <a:pt x="379602" y="42829"/>
                    <a:pt x="364159" y="33585"/>
                    <a:pt x="345693" y="33818"/>
                  </a:cubicBezTo>
                  <a:close/>
                  <a:moveTo>
                    <a:pt x="1157986" y="1"/>
                  </a:moveTo>
                  <a:cubicBezTo>
                    <a:pt x="1192251" y="653"/>
                    <a:pt x="1218527" y="14413"/>
                    <a:pt x="1236819" y="41284"/>
                  </a:cubicBezTo>
                  <a:cubicBezTo>
                    <a:pt x="1255110" y="68153"/>
                    <a:pt x="1264343" y="104222"/>
                    <a:pt x="1264522" y="149491"/>
                  </a:cubicBezTo>
                  <a:cubicBezTo>
                    <a:pt x="1264343" y="194976"/>
                    <a:pt x="1255110" y="231234"/>
                    <a:pt x="1236819" y="258269"/>
                  </a:cubicBezTo>
                  <a:cubicBezTo>
                    <a:pt x="1218527" y="285302"/>
                    <a:pt x="1192251" y="299150"/>
                    <a:pt x="1157986" y="299810"/>
                  </a:cubicBezTo>
                  <a:cubicBezTo>
                    <a:pt x="1123722" y="299150"/>
                    <a:pt x="1097444" y="285302"/>
                    <a:pt x="1079152" y="258269"/>
                  </a:cubicBezTo>
                  <a:cubicBezTo>
                    <a:pt x="1060862" y="231234"/>
                    <a:pt x="1051628" y="194976"/>
                    <a:pt x="1051449" y="149491"/>
                  </a:cubicBezTo>
                  <a:cubicBezTo>
                    <a:pt x="1051628" y="104222"/>
                    <a:pt x="1060862" y="68153"/>
                    <a:pt x="1079152" y="41284"/>
                  </a:cubicBezTo>
                  <a:cubicBezTo>
                    <a:pt x="1097444" y="14413"/>
                    <a:pt x="1123722" y="653"/>
                    <a:pt x="1157986" y="1"/>
                  </a:cubicBezTo>
                  <a:close/>
                  <a:moveTo>
                    <a:pt x="910168" y="1"/>
                  </a:moveTo>
                  <a:cubicBezTo>
                    <a:pt x="944433" y="653"/>
                    <a:pt x="970709" y="14413"/>
                    <a:pt x="989001" y="41284"/>
                  </a:cubicBezTo>
                  <a:cubicBezTo>
                    <a:pt x="1007292" y="68153"/>
                    <a:pt x="1016525" y="104222"/>
                    <a:pt x="1016704" y="149491"/>
                  </a:cubicBezTo>
                  <a:cubicBezTo>
                    <a:pt x="1016525" y="194976"/>
                    <a:pt x="1007292" y="231234"/>
                    <a:pt x="989001" y="258269"/>
                  </a:cubicBezTo>
                  <a:cubicBezTo>
                    <a:pt x="970709" y="285302"/>
                    <a:pt x="944433" y="299150"/>
                    <a:pt x="910168" y="299810"/>
                  </a:cubicBezTo>
                  <a:cubicBezTo>
                    <a:pt x="875904" y="299150"/>
                    <a:pt x="849626" y="285302"/>
                    <a:pt x="831334" y="258269"/>
                  </a:cubicBezTo>
                  <a:cubicBezTo>
                    <a:pt x="813044" y="231234"/>
                    <a:pt x="803810" y="194976"/>
                    <a:pt x="803631" y="149491"/>
                  </a:cubicBezTo>
                  <a:cubicBezTo>
                    <a:pt x="803810" y="104222"/>
                    <a:pt x="813044" y="68153"/>
                    <a:pt x="831334" y="41284"/>
                  </a:cubicBezTo>
                  <a:cubicBezTo>
                    <a:pt x="849626" y="14413"/>
                    <a:pt x="875904" y="653"/>
                    <a:pt x="910168" y="1"/>
                  </a:cubicBezTo>
                  <a:close/>
                  <a:moveTo>
                    <a:pt x="662350" y="1"/>
                  </a:moveTo>
                  <a:cubicBezTo>
                    <a:pt x="696615" y="653"/>
                    <a:pt x="722891" y="14413"/>
                    <a:pt x="741182" y="41284"/>
                  </a:cubicBezTo>
                  <a:cubicBezTo>
                    <a:pt x="759474" y="68153"/>
                    <a:pt x="768707" y="104222"/>
                    <a:pt x="768886" y="149491"/>
                  </a:cubicBezTo>
                  <a:cubicBezTo>
                    <a:pt x="768707" y="194976"/>
                    <a:pt x="759474" y="231234"/>
                    <a:pt x="741182" y="258269"/>
                  </a:cubicBezTo>
                  <a:cubicBezTo>
                    <a:pt x="722891" y="285302"/>
                    <a:pt x="696615" y="299150"/>
                    <a:pt x="662350" y="299810"/>
                  </a:cubicBezTo>
                  <a:cubicBezTo>
                    <a:pt x="628084" y="299150"/>
                    <a:pt x="601808" y="285302"/>
                    <a:pt x="583516" y="258269"/>
                  </a:cubicBezTo>
                  <a:cubicBezTo>
                    <a:pt x="565226" y="231234"/>
                    <a:pt x="555992" y="194976"/>
                    <a:pt x="555813" y="149491"/>
                  </a:cubicBezTo>
                  <a:cubicBezTo>
                    <a:pt x="555992" y="104222"/>
                    <a:pt x="565226" y="68153"/>
                    <a:pt x="583516" y="41284"/>
                  </a:cubicBezTo>
                  <a:cubicBezTo>
                    <a:pt x="601808" y="14413"/>
                    <a:pt x="628084" y="653"/>
                    <a:pt x="662350" y="1"/>
                  </a:cubicBezTo>
                  <a:close/>
                  <a:moveTo>
                    <a:pt x="345693" y="1"/>
                  </a:moveTo>
                  <a:cubicBezTo>
                    <a:pt x="379957" y="653"/>
                    <a:pt x="406235" y="14413"/>
                    <a:pt x="424525" y="41284"/>
                  </a:cubicBezTo>
                  <a:cubicBezTo>
                    <a:pt x="442817" y="68153"/>
                    <a:pt x="452051" y="104222"/>
                    <a:pt x="452230" y="149491"/>
                  </a:cubicBezTo>
                  <a:cubicBezTo>
                    <a:pt x="452051" y="194976"/>
                    <a:pt x="442817" y="231234"/>
                    <a:pt x="424525" y="258269"/>
                  </a:cubicBezTo>
                  <a:cubicBezTo>
                    <a:pt x="406235" y="285302"/>
                    <a:pt x="379959" y="299150"/>
                    <a:pt x="345693" y="299810"/>
                  </a:cubicBezTo>
                  <a:cubicBezTo>
                    <a:pt x="311428" y="299150"/>
                    <a:pt x="285152" y="285302"/>
                    <a:pt x="266860" y="258269"/>
                  </a:cubicBezTo>
                  <a:cubicBezTo>
                    <a:pt x="248569" y="231234"/>
                    <a:pt x="239336" y="194976"/>
                    <a:pt x="239157" y="149491"/>
                  </a:cubicBezTo>
                  <a:cubicBezTo>
                    <a:pt x="239336" y="104222"/>
                    <a:pt x="248569" y="68153"/>
                    <a:pt x="266860" y="41284"/>
                  </a:cubicBezTo>
                  <a:cubicBezTo>
                    <a:pt x="285152" y="14413"/>
                    <a:pt x="311428" y="653"/>
                    <a:pt x="345693" y="1"/>
                  </a:cubicBezTo>
                  <a:close/>
                  <a:moveTo>
                    <a:pt x="101756" y="0"/>
                  </a:moveTo>
                  <a:cubicBezTo>
                    <a:pt x="129978" y="334"/>
                    <a:pt x="152926" y="8122"/>
                    <a:pt x="170603" y="23365"/>
                  </a:cubicBezTo>
                  <a:cubicBezTo>
                    <a:pt x="188280" y="38607"/>
                    <a:pt x="197392" y="59306"/>
                    <a:pt x="197941" y="85458"/>
                  </a:cubicBezTo>
                  <a:cubicBezTo>
                    <a:pt x="198097" y="103274"/>
                    <a:pt x="192422" y="121038"/>
                    <a:pt x="180915" y="138751"/>
                  </a:cubicBezTo>
                  <a:cubicBezTo>
                    <a:pt x="169410" y="156463"/>
                    <a:pt x="151135" y="176294"/>
                    <a:pt x="126093" y="198241"/>
                  </a:cubicBezTo>
                  <a:lnTo>
                    <a:pt x="58787" y="258970"/>
                  </a:lnTo>
                  <a:lnTo>
                    <a:pt x="196703" y="258970"/>
                  </a:lnTo>
                  <a:cubicBezTo>
                    <a:pt x="198820" y="259022"/>
                    <a:pt x="200574" y="259743"/>
                    <a:pt x="201968" y="261135"/>
                  </a:cubicBezTo>
                  <a:cubicBezTo>
                    <a:pt x="203361" y="262527"/>
                    <a:pt x="204084" y="264280"/>
                    <a:pt x="204136" y="266394"/>
                  </a:cubicBezTo>
                  <a:lnTo>
                    <a:pt x="204136" y="286603"/>
                  </a:lnTo>
                  <a:cubicBezTo>
                    <a:pt x="204084" y="288734"/>
                    <a:pt x="203361" y="290555"/>
                    <a:pt x="201968" y="292069"/>
                  </a:cubicBezTo>
                  <a:cubicBezTo>
                    <a:pt x="200574" y="293581"/>
                    <a:pt x="198820" y="294371"/>
                    <a:pt x="196703" y="294439"/>
                  </a:cubicBezTo>
                  <a:lnTo>
                    <a:pt x="12539" y="294439"/>
                  </a:lnTo>
                  <a:cubicBezTo>
                    <a:pt x="10405" y="294371"/>
                    <a:pt x="8583" y="293581"/>
                    <a:pt x="7068" y="292069"/>
                  </a:cubicBezTo>
                  <a:cubicBezTo>
                    <a:pt x="5555" y="290555"/>
                    <a:pt x="4763" y="288734"/>
                    <a:pt x="4693" y="286603"/>
                  </a:cubicBezTo>
                  <a:lnTo>
                    <a:pt x="4693" y="269282"/>
                  </a:lnTo>
                  <a:cubicBezTo>
                    <a:pt x="4797" y="265999"/>
                    <a:pt x="5520" y="263283"/>
                    <a:pt x="6861" y="261135"/>
                  </a:cubicBezTo>
                  <a:cubicBezTo>
                    <a:pt x="8204" y="258986"/>
                    <a:pt x="9545" y="257300"/>
                    <a:pt x="10888" y="256079"/>
                  </a:cubicBezTo>
                  <a:lnTo>
                    <a:pt x="96387" y="177998"/>
                  </a:lnTo>
                  <a:cubicBezTo>
                    <a:pt x="115722" y="160931"/>
                    <a:pt x="130642" y="145284"/>
                    <a:pt x="141149" y="131057"/>
                  </a:cubicBezTo>
                  <a:cubicBezTo>
                    <a:pt x="151655" y="116829"/>
                    <a:pt x="156973" y="102319"/>
                    <a:pt x="157102" y="87523"/>
                  </a:cubicBezTo>
                  <a:cubicBezTo>
                    <a:pt x="156697" y="71256"/>
                    <a:pt x="151207" y="58553"/>
                    <a:pt x="140633" y="49412"/>
                  </a:cubicBezTo>
                  <a:cubicBezTo>
                    <a:pt x="130058" y="40272"/>
                    <a:pt x="116823" y="35624"/>
                    <a:pt x="100930" y="35469"/>
                  </a:cubicBezTo>
                  <a:cubicBezTo>
                    <a:pt x="82886" y="36081"/>
                    <a:pt x="68791" y="41674"/>
                    <a:pt x="58647" y="52252"/>
                  </a:cubicBezTo>
                  <a:cubicBezTo>
                    <a:pt x="48501" y="62831"/>
                    <a:pt x="41531" y="74725"/>
                    <a:pt x="37736" y="87937"/>
                  </a:cubicBezTo>
                  <a:cubicBezTo>
                    <a:pt x="36686" y="91284"/>
                    <a:pt x="35069" y="93676"/>
                    <a:pt x="32883" y="95115"/>
                  </a:cubicBezTo>
                  <a:cubicBezTo>
                    <a:pt x="30698" y="96551"/>
                    <a:pt x="28047" y="96775"/>
                    <a:pt x="24932" y="95785"/>
                  </a:cubicBezTo>
                  <a:lnTo>
                    <a:pt x="6345" y="91241"/>
                  </a:lnTo>
                  <a:cubicBezTo>
                    <a:pt x="4049" y="90544"/>
                    <a:pt x="2344" y="89149"/>
                    <a:pt x="1234" y="87058"/>
                  </a:cubicBezTo>
                  <a:cubicBezTo>
                    <a:pt x="124" y="84968"/>
                    <a:pt x="-237" y="82644"/>
                    <a:pt x="150" y="80087"/>
                  </a:cubicBezTo>
                  <a:cubicBezTo>
                    <a:pt x="4900" y="57591"/>
                    <a:pt x="16053" y="38769"/>
                    <a:pt x="33606" y="23622"/>
                  </a:cubicBezTo>
                  <a:cubicBezTo>
                    <a:pt x="51159" y="8474"/>
                    <a:pt x="73877" y="600"/>
                    <a:pt x="101756" y="0"/>
                  </a:cubicBezTo>
                  <a:close/>
                </a:path>
              </a:pathLst>
            </a:custGeom>
            <a:solidFill>
              <a:schemeClr val="accent1">
                <a:lumMod val="100000"/>
              </a:schemeClr>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grpSp>
        <p:nvGrpSpPr>
          <p:cNvPr id="132" name="Group 131">
            <a:extLst>
              <a:ext uri="{FF2B5EF4-FFF2-40B4-BE49-F238E27FC236}">
                <a16:creationId xmlns:a16="http://schemas.microsoft.com/office/drawing/2014/main" id="{918B8E3C-6236-4460-9046-E31FCAE9C98D}"/>
              </a:ext>
            </a:extLst>
          </p:cNvPr>
          <p:cNvGrpSpPr>
            <a:grpSpLocks noChangeAspect="1"/>
          </p:cNvGrpSpPr>
          <p:nvPr/>
        </p:nvGrpSpPr>
        <p:grpSpPr>
          <a:xfrm>
            <a:off x="10726692" y="3328077"/>
            <a:ext cx="411154" cy="328845"/>
            <a:chOff x="956681" y="3107337"/>
            <a:chExt cx="1698714" cy="1358646"/>
          </a:xfrm>
        </p:grpSpPr>
        <p:sp>
          <p:nvSpPr>
            <p:cNvPr id="133" name="Freeform 18">
              <a:extLst>
                <a:ext uri="{FF2B5EF4-FFF2-40B4-BE49-F238E27FC236}">
                  <a16:creationId xmlns:a16="http://schemas.microsoft.com/office/drawing/2014/main" id="{51940FA6-F66B-44C8-871E-00506E740EFB}"/>
                </a:ext>
              </a:extLst>
            </p:cNvPr>
            <p:cNvSpPr>
              <a:spLocks/>
            </p:cNvSpPr>
            <p:nvPr/>
          </p:nvSpPr>
          <p:spPr bwMode="auto">
            <a:xfrm>
              <a:off x="956681" y="3107337"/>
              <a:ext cx="1698714" cy="1358646"/>
            </a:xfrm>
            <a:custGeom>
              <a:avLst/>
              <a:gdLst>
                <a:gd name="T0" fmla="*/ 0 w 4616"/>
                <a:gd name="T1" fmla="*/ 297 h 3700"/>
                <a:gd name="T2" fmla="*/ 302 w 4616"/>
                <a:gd name="T3" fmla="*/ 0 h 3700"/>
                <a:gd name="T4" fmla="*/ 4318 w 4616"/>
                <a:gd name="T5" fmla="*/ 0 h 3700"/>
                <a:gd name="T6" fmla="*/ 4616 w 4616"/>
                <a:gd name="T7" fmla="*/ 297 h 3700"/>
                <a:gd name="T8" fmla="*/ 4616 w 4616"/>
                <a:gd name="T9" fmla="*/ 3403 h 3700"/>
                <a:gd name="T10" fmla="*/ 4318 w 4616"/>
                <a:gd name="T11" fmla="*/ 3700 h 3700"/>
                <a:gd name="T12" fmla="*/ 302 w 4616"/>
                <a:gd name="T13" fmla="*/ 3700 h 3700"/>
                <a:gd name="T14" fmla="*/ 0 w 4616"/>
                <a:gd name="T15" fmla="*/ 3403 h 3700"/>
                <a:gd name="T16" fmla="*/ 0 w 4616"/>
                <a:gd name="T17" fmla="*/ 297 h 3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6" h="3700">
                  <a:moveTo>
                    <a:pt x="0" y="297"/>
                  </a:moveTo>
                  <a:cubicBezTo>
                    <a:pt x="0" y="136"/>
                    <a:pt x="132" y="0"/>
                    <a:pt x="302" y="0"/>
                  </a:cubicBezTo>
                  <a:cubicBezTo>
                    <a:pt x="4318" y="0"/>
                    <a:pt x="4318" y="0"/>
                    <a:pt x="4318" y="0"/>
                  </a:cubicBezTo>
                  <a:cubicBezTo>
                    <a:pt x="4480" y="0"/>
                    <a:pt x="4616" y="136"/>
                    <a:pt x="4616" y="297"/>
                  </a:cubicBezTo>
                  <a:cubicBezTo>
                    <a:pt x="4616" y="3403"/>
                    <a:pt x="4616" y="3403"/>
                    <a:pt x="4616" y="3403"/>
                  </a:cubicBezTo>
                  <a:cubicBezTo>
                    <a:pt x="4616" y="3568"/>
                    <a:pt x="4480" y="3700"/>
                    <a:pt x="4318" y="3700"/>
                  </a:cubicBezTo>
                  <a:cubicBezTo>
                    <a:pt x="302" y="3700"/>
                    <a:pt x="302" y="3700"/>
                    <a:pt x="302" y="3700"/>
                  </a:cubicBezTo>
                  <a:cubicBezTo>
                    <a:pt x="132" y="3700"/>
                    <a:pt x="0" y="3568"/>
                    <a:pt x="0" y="3403"/>
                  </a:cubicBezTo>
                  <a:cubicBezTo>
                    <a:pt x="0" y="297"/>
                    <a:pt x="0" y="297"/>
                    <a:pt x="0" y="297"/>
                  </a:cubicBezTo>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34" name="Freeform 19">
              <a:extLst>
                <a:ext uri="{FF2B5EF4-FFF2-40B4-BE49-F238E27FC236}">
                  <a16:creationId xmlns:a16="http://schemas.microsoft.com/office/drawing/2014/main" id="{F13CD35F-EAEA-4066-B227-0F84B7EAE02E}"/>
                </a:ext>
              </a:extLst>
            </p:cNvPr>
            <p:cNvSpPr>
              <a:spLocks/>
            </p:cNvSpPr>
            <p:nvPr/>
          </p:nvSpPr>
          <p:spPr bwMode="auto">
            <a:xfrm>
              <a:off x="1011870" y="3469317"/>
              <a:ext cx="1587522" cy="792950"/>
            </a:xfrm>
            <a:custGeom>
              <a:avLst/>
              <a:gdLst>
                <a:gd name="T0" fmla="*/ 0 w 4314"/>
                <a:gd name="T1" fmla="*/ 132 h 2160"/>
                <a:gd name="T2" fmla="*/ 132 w 4314"/>
                <a:gd name="T3" fmla="*/ 0 h 2160"/>
                <a:gd name="T4" fmla="*/ 4182 w 4314"/>
                <a:gd name="T5" fmla="*/ 0 h 2160"/>
                <a:gd name="T6" fmla="*/ 4314 w 4314"/>
                <a:gd name="T7" fmla="*/ 132 h 2160"/>
                <a:gd name="T8" fmla="*/ 4314 w 4314"/>
                <a:gd name="T9" fmla="*/ 2028 h 2160"/>
                <a:gd name="T10" fmla="*/ 4182 w 4314"/>
                <a:gd name="T11" fmla="*/ 2160 h 2160"/>
                <a:gd name="T12" fmla="*/ 132 w 4314"/>
                <a:gd name="T13" fmla="*/ 2160 h 2160"/>
                <a:gd name="T14" fmla="*/ 0 w 4314"/>
                <a:gd name="T15" fmla="*/ 2028 h 2160"/>
                <a:gd name="T16" fmla="*/ 0 w 4314"/>
                <a:gd name="T17" fmla="*/ 132 h 2160"/>
                <a:gd name="T18" fmla="*/ 0 w 4314"/>
                <a:gd name="T19" fmla="*/ 13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14" h="2160">
                  <a:moveTo>
                    <a:pt x="0" y="132"/>
                  </a:moveTo>
                  <a:cubicBezTo>
                    <a:pt x="0" y="60"/>
                    <a:pt x="56" y="0"/>
                    <a:pt x="132" y="0"/>
                  </a:cubicBezTo>
                  <a:cubicBezTo>
                    <a:pt x="4182" y="0"/>
                    <a:pt x="4182" y="0"/>
                    <a:pt x="4182" y="0"/>
                  </a:cubicBezTo>
                  <a:cubicBezTo>
                    <a:pt x="4254" y="0"/>
                    <a:pt x="4314" y="60"/>
                    <a:pt x="4314" y="132"/>
                  </a:cubicBezTo>
                  <a:cubicBezTo>
                    <a:pt x="4314" y="2028"/>
                    <a:pt x="4314" y="2028"/>
                    <a:pt x="4314" y="2028"/>
                  </a:cubicBezTo>
                  <a:cubicBezTo>
                    <a:pt x="4314" y="2100"/>
                    <a:pt x="4254" y="2160"/>
                    <a:pt x="4182" y="2160"/>
                  </a:cubicBezTo>
                  <a:cubicBezTo>
                    <a:pt x="132" y="2160"/>
                    <a:pt x="132" y="2160"/>
                    <a:pt x="132" y="2160"/>
                  </a:cubicBezTo>
                  <a:cubicBezTo>
                    <a:pt x="56" y="2160"/>
                    <a:pt x="0" y="2100"/>
                    <a:pt x="0" y="2028"/>
                  </a:cubicBezTo>
                  <a:cubicBezTo>
                    <a:pt x="0" y="132"/>
                    <a:pt x="0" y="132"/>
                    <a:pt x="0" y="132"/>
                  </a:cubicBezTo>
                  <a:cubicBezTo>
                    <a:pt x="0" y="132"/>
                    <a:pt x="0" y="132"/>
                    <a:pt x="0" y="132"/>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35" name="Freeform: Shape 6">
              <a:extLst>
                <a:ext uri="{FF2B5EF4-FFF2-40B4-BE49-F238E27FC236}">
                  <a16:creationId xmlns:a16="http://schemas.microsoft.com/office/drawing/2014/main" id="{52FFFEEB-2962-4BE8-A29D-BDF5FD02B9BB}"/>
                </a:ext>
              </a:extLst>
            </p:cNvPr>
            <p:cNvSpPr>
              <a:spLocks/>
            </p:cNvSpPr>
            <p:nvPr/>
          </p:nvSpPr>
          <p:spPr bwMode="auto">
            <a:xfrm>
              <a:off x="1077612" y="4303660"/>
              <a:ext cx="1473084" cy="113627"/>
            </a:xfrm>
            <a:custGeom>
              <a:avLst/>
              <a:gdLst>
                <a:gd name="connsiteX0" fmla="*/ 870509 w 2881312"/>
                <a:gd name="connsiteY0" fmla="*/ 12700 h 222250"/>
                <a:gd name="connsiteX1" fmla="*/ 1158315 w 2881312"/>
                <a:gd name="connsiteY1" fmla="*/ 12700 h 222250"/>
                <a:gd name="connsiteX2" fmla="*/ 1214437 w 2881312"/>
                <a:gd name="connsiteY2" fmla="*/ 66059 h 222250"/>
                <a:gd name="connsiteX3" fmla="*/ 1214437 w 2881312"/>
                <a:gd name="connsiteY3" fmla="*/ 153307 h 222250"/>
                <a:gd name="connsiteX4" fmla="*/ 1158315 w 2881312"/>
                <a:gd name="connsiteY4" fmla="*/ 209550 h 222250"/>
                <a:gd name="connsiteX5" fmla="*/ 870509 w 2881312"/>
                <a:gd name="connsiteY5" fmla="*/ 209550 h 222250"/>
                <a:gd name="connsiteX6" fmla="*/ 814387 w 2881312"/>
                <a:gd name="connsiteY6" fmla="*/ 153307 h 222250"/>
                <a:gd name="connsiteX7" fmla="*/ 814387 w 2881312"/>
                <a:gd name="connsiteY7" fmla="*/ 66059 h 222250"/>
                <a:gd name="connsiteX8" fmla="*/ 870509 w 2881312"/>
                <a:gd name="connsiteY8" fmla="*/ 12700 h 222250"/>
                <a:gd name="connsiteX9" fmla="*/ 361846 w 2881312"/>
                <a:gd name="connsiteY9" fmla="*/ 12700 h 222250"/>
                <a:gd name="connsiteX10" fmla="*/ 652131 w 2881312"/>
                <a:gd name="connsiteY10" fmla="*/ 12700 h 222250"/>
                <a:gd name="connsiteX11" fmla="*/ 712788 w 2881312"/>
                <a:gd name="connsiteY11" fmla="*/ 66059 h 222250"/>
                <a:gd name="connsiteX12" fmla="*/ 712788 w 2881312"/>
                <a:gd name="connsiteY12" fmla="*/ 153307 h 222250"/>
                <a:gd name="connsiteX13" fmla="*/ 652131 w 2881312"/>
                <a:gd name="connsiteY13" fmla="*/ 209550 h 222250"/>
                <a:gd name="connsiteX14" fmla="*/ 361846 w 2881312"/>
                <a:gd name="connsiteY14" fmla="*/ 209550 h 222250"/>
                <a:gd name="connsiteX15" fmla="*/ 304800 w 2881312"/>
                <a:gd name="connsiteY15" fmla="*/ 153307 h 222250"/>
                <a:gd name="connsiteX16" fmla="*/ 304800 w 2881312"/>
                <a:gd name="connsiteY16" fmla="*/ 66059 h 222250"/>
                <a:gd name="connsiteX17" fmla="*/ 361846 w 2881312"/>
                <a:gd name="connsiteY17" fmla="*/ 12700 h 222250"/>
                <a:gd name="connsiteX18" fmla="*/ 105569 w 2881312"/>
                <a:gd name="connsiteY18" fmla="*/ 6350 h 222250"/>
                <a:gd name="connsiteX19" fmla="*/ 211138 w 2881312"/>
                <a:gd name="connsiteY19" fmla="*/ 111125 h 222250"/>
                <a:gd name="connsiteX20" fmla="*/ 105569 w 2881312"/>
                <a:gd name="connsiteY20" fmla="*/ 215900 h 222250"/>
                <a:gd name="connsiteX21" fmla="*/ 0 w 2881312"/>
                <a:gd name="connsiteY21" fmla="*/ 111125 h 222250"/>
                <a:gd name="connsiteX22" fmla="*/ 105569 w 2881312"/>
                <a:gd name="connsiteY22" fmla="*/ 6350 h 222250"/>
                <a:gd name="connsiteX23" fmla="*/ 2772286 w 2881312"/>
                <a:gd name="connsiteY23" fmla="*/ 0 h 222250"/>
                <a:gd name="connsiteX24" fmla="*/ 2881312 w 2881312"/>
                <a:gd name="connsiteY24" fmla="*/ 110766 h 222250"/>
                <a:gd name="connsiteX25" fmla="*/ 2772286 w 2881312"/>
                <a:gd name="connsiteY25" fmla="*/ 222250 h 222250"/>
                <a:gd name="connsiteX26" fmla="*/ 2665412 w 2881312"/>
                <a:gd name="connsiteY26" fmla="*/ 110766 h 222250"/>
                <a:gd name="connsiteX27" fmla="*/ 2772286 w 2881312"/>
                <a:gd name="connsiteY27" fmla="*/ 0 h 2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81312" h="222250">
                  <a:moveTo>
                    <a:pt x="870509" y="12700"/>
                  </a:moveTo>
                  <a:cubicBezTo>
                    <a:pt x="870509" y="12700"/>
                    <a:pt x="870509" y="12700"/>
                    <a:pt x="1158315" y="12700"/>
                  </a:cubicBezTo>
                  <a:cubicBezTo>
                    <a:pt x="1189974" y="12700"/>
                    <a:pt x="1214437" y="36495"/>
                    <a:pt x="1214437" y="66059"/>
                  </a:cubicBezTo>
                  <a:cubicBezTo>
                    <a:pt x="1214437" y="66059"/>
                    <a:pt x="1214437" y="66059"/>
                    <a:pt x="1214437" y="153307"/>
                  </a:cubicBezTo>
                  <a:cubicBezTo>
                    <a:pt x="1214437" y="185034"/>
                    <a:pt x="1189974" y="209550"/>
                    <a:pt x="1158315" y="209550"/>
                  </a:cubicBezTo>
                  <a:cubicBezTo>
                    <a:pt x="1158315" y="209550"/>
                    <a:pt x="1158315" y="209550"/>
                    <a:pt x="870509" y="209550"/>
                  </a:cubicBezTo>
                  <a:cubicBezTo>
                    <a:pt x="838851" y="209550"/>
                    <a:pt x="814387" y="185034"/>
                    <a:pt x="814387" y="153307"/>
                  </a:cubicBezTo>
                  <a:cubicBezTo>
                    <a:pt x="814387" y="153307"/>
                    <a:pt x="814387" y="153307"/>
                    <a:pt x="814387" y="66059"/>
                  </a:cubicBezTo>
                  <a:cubicBezTo>
                    <a:pt x="814387" y="36495"/>
                    <a:pt x="838851" y="12700"/>
                    <a:pt x="870509" y="12700"/>
                  </a:cubicBezTo>
                  <a:close/>
                  <a:moveTo>
                    <a:pt x="361846" y="12700"/>
                  </a:moveTo>
                  <a:cubicBezTo>
                    <a:pt x="361846" y="12700"/>
                    <a:pt x="361846" y="12700"/>
                    <a:pt x="652131" y="12700"/>
                  </a:cubicBezTo>
                  <a:cubicBezTo>
                    <a:pt x="685348" y="12700"/>
                    <a:pt x="712788" y="36495"/>
                    <a:pt x="712788" y="66059"/>
                  </a:cubicBezTo>
                  <a:cubicBezTo>
                    <a:pt x="712788" y="66059"/>
                    <a:pt x="712788" y="66059"/>
                    <a:pt x="712788" y="153307"/>
                  </a:cubicBezTo>
                  <a:cubicBezTo>
                    <a:pt x="712788" y="185034"/>
                    <a:pt x="685348" y="209550"/>
                    <a:pt x="652131" y="209550"/>
                  </a:cubicBezTo>
                  <a:cubicBezTo>
                    <a:pt x="652131" y="209550"/>
                    <a:pt x="652131" y="209550"/>
                    <a:pt x="361846" y="209550"/>
                  </a:cubicBezTo>
                  <a:cubicBezTo>
                    <a:pt x="329351" y="209550"/>
                    <a:pt x="304800" y="185034"/>
                    <a:pt x="304800" y="153307"/>
                  </a:cubicBezTo>
                  <a:cubicBezTo>
                    <a:pt x="304800" y="153307"/>
                    <a:pt x="304800" y="153307"/>
                    <a:pt x="304800" y="66059"/>
                  </a:cubicBezTo>
                  <a:cubicBezTo>
                    <a:pt x="304800" y="36495"/>
                    <a:pt x="329351" y="12700"/>
                    <a:pt x="361846" y="12700"/>
                  </a:cubicBezTo>
                  <a:close/>
                  <a:moveTo>
                    <a:pt x="105569" y="6350"/>
                  </a:moveTo>
                  <a:cubicBezTo>
                    <a:pt x="163873" y="6350"/>
                    <a:pt x="211138" y="53259"/>
                    <a:pt x="211138" y="111125"/>
                  </a:cubicBezTo>
                  <a:cubicBezTo>
                    <a:pt x="211138" y="168991"/>
                    <a:pt x="163873" y="215900"/>
                    <a:pt x="105569" y="215900"/>
                  </a:cubicBezTo>
                  <a:cubicBezTo>
                    <a:pt x="47265" y="215900"/>
                    <a:pt x="0" y="168991"/>
                    <a:pt x="0" y="111125"/>
                  </a:cubicBezTo>
                  <a:cubicBezTo>
                    <a:pt x="0" y="53259"/>
                    <a:pt x="47265" y="6350"/>
                    <a:pt x="105569" y="6350"/>
                  </a:cubicBezTo>
                  <a:close/>
                  <a:moveTo>
                    <a:pt x="2772286" y="0"/>
                  </a:moveTo>
                  <a:cubicBezTo>
                    <a:pt x="2833255" y="0"/>
                    <a:pt x="2881312" y="48910"/>
                    <a:pt x="2881312" y="110766"/>
                  </a:cubicBezTo>
                  <a:cubicBezTo>
                    <a:pt x="2881312" y="173341"/>
                    <a:pt x="2833255" y="222250"/>
                    <a:pt x="2772286" y="222250"/>
                  </a:cubicBezTo>
                  <a:cubicBezTo>
                    <a:pt x="2713470" y="222250"/>
                    <a:pt x="2665412" y="173341"/>
                    <a:pt x="2665412" y="110766"/>
                  </a:cubicBezTo>
                  <a:cubicBezTo>
                    <a:pt x="2665412" y="48910"/>
                    <a:pt x="2713470" y="0"/>
                    <a:pt x="2772286" y="0"/>
                  </a:cubicBezTo>
                  <a:close/>
                </a:path>
              </a:pathLst>
            </a:custGeom>
            <a:solidFill>
              <a:schemeClr val="accent2">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36" name="Freeform 24">
              <a:extLst>
                <a:ext uri="{FF2B5EF4-FFF2-40B4-BE49-F238E27FC236}">
                  <a16:creationId xmlns:a16="http://schemas.microsoft.com/office/drawing/2014/main" id="{FF934BC4-7C37-4F4E-A57A-559685A48066}"/>
                </a:ext>
              </a:extLst>
            </p:cNvPr>
            <p:cNvSpPr>
              <a:spLocks/>
            </p:cNvSpPr>
            <p:nvPr/>
          </p:nvSpPr>
          <p:spPr bwMode="auto">
            <a:xfrm>
              <a:off x="1695253" y="3190934"/>
              <a:ext cx="224818" cy="223195"/>
            </a:xfrm>
            <a:custGeom>
              <a:avLst/>
              <a:gdLst>
                <a:gd name="T0" fmla="*/ 537 w 612"/>
                <a:gd name="T1" fmla="*/ 190 h 610"/>
                <a:gd name="T2" fmla="*/ 420 w 612"/>
                <a:gd name="T3" fmla="*/ 190 h 610"/>
                <a:gd name="T4" fmla="*/ 420 w 612"/>
                <a:gd name="T5" fmla="*/ 74 h 610"/>
                <a:gd name="T6" fmla="*/ 345 w 612"/>
                <a:gd name="T7" fmla="*/ 0 h 610"/>
                <a:gd name="T8" fmla="*/ 266 w 612"/>
                <a:gd name="T9" fmla="*/ 0 h 610"/>
                <a:gd name="T10" fmla="*/ 191 w 612"/>
                <a:gd name="T11" fmla="*/ 74 h 610"/>
                <a:gd name="T12" fmla="*/ 191 w 612"/>
                <a:gd name="T13" fmla="*/ 190 h 610"/>
                <a:gd name="T14" fmla="*/ 75 w 612"/>
                <a:gd name="T15" fmla="*/ 190 h 610"/>
                <a:gd name="T16" fmla="*/ 0 w 612"/>
                <a:gd name="T17" fmla="*/ 265 h 610"/>
                <a:gd name="T18" fmla="*/ 0 w 612"/>
                <a:gd name="T19" fmla="*/ 344 h 610"/>
                <a:gd name="T20" fmla="*/ 75 w 612"/>
                <a:gd name="T21" fmla="*/ 419 h 610"/>
                <a:gd name="T22" fmla="*/ 191 w 612"/>
                <a:gd name="T23" fmla="*/ 419 h 610"/>
                <a:gd name="T24" fmla="*/ 191 w 612"/>
                <a:gd name="T25" fmla="*/ 535 h 610"/>
                <a:gd name="T26" fmla="*/ 266 w 612"/>
                <a:gd name="T27" fmla="*/ 610 h 610"/>
                <a:gd name="T28" fmla="*/ 345 w 612"/>
                <a:gd name="T29" fmla="*/ 610 h 610"/>
                <a:gd name="T30" fmla="*/ 420 w 612"/>
                <a:gd name="T31" fmla="*/ 535 h 610"/>
                <a:gd name="T32" fmla="*/ 420 w 612"/>
                <a:gd name="T33" fmla="*/ 419 h 610"/>
                <a:gd name="T34" fmla="*/ 537 w 612"/>
                <a:gd name="T35" fmla="*/ 419 h 610"/>
                <a:gd name="T36" fmla="*/ 612 w 612"/>
                <a:gd name="T37" fmla="*/ 344 h 610"/>
                <a:gd name="T38" fmla="*/ 612 w 612"/>
                <a:gd name="T39" fmla="*/ 265 h 610"/>
                <a:gd name="T40" fmla="*/ 537 w 612"/>
                <a:gd name="T41" fmla="*/ 19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2" h="610">
                  <a:moveTo>
                    <a:pt x="537" y="190"/>
                  </a:moveTo>
                  <a:cubicBezTo>
                    <a:pt x="420" y="190"/>
                    <a:pt x="420" y="190"/>
                    <a:pt x="420" y="190"/>
                  </a:cubicBezTo>
                  <a:cubicBezTo>
                    <a:pt x="420" y="74"/>
                    <a:pt x="420" y="74"/>
                    <a:pt x="420" y="74"/>
                  </a:cubicBezTo>
                  <a:cubicBezTo>
                    <a:pt x="420" y="33"/>
                    <a:pt x="386" y="0"/>
                    <a:pt x="345" y="0"/>
                  </a:cubicBezTo>
                  <a:cubicBezTo>
                    <a:pt x="266" y="0"/>
                    <a:pt x="266" y="0"/>
                    <a:pt x="266" y="0"/>
                  </a:cubicBezTo>
                  <a:cubicBezTo>
                    <a:pt x="225" y="0"/>
                    <a:pt x="191" y="33"/>
                    <a:pt x="191" y="74"/>
                  </a:cubicBezTo>
                  <a:cubicBezTo>
                    <a:pt x="191" y="190"/>
                    <a:pt x="191" y="190"/>
                    <a:pt x="191" y="190"/>
                  </a:cubicBezTo>
                  <a:cubicBezTo>
                    <a:pt x="75" y="190"/>
                    <a:pt x="75" y="190"/>
                    <a:pt x="75" y="190"/>
                  </a:cubicBezTo>
                  <a:cubicBezTo>
                    <a:pt x="33" y="190"/>
                    <a:pt x="0" y="224"/>
                    <a:pt x="0" y="265"/>
                  </a:cubicBezTo>
                  <a:cubicBezTo>
                    <a:pt x="0" y="344"/>
                    <a:pt x="0" y="344"/>
                    <a:pt x="0" y="344"/>
                  </a:cubicBezTo>
                  <a:cubicBezTo>
                    <a:pt x="0" y="385"/>
                    <a:pt x="33" y="419"/>
                    <a:pt x="75" y="419"/>
                  </a:cubicBezTo>
                  <a:cubicBezTo>
                    <a:pt x="191" y="419"/>
                    <a:pt x="191" y="419"/>
                    <a:pt x="191" y="419"/>
                  </a:cubicBezTo>
                  <a:cubicBezTo>
                    <a:pt x="191" y="535"/>
                    <a:pt x="191" y="535"/>
                    <a:pt x="191" y="535"/>
                  </a:cubicBezTo>
                  <a:cubicBezTo>
                    <a:pt x="191" y="576"/>
                    <a:pt x="225" y="610"/>
                    <a:pt x="266" y="610"/>
                  </a:cubicBezTo>
                  <a:cubicBezTo>
                    <a:pt x="345" y="610"/>
                    <a:pt x="345" y="610"/>
                    <a:pt x="345" y="610"/>
                  </a:cubicBezTo>
                  <a:cubicBezTo>
                    <a:pt x="386" y="610"/>
                    <a:pt x="420" y="576"/>
                    <a:pt x="420" y="535"/>
                  </a:cubicBezTo>
                  <a:cubicBezTo>
                    <a:pt x="420" y="419"/>
                    <a:pt x="420" y="419"/>
                    <a:pt x="420" y="419"/>
                  </a:cubicBezTo>
                  <a:cubicBezTo>
                    <a:pt x="537" y="419"/>
                    <a:pt x="537" y="419"/>
                    <a:pt x="537" y="419"/>
                  </a:cubicBezTo>
                  <a:cubicBezTo>
                    <a:pt x="578" y="419"/>
                    <a:pt x="612" y="385"/>
                    <a:pt x="612" y="344"/>
                  </a:cubicBezTo>
                  <a:cubicBezTo>
                    <a:pt x="612" y="265"/>
                    <a:pt x="612" y="265"/>
                    <a:pt x="612" y="265"/>
                  </a:cubicBezTo>
                  <a:cubicBezTo>
                    <a:pt x="612" y="224"/>
                    <a:pt x="578" y="190"/>
                    <a:pt x="537" y="190"/>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a:ea typeface="+mn-ea"/>
                <a:cs typeface="+mn-cs"/>
              </a:endParaRPr>
            </a:p>
          </p:txBody>
        </p:sp>
        <p:sp>
          <p:nvSpPr>
            <p:cNvPr id="137" name="Freeform: Shape 25">
              <a:extLst>
                <a:ext uri="{FF2B5EF4-FFF2-40B4-BE49-F238E27FC236}">
                  <a16:creationId xmlns:a16="http://schemas.microsoft.com/office/drawing/2014/main" id="{49329398-5391-41E8-B1A0-B5BA3D3AC073}"/>
                </a:ext>
              </a:extLst>
            </p:cNvPr>
            <p:cNvSpPr/>
            <p:nvPr/>
          </p:nvSpPr>
          <p:spPr>
            <a:xfrm>
              <a:off x="1129305" y="3698641"/>
              <a:ext cx="654975" cy="369286"/>
            </a:xfrm>
            <a:custGeom>
              <a:avLst/>
              <a:gdLst>
                <a:gd name="connsiteX0" fmla="*/ 233016 w 866392"/>
                <a:gd name="connsiteY0" fmla="*/ 0 h 488487"/>
                <a:gd name="connsiteX1" fmla="*/ 251501 w 866392"/>
                <a:gd name="connsiteY1" fmla="*/ 14582 h 488487"/>
                <a:gd name="connsiteX2" fmla="*/ 346849 w 866392"/>
                <a:gd name="connsiteY2" fmla="*/ 435507 h 488487"/>
                <a:gd name="connsiteX3" fmla="*/ 401819 w 866392"/>
                <a:gd name="connsiteY3" fmla="*/ 227961 h 488487"/>
                <a:gd name="connsiteX4" fmla="*/ 416899 w 866392"/>
                <a:gd name="connsiteY4" fmla="*/ 213379 h 488487"/>
                <a:gd name="connsiteX5" fmla="*/ 434899 w 866392"/>
                <a:gd name="connsiteY5" fmla="*/ 222128 h 488487"/>
                <a:gd name="connsiteX6" fmla="*/ 449493 w 866392"/>
                <a:gd name="connsiteY6" fmla="*/ 242542 h 488487"/>
                <a:gd name="connsiteX7" fmla="*/ 489869 w 866392"/>
                <a:gd name="connsiteY7" fmla="*/ 182272 h 488487"/>
                <a:gd name="connsiteX8" fmla="*/ 506408 w 866392"/>
                <a:gd name="connsiteY8" fmla="*/ 174981 h 488487"/>
                <a:gd name="connsiteX9" fmla="*/ 522948 w 866392"/>
                <a:gd name="connsiteY9" fmla="*/ 182272 h 488487"/>
                <a:gd name="connsiteX10" fmla="*/ 548731 w 866392"/>
                <a:gd name="connsiteY10" fmla="*/ 226017 h 488487"/>
                <a:gd name="connsiteX11" fmla="*/ 550677 w 866392"/>
                <a:gd name="connsiteY11" fmla="*/ 227961 h 488487"/>
                <a:gd name="connsiteX12" fmla="*/ 847906 w 866392"/>
                <a:gd name="connsiteY12" fmla="*/ 227961 h 488487"/>
                <a:gd name="connsiteX13" fmla="*/ 866392 w 866392"/>
                <a:gd name="connsiteY13" fmla="*/ 245945 h 488487"/>
                <a:gd name="connsiteX14" fmla="*/ 847906 w 866392"/>
                <a:gd name="connsiteY14" fmla="*/ 264415 h 488487"/>
                <a:gd name="connsiteX15" fmla="*/ 545326 w 866392"/>
                <a:gd name="connsiteY15" fmla="*/ 264415 h 488487"/>
                <a:gd name="connsiteX16" fmla="*/ 517597 w 866392"/>
                <a:gd name="connsiteY16" fmla="*/ 244000 h 488487"/>
                <a:gd name="connsiteX17" fmla="*/ 504949 w 866392"/>
                <a:gd name="connsiteY17" fmla="*/ 227961 h 488487"/>
                <a:gd name="connsiteX18" fmla="*/ 475275 w 866392"/>
                <a:gd name="connsiteY18" fmla="*/ 267818 h 488487"/>
                <a:gd name="connsiteX19" fmla="*/ 446087 w 866392"/>
                <a:gd name="connsiteY19" fmla="*/ 284343 h 488487"/>
                <a:gd name="connsiteX20" fmla="*/ 427601 w 866392"/>
                <a:gd name="connsiteY20" fmla="*/ 277052 h 488487"/>
                <a:gd name="connsiteX21" fmla="*/ 381874 w 866392"/>
                <a:gd name="connsiteY21" fmla="*/ 461268 h 488487"/>
                <a:gd name="connsiteX22" fmla="*/ 346849 w 866392"/>
                <a:gd name="connsiteY22" fmla="*/ 488487 h 488487"/>
                <a:gd name="connsiteX23" fmla="*/ 315715 w 866392"/>
                <a:gd name="connsiteY23" fmla="*/ 462726 h 488487"/>
                <a:gd name="connsiteX24" fmla="*/ 315715 w 866392"/>
                <a:gd name="connsiteY24" fmla="*/ 457379 h 488487"/>
                <a:gd name="connsiteX25" fmla="*/ 233016 w 866392"/>
                <a:gd name="connsiteY25" fmla="*/ 104016 h 488487"/>
                <a:gd name="connsiteX26" fmla="*/ 205774 w 866392"/>
                <a:gd name="connsiteY26" fmla="*/ 222128 h 488487"/>
                <a:gd name="connsiteX27" fmla="*/ 205774 w 866392"/>
                <a:gd name="connsiteY27" fmla="*/ 226017 h 488487"/>
                <a:gd name="connsiteX28" fmla="*/ 174641 w 866392"/>
                <a:gd name="connsiteY28" fmla="*/ 245945 h 488487"/>
                <a:gd name="connsiteX29" fmla="*/ 18486 w 866392"/>
                <a:gd name="connsiteY29" fmla="*/ 245945 h 488487"/>
                <a:gd name="connsiteX30" fmla="*/ 0 w 866392"/>
                <a:gd name="connsiteY30" fmla="*/ 227961 h 488487"/>
                <a:gd name="connsiteX31" fmla="*/ 18486 w 866392"/>
                <a:gd name="connsiteY31" fmla="*/ 209491 h 488487"/>
                <a:gd name="connsiteX32" fmla="*/ 170749 w 866392"/>
                <a:gd name="connsiteY32" fmla="*/ 209491 h 488487"/>
                <a:gd name="connsiteX33" fmla="*/ 213071 w 866392"/>
                <a:gd name="connsiteY33" fmla="*/ 14582 h 488487"/>
                <a:gd name="connsiteX34" fmla="*/ 233016 w 866392"/>
                <a:gd name="connsiteY34" fmla="*/ 0 h 488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66392" h="488487">
                  <a:moveTo>
                    <a:pt x="233016" y="0"/>
                  </a:moveTo>
                  <a:cubicBezTo>
                    <a:pt x="242259" y="0"/>
                    <a:pt x="249556" y="5347"/>
                    <a:pt x="251501" y="14582"/>
                  </a:cubicBezTo>
                  <a:cubicBezTo>
                    <a:pt x="346849" y="435507"/>
                    <a:pt x="346849" y="435507"/>
                    <a:pt x="346849" y="435507"/>
                  </a:cubicBezTo>
                  <a:cubicBezTo>
                    <a:pt x="401819" y="227961"/>
                    <a:pt x="401819" y="227961"/>
                    <a:pt x="401819" y="227961"/>
                  </a:cubicBezTo>
                  <a:cubicBezTo>
                    <a:pt x="403765" y="220670"/>
                    <a:pt x="411062" y="214837"/>
                    <a:pt x="416899" y="213379"/>
                  </a:cubicBezTo>
                  <a:cubicBezTo>
                    <a:pt x="424196" y="213379"/>
                    <a:pt x="431493" y="214837"/>
                    <a:pt x="434899" y="222128"/>
                  </a:cubicBezTo>
                  <a:cubicBezTo>
                    <a:pt x="449493" y="242542"/>
                    <a:pt x="449493" y="242542"/>
                    <a:pt x="449493" y="242542"/>
                  </a:cubicBezTo>
                  <a:cubicBezTo>
                    <a:pt x="489869" y="182272"/>
                    <a:pt x="489869" y="182272"/>
                    <a:pt x="489869" y="182272"/>
                  </a:cubicBezTo>
                  <a:cubicBezTo>
                    <a:pt x="493761" y="176925"/>
                    <a:pt x="501058" y="174981"/>
                    <a:pt x="506408" y="174981"/>
                  </a:cubicBezTo>
                  <a:cubicBezTo>
                    <a:pt x="512246" y="174981"/>
                    <a:pt x="519543" y="178383"/>
                    <a:pt x="522948" y="182272"/>
                  </a:cubicBezTo>
                  <a:cubicBezTo>
                    <a:pt x="548731" y="226017"/>
                    <a:pt x="548731" y="226017"/>
                    <a:pt x="548731" y="226017"/>
                  </a:cubicBezTo>
                  <a:cubicBezTo>
                    <a:pt x="550677" y="227961"/>
                    <a:pt x="550677" y="227961"/>
                    <a:pt x="550677" y="227961"/>
                  </a:cubicBezTo>
                  <a:cubicBezTo>
                    <a:pt x="847906" y="227961"/>
                    <a:pt x="847906" y="227961"/>
                    <a:pt x="847906" y="227961"/>
                  </a:cubicBezTo>
                  <a:cubicBezTo>
                    <a:pt x="859095" y="227961"/>
                    <a:pt x="866392" y="235251"/>
                    <a:pt x="866392" y="245945"/>
                  </a:cubicBezTo>
                  <a:cubicBezTo>
                    <a:pt x="866392" y="255180"/>
                    <a:pt x="859095" y="264415"/>
                    <a:pt x="847906" y="264415"/>
                  </a:cubicBezTo>
                  <a:cubicBezTo>
                    <a:pt x="545326" y="264415"/>
                    <a:pt x="545326" y="264415"/>
                    <a:pt x="545326" y="264415"/>
                  </a:cubicBezTo>
                  <a:cubicBezTo>
                    <a:pt x="532191" y="264415"/>
                    <a:pt x="522948" y="257124"/>
                    <a:pt x="517597" y="244000"/>
                  </a:cubicBezTo>
                  <a:cubicBezTo>
                    <a:pt x="504949" y="227961"/>
                    <a:pt x="504949" y="227961"/>
                    <a:pt x="504949" y="227961"/>
                  </a:cubicBezTo>
                  <a:cubicBezTo>
                    <a:pt x="475275" y="267818"/>
                    <a:pt x="475275" y="267818"/>
                    <a:pt x="475275" y="267818"/>
                  </a:cubicBezTo>
                  <a:cubicBezTo>
                    <a:pt x="467978" y="284343"/>
                    <a:pt x="451438" y="284343"/>
                    <a:pt x="446087" y="284343"/>
                  </a:cubicBezTo>
                  <a:cubicBezTo>
                    <a:pt x="440736" y="284343"/>
                    <a:pt x="433439" y="280455"/>
                    <a:pt x="427601" y="277052"/>
                  </a:cubicBezTo>
                  <a:cubicBezTo>
                    <a:pt x="381874" y="461268"/>
                    <a:pt x="381874" y="461268"/>
                    <a:pt x="381874" y="461268"/>
                  </a:cubicBezTo>
                  <a:cubicBezTo>
                    <a:pt x="376523" y="477308"/>
                    <a:pt x="363389" y="488487"/>
                    <a:pt x="346849" y="488487"/>
                  </a:cubicBezTo>
                  <a:cubicBezTo>
                    <a:pt x="332255" y="488487"/>
                    <a:pt x="321066" y="473906"/>
                    <a:pt x="315715" y="462726"/>
                  </a:cubicBezTo>
                  <a:cubicBezTo>
                    <a:pt x="315715" y="461268"/>
                    <a:pt x="315715" y="461268"/>
                    <a:pt x="315715" y="457379"/>
                  </a:cubicBezTo>
                  <a:cubicBezTo>
                    <a:pt x="233016" y="104016"/>
                    <a:pt x="233016" y="104016"/>
                    <a:pt x="233016" y="104016"/>
                  </a:cubicBezTo>
                  <a:cubicBezTo>
                    <a:pt x="205774" y="222128"/>
                    <a:pt x="205774" y="222128"/>
                    <a:pt x="205774" y="222128"/>
                  </a:cubicBezTo>
                  <a:cubicBezTo>
                    <a:pt x="205774" y="222128"/>
                    <a:pt x="205774" y="224072"/>
                    <a:pt x="205774" y="226017"/>
                  </a:cubicBezTo>
                  <a:cubicBezTo>
                    <a:pt x="199936" y="238654"/>
                    <a:pt x="187289" y="245945"/>
                    <a:pt x="174641" y="245945"/>
                  </a:cubicBezTo>
                  <a:cubicBezTo>
                    <a:pt x="18486" y="245945"/>
                    <a:pt x="18486" y="245945"/>
                    <a:pt x="18486" y="245945"/>
                  </a:cubicBezTo>
                  <a:cubicBezTo>
                    <a:pt x="9243" y="245945"/>
                    <a:pt x="0" y="238654"/>
                    <a:pt x="0" y="227961"/>
                  </a:cubicBezTo>
                  <a:cubicBezTo>
                    <a:pt x="0" y="218726"/>
                    <a:pt x="9243" y="209491"/>
                    <a:pt x="18486" y="209491"/>
                  </a:cubicBezTo>
                  <a:cubicBezTo>
                    <a:pt x="170749" y="209491"/>
                    <a:pt x="170749" y="209491"/>
                    <a:pt x="170749" y="209491"/>
                  </a:cubicBezTo>
                  <a:cubicBezTo>
                    <a:pt x="213071" y="14582"/>
                    <a:pt x="213071" y="14582"/>
                    <a:pt x="213071" y="14582"/>
                  </a:cubicBezTo>
                  <a:cubicBezTo>
                    <a:pt x="215017" y="5347"/>
                    <a:pt x="222314" y="0"/>
                    <a:pt x="233016" y="0"/>
                  </a:cubicBezTo>
                  <a:close/>
                </a:path>
              </a:pathLst>
            </a:custGeom>
            <a:solidFill>
              <a:schemeClr val="accent1">
                <a:lumMod val="10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icrosoft Sans Serif"/>
                <a:ea typeface="+mn-ea"/>
                <a:cs typeface="+mn-cs"/>
              </a:endParaRPr>
            </a:p>
          </p:txBody>
        </p:sp>
        <p:grpSp>
          <p:nvGrpSpPr>
            <p:cNvPr id="138" name="Group 137">
              <a:extLst>
                <a:ext uri="{FF2B5EF4-FFF2-40B4-BE49-F238E27FC236}">
                  <a16:creationId xmlns:a16="http://schemas.microsoft.com/office/drawing/2014/main" id="{E214DF97-5F53-45A1-AD5A-236BFE84B666}"/>
                </a:ext>
              </a:extLst>
            </p:cNvPr>
            <p:cNvGrpSpPr/>
            <p:nvPr/>
          </p:nvGrpSpPr>
          <p:grpSpPr>
            <a:xfrm>
              <a:off x="1868942" y="3698641"/>
              <a:ext cx="618888" cy="421937"/>
              <a:chOff x="1512888" y="5453063"/>
              <a:chExt cx="1632281" cy="1112837"/>
            </a:xfrm>
          </p:grpSpPr>
          <p:sp>
            <p:nvSpPr>
              <p:cNvPr id="139" name="Freeform: Shape 111">
                <a:extLst>
                  <a:ext uri="{FF2B5EF4-FFF2-40B4-BE49-F238E27FC236}">
                    <a16:creationId xmlns:a16="http://schemas.microsoft.com/office/drawing/2014/main" id="{86078878-87E0-480F-B4A5-6C09CAFD38E2}"/>
                  </a:ext>
                </a:extLst>
              </p:cNvPr>
              <p:cNvSpPr>
                <a:spLocks noChangeArrowheads="1"/>
              </p:cNvSpPr>
              <p:nvPr/>
            </p:nvSpPr>
            <p:spPr bwMode="auto">
              <a:xfrm>
                <a:off x="1512888" y="5453063"/>
                <a:ext cx="788988" cy="1112837"/>
              </a:xfrm>
              <a:custGeom>
                <a:avLst/>
                <a:gdLst>
                  <a:gd name="connsiteX0" fmla="*/ 395288 w 788988"/>
                  <a:gd name="connsiteY0" fmla="*/ 568325 h 1112837"/>
                  <a:gd name="connsiteX1" fmla="*/ 90488 w 788988"/>
                  <a:gd name="connsiteY1" fmla="*/ 801688 h 1112837"/>
                  <a:gd name="connsiteX2" fmla="*/ 395288 w 788988"/>
                  <a:gd name="connsiteY2" fmla="*/ 1035051 h 1112837"/>
                  <a:gd name="connsiteX3" fmla="*/ 700088 w 788988"/>
                  <a:gd name="connsiteY3" fmla="*/ 801688 h 1112837"/>
                  <a:gd name="connsiteX4" fmla="*/ 395288 w 788988"/>
                  <a:gd name="connsiteY4" fmla="*/ 568325 h 1112837"/>
                  <a:gd name="connsiteX5" fmla="*/ 394494 w 788988"/>
                  <a:gd name="connsiteY5" fmla="*/ 76200 h 1112837"/>
                  <a:gd name="connsiteX6" fmla="*/ 139700 w 788988"/>
                  <a:gd name="connsiteY6" fmla="*/ 280988 h 1112837"/>
                  <a:gd name="connsiteX7" fmla="*/ 394494 w 788988"/>
                  <a:gd name="connsiteY7" fmla="*/ 485776 h 1112837"/>
                  <a:gd name="connsiteX8" fmla="*/ 649288 w 788988"/>
                  <a:gd name="connsiteY8" fmla="*/ 280988 h 1112837"/>
                  <a:gd name="connsiteX9" fmla="*/ 394494 w 788988"/>
                  <a:gd name="connsiteY9" fmla="*/ 76200 h 1112837"/>
                  <a:gd name="connsiteX10" fmla="*/ 394494 w 788988"/>
                  <a:gd name="connsiteY10" fmla="*/ 0 h 1112837"/>
                  <a:gd name="connsiteX11" fmla="*/ 636387 w 788988"/>
                  <a:gd name="connsiteY11" fmla="*/ 77529 h 1112837"/>
                  <a:gd name="connsiteX12" fmla="*/ 736429 w 788988"/>
                  <a:gd name="connsiteY12" fmla="*/ 281191 h 1112837"/>
                  <a:gd name="connsiteX13" fmla="*/ 686258 w 788988"/>
                  <a:gd name="connsiteY13" fmla="*/ 434161 h 1112837"/>
                  <a:gd name="connsiteX14" fmla="*/ 575167 w 788988"/>
                  <a:gd name="connsiteY14" fmla="*/ 523618 h 1112837"/>
                  <a:gd name="connsiteX15" fmla="*/ 724483 w 788988"/>
                  <a:gd name="connsiteY15" fmla="*/ 626791 h 1112837"/>
                  <a:gd name="connsiteX16" fmla="*/ 788988 w 788988"/>
                  <a:gd name="connsiteY16" fmla="*/ 801529 h 1112837"/>
                  <a:gd name="connsiteX17" fmla="*/ 759722 w 788988"/>
                  <a:gd name="connsiteY17" fmla="*/ 928557 h 1112837"/>
                  <a:gd name="connsiteX18" fmla="*/ 677897 w 788988"/>
                  <a:gd name="connsiteY18" fmla="*/ 1027257 h 1112837"/>
                  <a:gd name="connsiteX19" fmla="*/ 553068 w 788988"/>
                  <a:gd name="connsiteY19" fmla="*/ 1090473 h 1112837"/>
                  <a:gd name="connsiteX20" fmla="*/ 394494 w 788988"/>
                  <a:gd name="connsiteY20" fmla="*/ 1112837 h 1112837"/>
                  <a:gd name="connsiteX21" fmla="*/ 235920 w 788988"/>
                  <a:gd name="connsiteY21" fmla="*/ 1090473 h 1112837"/>
                  <a:gd name="connsiteX22" fmla="*/ 111091 w 788988"/>
                  <a:gd name="connsiteY22" fmla="*/ 1027257 h 1112837"/>
                  <a:gd name="connsiteX23" fmla="*/ 29266 w 788988"/>
                  <a:gd name="connsiteY23" fmla="*/ 928557 h 1112837"/>
                  <a:gd name="connsiteX24" fmla="*/ 0 w 788988"/>
                  <a:gd name="connsiteY24" fmla="*/ 801529 h 1112837"/>
                  <a:gd name="connsiteX25" fmla="*/ 64803 w 788988"/>
                  <a:gd name="connsiteY25" fmla="*/ 626791 h 1112837"/>
                  <a:gd name="connsiteX26" fmla="*/ 215016 w 788988"/>
                  <a:gd name="connsiteY26" fmla="*/ 523618 h 1112837"/>
                  <a:gd name="connsiteX27" fmla="*/ 103028 w 788988"/>
                  <a:gd name="connsiteY27" fmla="*/ 434459 h 1112837"/>
                  <a:gd name="connsiteX28" fmla="*/ 52559 w 788988"/>
                  <a:gd name="connsiteY28" fmla="*/ 281191 h 1112837"/>
                  <a:gd name="connsiteX29" fmla="*/ 152601 w 788988"/>
                  <a:gd name="connsiteY29" fmla="*/ 77529 h 1112837"/>
                  <a:gd name="connsiteX30" fmla="*/ 394494 w 788988"/>
                  <a:gd name="connsiteY30" fmla="*/ 0 h 111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88988" h="1112837">
                    <a:moveTo>
                      <a:pt x="395288" y="568325"/>
                    </a:moveTo>
                    <a:cubicBezTo>
                      <a:pt x="226952" y="568325"/>
                      <a:pt x="90488" y="672805"/>
                      <a:pt x="90488" y="801688"/>
                    </a:cubicBezTo>
                    <a:cubicBezTo>
                      <a:pt x="90488" y="930571"/>
                      <a:pt x="226952" y="1035051"/>
                      <a:pt x="395288" y="1035051"/>
                    </a:cubicBezTo>
                    <a:cubicBezTo>
                      <a:pt x="563624" y="1035051"/>
                      <a:pt x="700088" y="930571"/>
                      <a:pt x="700088" y="801688"/>
                    </a:cubicBezTo>
                    <a:cubicBezTo>
                      <a:pt x="700088" y="672805"/>
                      <a:pt x="563624" y="568325"/>
                      <a:pt x="395288" y="568325"/>
                    </a:cubicBezTo>
                    <a:close/>
                    <a:moveTo>
                      <a:pt x="394494" y="76200"/>
                    </a:moveTo>
                    <a:cubicBezTo>
                      <a:pt x="253775" y="76200"/>
                      <a:pt x="139700" y="167887"/>
                      <a:pt x="139700" y="280988"/>
                    </a:cubicBezTo>
                    <a:cubicBezTo>
                      <a:pt x="139700" y="394089"/>
                      <a:pt x="253775" y="485776"/>
                      <a:pt x="394494" y="485776"/>
                    </a:cubicBezTo>
                    <a:cubicBezTo>
                      <a:pt x="535213" y="485776"/>
                      <a:pt x="649288" y="394089"/>
                      <a:pt x="649288" y="280988"/>
                    </a:cubicBezTo>
                    <a:cubicBezTo>
                      <a:pt x="649288" y="167887"/>
                      <a:pt x="535213" y="76200"/>
                      <a:pt x="394494" y="76200"/>
                    </a:cubicBezTo>
                    <a:close/>
                    <a:moveTo>
                      <a:pt x="394494" y="0"/>
                    </a:moveTo>
                    <a:cubicBezTo>
                      <a:pt x="487966" y="0"/>
                      <a:pt x="573972" y="27433"/>
                      <a:pt x="636387" y="77529"/>
                    </a:cubicBezTo>
                    <a:cubicBezTo>
                      <a:pt x="700891" y="128817"/>
                      <a:pt x="736429" y="201277"/>
                      <a:pt x="736429" y="281191"/>
                    </a:cubicBezTo>
                    <a:cubicBezTo>
                      <a:pt x="736429" y="336654"/>
                      <a:pt x="719108" y="389433"/>
                      <a:pt x="686258" y="434161"/>
                    </a:cubicBezTo>
                    <a:cubicBezTo>
                      <a:pt x="658486" y="472329"/>
                      <a:pt x="620559" y="502744"/>
                      <a:pt x="575167" y="523618"/>
                    </a:cubicBezTo>
                    <a:cubicBezTo>
                      <a:pt x="636088" y="546578"/>
                      <a:pt x="687154" y="581765"/>
                      <a:pt x="724483" y="626791"/>
                    </a:cubicBezTo>
                    <a:cubicBezTo>
                      <a:pt x="766889" y="677781"/>
                      <a:pt x="788988" y="738313"/>
                      <a:pt x="788988" y="801529"/>
                    </a:cubicBezTo>
                    <a:cubicBezTo>
                      <a:pt x="788988" y="847152"/>
                      <a:pt x="779133" y="889793"/>
                      <a:pt x="759722" y="928557"/>
                    </a:cubicBezTo>
                    <a:cubicBezTo>
                      <a:pt x="740908" y="966427"/>
                      <a:pt x="713434" y="999526"/>
                      <a:pt x="677897" y="1027257"/>
                    </a:cubicBezTo>
                    <a:cubicBezTo>
                      <a:pt x="642658" y="1054691"/>
                      <a:pt x="600849" y="1075862"/>
                      <a:pt x="553068" y="1090473"/>
                    </a:cubicBezTo>
                    <a:cubicBezTo>
                      <a:pt x="504690" y="1105382"/>
                      <a:pt x="451234" y="1112837"/>
                      <a:pt x="394494" y="1112837"/>
                    </a:cubicBezTo>
                    <a:cubicBezTo>
                      <a:pt x="337754" y="1112837"/>
                      <a:pt x="284299" y="1105382"/>
                      <a:pt x="235920" y="1090473"/>
                    </a:cubicBezTo>
                    <a:cubicBezTo>
                      <a:pt x="188139" y="1075862"/>
                      <a:pt x="146330" y="1054691"/>
                      <a:pt x="111091" y="1027257"/>
                    </a:cubicBezTo>
                    <a:cubicBezTo>
                      <a:pt x="75853" y="999526"/>
                      <a:pt x="48080" y="966427"/>
                      <a:pt x="29266" y="928557"/>
                    </a:cubicBezTo>
                    <a:cubicBezTo>
                      <a:pt x="9855" y="889793"/>
                      <a:pt x="0" y="847152"/>
                      <a:pt x="0" y="801529"/>
                    </a:cubicBezTo>
                    <a:cubicBezTo>
                      <a:pt x="0" y="738313"/>
                      <a:pt x="22397" y="677781"/>
                      <a:pt x="64803" y="626791"/>
                    </a:cubicBezTo>
                    <a:cubicBezTo>
                      <a:pt x="102133" y="581765"/>
                      <a:pt x="153796" y="546578"/>
                      <a:pt x="215016" y="523618"/>
                    </a:cubicBezTo>
                    <a:cubicBezTo>
                      <a:pt x="169325" y="502744"/>
                      <a:pt x="131100" y="472329"/>
                      <a:pt x="103028" y="434459"/>
                    </a:cubicBezTo>
                    <a:cubicBezTo>
                      <a:pt x="70179" y="389731"/>
                      <a:pt x="52559" y="336654"/>
                      <a:pt x="52559" y="281191"/>
                    </a:cubicBezTo>
                    <a:cubicBezTo>
                      <a:pt x="52559" y="201277"/>
                      <a:pt x="88097" y="128817"/>
                      <a:pt x="152601" y="77529"/>
                    </a:cubicBezTo>
                    <a:cubicBezTo>
                      <a:pt x="215016" y="27433"/>
                      <a:pt x="301022" y="0"/>
                      <a:pt x="39449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40" name="Freeform: Shape 112">
                <a:extLst>
                  <a:ext uri="{FF2B5EF4-FFF2-40B4-BE49-F238E27FC236}">
                    <a16:creationId xmlns:a16="http://schemas.microsoft.com/office/drawing/2014/main" id="{19E9851A-B60B-46A1-97CB-937E4B1394EA}"/>
                  </a:ext>
                </a:extLst>
              </p:cNvPr>
              <p:cNvSpPr>
                <a:spLocks/>
              </p:cNvSpPr>
              <p:nvPr/>
            </p:nvSpPr>
            <p:spPr bwMode="auto">
              <a:xfrm>
                <a:off x="2386344" y="5453063"/>
                <a:ext cx="758825" cy="1112837"/>
              </a:xfrm>
              <a:custGeom>
                <a:avLst/>
                <a:gdLst>
                  <a:gd name="connsiteX0" fmla="*/ 378470 w 758825"/>
                  <a:gd name="connsiteY0" fmla="*/ 79375 h 1112837"/>
                  <a:gd name="connsiteX1" fmla="*/ 177446 w 758825"/>
                  <a:gd name="connsiteY1" fmla="*/ 195429 h 1112837"/>
                  <a:gd name="connsiteX2" fmla="*/ 88900 w 758825"/>
                  <a:gd name="connsiteY2" fmla="*/ 554927 h 1112837"/>
                  <a:gd name="connsiteX3" fmla="*/ 177745 w 758825"/>
                  <a:gd name="connsiteY3" fmla="*/ 916513 h 1112837"/>
                  <a:gd name="connsiteX4" fmla="*/ 378470 w 758825"/>
                  <a:gd name="connsiteY4" fmla="*/ 1033462 h 1112837"/>
                  <a:gd name="connsiteX5" fmla="*/ 579493 w 758825"/>
                  <a:gd name="connsiteY5" fmla="*/ 916513 h 1112837"/>
                  <a:gd name="connsiteX6" fmla="*/ 668338 w 758825"/>
                  <a:gd name="connsiteY6" fmla="*/ 554927 h 1112837"/>
                  <a:gd name="connsiteX7" fmla="*/ 579493 w 758825"/>
                  <a:gd name="connsiteY7" fmla="*/ 195429 h 1112837"/>
                  <a:gd name="connsiteX8" fmla="*/ 378470 w 758825"/>
                  <a:gd name="connsiteY8" fmla="*/ 79375 h 1112837"/>
                  <a:gd name="connsiteX9" fmla="*/ 379263 w 758825"/>
                  <a:gd name="connsiteY9" fmla="*/ 0 h 1112837"/>
                  <a:gd name="connsiteX10" fmla="*/ 658485 w 758825"/>
                  <a:gd name="connsiteY10" fmla="*/ 156847 h 1112837"/>
                  <a:gd name="connsiteX11" fmla="*/ 758825 w 758825"/>
                  <a:gd name="connsiteY11" fmla="*/ 554928 h 1112837"/>
                  <a:gd name="connsiteX12" fmla="*/ 658485 w 758825"/>
                  <a:gd name="connsiteY12" fmla="*/ 955692 h 1112837"/>
                  <a:gd name="connsiteX13" fmla="*/ 379263 w 758825"/>
                  <a:gd name="connsiteY13" fmla="*/ 1112837 h 1112837"/>
                  <a:gd name="connsiteX14" fmla="*/ 100341 w 758825"/>
                  <a:gd name="connsiteY14" fmla="*/ 955692 h 1112837"/>
                  <a:gd name="connsiteX15" fmla="*/ 0 w 758825"/>
                  <a:gd name="connsiteY15" fmla="*/ 554928 h 1112837"/>
                  <a:gd name="connsiteX16" fmla="*/ 100341 w 758825"/>
                  <a:gd name="connsiteY16" fmla="*/ 156847 h 1112837"/>
                  <a:gd name="connsiteX17" fmla="*/ 379263 w 758825"/>
                  <a:gd name="connsiteY17" fmla="*/ 0 h 111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8825" h="1112837">
                    <a:moveTo>
                      <a:pt x="378470" y="79375"/>
                    </a:moveTo>
                    <a:cubicBezTo>
                      <a:pt x="300094" y="79375"/>
                      <a:pt x="228899" y="120546"/>
                      <a:pt x="177446" y="195429"/>
                    </a:cubicBezTo>
                    <a:cubicBezTo>
                      <a:pt x="119413" y="280455"/>
                      <a:pt x="88900" y="404564"/>
                      <a:pt x="88900" y="554927"/>
                    </a:cubicBezTo>
                    <a:cubicBezTo>
                      <a:pt x="88900" y="705886"/>
                      <a:pt x="119413" y="830890"/>
                      <a:pt x="177745" y="916513"/>
                    </a:cubicBezTo>
                    <a:cubicBezTo>
                      <a:pt x="228899" y="991993"/>
                      <a:pt x="300094" y="1033462"/>
                      <a:pt x="378470" y="1033462"/>
                    </a:cubicBezTo>
                    <a:cubicBezTo>
                      <a:pt x="456845" y="1033462"/>
                      <a:pt x="528340" y="991993"/>
                      <a:pt x="579493" y="916513"/>
                    </a:cubicBezTo>
                    <a:cubicBezTo>
                      <a:pt x="637527" y="830890"/>
                      <a:pt x="668338" y="705886"/>
                      <a:pt x="668338" y="554927"/>
                    </a:cubicBezTo>
                    <a:cubicBezTo>
                      <a:pt x="668338" y="404564"/>
                      <a:pt x="637527" y="280455"/>
                      <a:pt x="579493" y="195429"/>
                    </a:cubicBezTo>
                    <a:cubicBezTo>
                      <a:pt x="528340" y="120546"/>
                      <a:pt x="456845" y="79375"/>
                      <a:pt x="378470" y="79375"/>
                    </a:cubicBezTo>
                    <a:close/>
                    <a:moveTo>
                      <a:pt x="379263" y="0"/>
                    </a:moveTo>
                    <a:cubicBezTo>
                      <a:pt x="493938" y="0"/>
                      <a:pt x="590396" y="54270"/>
                      <a:pt x="658485" y="156847"/>
                    </a:cubicBezTo>
                    <a:cubicBezTo>
                      <a:pt x="724184" y="255845"/>
                      <a:pt x="758825" y="393608"/>
                      <a:pt x="758825" y="554928"/>
                    </a:cubicBezTo>
                    <a:cubicBezTo>
                      <a:pt x="758825" y="717738"/>
                      <a:pt x="724184" y="856396"/>
                      <a:pt x="658485" y="955692"/>
                    </a:cubicBezTo>
                    <a:cubicBezTo>
                      <a:pt x="590396" y="1058567"/>
                      <a:pt x="493938" y="1112837"/>
                      <a:pt x="379263" y="1112837"/>
                    </a:cubicBezTo>
                    <a:cubicBezTo>
                      <a:pt x="264588" y="1112837"/>
                      <a:pt x="168130" y="1058567"/>
                      <a:pt x="100341" y="955692"/>
                    </a:cubicBezTo>
                    <a:cubicBezTo>
                      <a:pt x="34641" y="856396"/>
                      <a:pt x="0" y="717738"/>
                      <a:pt x="0" y="554928"/>
                    </a:cubicBezTo>
                    <a:cubicBezTo>
                      <a:pt x="0" y="393608"/>
                      <a:pt x="34641" y="255845"/>
                      <a:pt x="100341" y="156847"/>
                    </a:cubicBezTo>
                    <a:cubicBezTo>
                      <a:pt x="168429" y="54270"/>
                      <a:pt x="264887" y="0"/>
                      <a:pt x="37926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sp>
        <p:nvSpPr>
          <p:cNvPr id="3" name="Rectangle: Rounded Corners 2">
            <a:extLst>
              <a:ext uri="{FF2B5EF4-FFF2-40B4-BE49-F238E27FC236}">
                <a16:creationId xmlns:a16="http://schemas.microsoft.com/office/drawing/2014/main" id="{CBB32042-9DA8-4772-82E8-11764D8FC6B3}"/>
              </a:ext>
            </a:extLst>
          </p:cNvPr>
          <p:cNvSpPr/>
          <p:nvPr/>
        </p:nvSpPr>
        <p:spPr>
          <a:xfrm>
            <a:off x="6350806" y="307956"/>
            <a:ext cx="5623543" cy="4951212"/>
          </a:xfrm>
          <a:prstGeom prst="round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err="1">
              <a:solidFill>
                <a:schemeClr val="bg1"/>
              </a:solidFill>
              <a:latin typeface="Microsoft Sans Serif"/>
              <a:cs typeface="Microsoft Sans Serif" panose="020B0604020202020204" pitchFamily="34" charset="0"/>
            </a:endParaRPr>
          </a:p>
        </p:txBody>
      </p:sp>
      <p:sp>
        <p:nvSpPr>
          <p:cNvPr id="5" name="TextBox 4">
            <a:extLst>
              <a:ext uri="{FF2B5EF4-FFF2-40B4-BE49-F238E27FC236}">
                <a16:creationId xmlns:a16="http://schemas.microsoft.com/office/drawing/2014/main" id="{68DEAAEF-3C90-4CA4-9087-A6B599315DD2}"/>
              </a:ext>
            </a:extLst>
          </p:cNvPr>
          <p:cNvSpPr txBox="1"/>
          <p:nvPr/>
        </p:nvSpPr>
        <p:spPr>
          <a:xfrm>
            <a:off x="7792036" y="38929"/>
            <a:ext cx="2343590" cy="236347"/>
          </a:xfrm>
          <a:prstGeom prst="rect">
            <a:avLst/>
          </a:prstGeom>
        </p:spPr>
        <p:txBody>
          <a:bodyPr wrap="none" lIns="0" tIns="0" rIns="0" bIns="0" rtlCol="0">
            <a:spAutoFit/>
          </a:bodyPr>
          <a:lstStyle/>
          <a:p>
            <a:pPr algn="l">
              <a:lnSpc>
                <a:spcPct val="96000"/>
              </a:lnSpc>
            </a:pPr>
            <a:r>
              <a:rPr lang="en-US" sz="1600" b="1">
                <a:solidFill>
                  <a:schemeClr val="accent1"/>
                </a:solidFill>
                <a:latin typeface="Microsoft Sans Serif"/>
                <a:cs typeface="Microsoft Sans Serif" panose="020B0604020202020204" pitchFamily="34" charset="0"/>
              </a:rPr>
              <a:t>Focus of this presentation</a:t>
            </a:r>
          </a:p>
        </p:txBody>
      </p:sp>
      <p:grpSp>
        <p:nvGrpSpPr>
          <p:cNvPr id="186" name="Group 185">
            <a:extLst>
              <a:ext uri="{FF2B5EF4-FFF2-40B4-BE49-F238E27FC236}">
                <a16:creationId xmlns:a16="http://schemas.microsoft.com/office/drawing/2014/main" id="{B14160FD-FDA0-49DB-B839-8FC14B555EDB}"/>
              </a:ext>
            </a:extLst>
          </p:cNvPr>
          <p:cNvGrpSpPr/>
          <p:nvPr/>
        </p:nvGrpSpPr>
        <p:grpSpPr>
          <a:xfrm>
            <a:off x="4179402" y="4457878"/>
            <a:ext cx="412626" cy="255643"/>
            <a:chOff x="16516350" y="0"/>
            <a:chExt cx="11074400" cy="6861175"/>
          </a:xfrm>
        </p:grpSpPr>
        <p:sp>
          <p:nvSpPr>
            <p:cNvPr id="187" name="Freeform 5">
              <a:extLst>
                <a:ext uri="{FF2B5EF4-FFF2-40B4-BE49-F238E27FC236}">
                  <a16:creationId xmlns:a16="http://schemas.microsoft.com/office/drawing/2014/main" id="{94C004A3-F71C-4F2D-8B38-69972FB6C16E}"/>
                </a:ext>
              </a:extLst>
            </p:cNvPr>
            <p:cNvSpPr>
              <a:spLocks/>
            </p:cNvSpPr>
            <p:nvPr/>
          </p:nvSpPr>
          <p:spPr bwMode="auto">
            <a:xfrm>
              <a:off x="16516350" y="0"/>
              <a:ext cx="11074400" cy="6861175"/>
            </a:xfrm>
            <a:custGeom>
              <a:avLst/>
              <a:gdLst>
                <a:gd name="T0" fmla="*/ 1211 w 4233"/>
                <a:gd name="T1" fmla="*/ 0 h 2620"/>
                <a:gd name="T2" fmla="*/ 3023 w 4233"/>
                <a:gd name="T3" fmla="*/ 0 h 2620"/>
                <a:gd name="T4" fmla="*/ 3863 w 4233"/>
                <a:gd name="T5" fmla="*/ 846 h 2620"/>
                <a:gd name="T6" fmla="*/ 4233 w 4233"/>
                <a:gd name="T7" fmla="*/ 1374 h 2620"/>
                <a:gd name="T8" fmla="*/ 4233 w 4233"/>
                <a:gd name="T9" fmla="*/ 2477 h 2620"/>
                <a:gd name="T10" fmla="*/ 4094 w 4233"/>
                <a:gd name="T11" fmla="*/ 2620 h 2620"/>
                <a:gd name="T12" fmla="*/ 3671 w 4233"/>
                <a:gd name="T13" fmla="*/ 2620 h 2620"/>
                <a:gd name="T14" fmla="*/ 3526 w 4233"/>
                <a:gd name="T15" fmla="*/ 2477 h 2620"/>
                <a:gd name="T16" fmla="*/ 3526 w 4233"/>
                <a:gd name="T17" fmla="*/ 2291 h 2620"/>
                <a:gd name="T18" fmla="*/ 2117 w 4233"/>
                <a:gd name="T19" fmla="*/ 2365 h 2620"/>
                <a:gd name="T20" fmla="*/ 707 w 4233"/>
                <a:gd name="T21" fmla="*/ 2291 h 2620"/>
                <a:gd name="T22" fmla="*/ 707 w 4233"/>
                <a:gd name="T23" fmla="*/ 2477 h 2620"/>
                <a:gd name="T24" fmla="*/ 563 w 4233"/>
                <a:gd name="T25" fmla="*/ 2620 h 2620"/>
                <a:gd name="T26" fmla="*/ 139 w 4233"/>
                <a:gd name="T27" fmla="*/ 2620 h 2620"/>
                <a:gd name="T28" fmla="*/ 0 w 4233"/>
                <a:gd name="T29" fmla="*/ 2477 h 2620"/>
                <a:gd name="T30" fmla="*/ 0 w 4233"/>
                <a:gd name="T31" fmla="*/ 1374 h 2620"/>
                <a:gd name="T32" fmla="*/ 370 w 4233"/>
                <a:gd name="T33" fmla="*/ 846 h 2620"/>
                <a:gd name="T34" fmla="*/ 1211 w 4233"/>
                <a:gd name="T35" fmla="*/ 0 h 2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33" h="2620">
                  <a:moveTo>
                    <a:pt x="1211" y="0"/>
                  </a:moveTo>
                  <a:cubicBezTo>
                    <a:pt x="1211" y="0"/>
                    <a:pt x="2223" y="0"/>
                    <a:pt x="3023" y="0"/>
                  </a:cubicBezTo>
                  <a:cubicBezTo>
                    <a:pt x="3357" y="0"/>
                    <a:pt x="3863" y="846"/>
                    <a:pt x="3863" y="846"/>
                  </a:cubicBezTo>
                  <a:cubicBezTo>
                    <a:pt x="3863" y="846"/>
                    <a:pt x="4233" y="992"/>
                    <a:pt x="4233" y="1374"/>
                  </a:cubicBezTo>
                  <a:cubicBezTo>
                    <a:pt x="4233" y="1751"/>
                    <a:pt x="4233" y="2477"/>
                    <a:pt x="4233" y="2477"/>
                  </a:cubicBezTo>
                  <a:cubicBezTo>
                    <a:pt x="4233" y="2557"/>
                    <a:pt x="4172" y="2620"/>
                    <a:pt x="4094" y="2620"/>
                  </a:cubicBezTo>
                  <a:cubicBezTo>
                    <a:pt x="4094" y="2620"/>
                    <a:pt x="4094" y="2620"/>
                    <a:pt x="3671" y="2620"/>
                  </a:cubicBezTo>
                  <a:cubicBezTo>
                    <a:pt x="3593" y="2620"/>
                    <a:pt x="3526" y="2557"/>
                    <a:pt x="3526" y="2477"/>
                  </a:cubicBezTo>
                  <a:cubicBezTo>
                    <a:pt x="3526" y="2477"/>
                    <a:pt x="3526" y="2564"/>
                    <a:pt x="3526" y="2291"/>
                  </a:cubicBezTo>
                  <a:cubicBezTo>
                    <a:pt x="3520" y="2296"/>
                    <a:pt x="2835" y="2365"/>
                    <a:pt x="2117" y="2365"/>
                  </a:cubicBezTo>
                  <a:cubicBezTo>
                    <a:pt x="1398" y="2365"/>
                    <a:pt x="707" y="2291"/>
                    <a:pt x="707" y="2291"/>
                  </a:cubicBezTo>
                  <a:cubicBezTo>
                    <a:pt x="707" y="2291"/>
                    <a:pt x="707" y="2204"/>
                    <a:pt x="707" y="2477"/>
                  </a:cubicBezTo>
                  <a:cubicBezTo>
                    <a:pt x="707" y="2557"/>
                    <a:pt x="641" y="2620"/>
                    <a:pt x="563" y="2620"/>
                  </a:cubicBezTo>
                  <a:cubicBezTo>
                    <a:pt x="563" y="2620"/>
                    <a:pt x="563" y="2620"/>
                    <a:pt x="139" y="2620"/>
                  </a:cubicBezTo>
                  <a:cubicBezTo>
                    <a:pt x="61" y="2620"/>
                    <a:pt x="0" y="2557"/>
                    <a:pt x="0" y="2477"/>
                  </a:cubicBezTo>
                  <a:cubicBezTo>
                    <a:pt x="0" y="2477"/>
                    <a:pt x="0" y="1751"/>
                    <a:pt x="0" y="1374"/>
                  </a:cubicBezTo>
                  <a:cubicBezTo>
                    <a:pt x="0" y="992"/>
                    <a:pt x="370" y="846"/>
                    <a:pt x="370" y="846"/>
                  </a:cubicBezTo>
                  <a:cubicBezTo>
                    <a:pt x="370" y="846"/>
                    <a:pt x="876" y="0"/>
                    <a:pt x="12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88" name="Freeform 6">
              <a:extLst>
                <a:ext uri="{FF2B5EF4-FFF2-40B4-BE49-F238E27FC236}">
                  <a16:creationId xmlns:a16="http://schemas.microsoft.com/office/drawing/2014/main" id="{19127074-8B36-4B83-B99C-A93A91E41EF3}"/>
                </a:ext>
              </a:extLst>
            </p:cNvPr>
            <p:cNvSpPr>
              <a:spLocks/>
            </p:cNvSpPr>
            <p:nvPr/>
          </p:nvSpPr>
          <p:spPr bwMode="auto">
            <a:xfrm>
              <a:off x="18627725" y="773113"/>
              <a:ext cx="6851650" cy="1801813"/>
            </a:xfrm>
            <a:custGeom>
              <a:avLst/>
              <a:gdLst>
                <a:gd name="T0" fmla="*/ 2059 w 2619"/>
                <a:gd name="T1" fmla="*/ 0 h 688"/>
                <a:gd name="T2" fmla="*/ 561 w 2619"/>
                <a:gd name="T3" fmla="*/ 0 h 688"/>
                <a:gd name="T4" fmla="*/ 14 w 2619"/>
                <a:gd name="T5" fmla="*/ 514 h 688"/>
                <a:gd name="T6" fmla="*/ 35 w 2619"/>
                <a:gd name="T7" fmla="*/ 576 h 688"/>
                <a:gd name="T8" fmla="*/ 305 w 2619"/>
                <a:gd name="T9" fmla="*/ 688 h 688"/>
                <a:gd name="T10" fmla="*/ 1310 w 2619"/>
                <a:gd name="T11" fmla="*/ 593 h 688"/>
                <a:gd name="T12" fmla="*/ 2314 w 2619"/>
                <a:gd name="T13" fmla="*/ 688 h 688"/>
                <a:gd name="T14" fmla="*/ 2584 w 2619"/>
                <a:gd name="T15" fmla="*/ 576 h 688"/>
                <a:gd name="T16" fmla="*/ 2606 w 2619"/>
                <a:gd name="T17" fmla="*/ 514 h 688"/>
                <a:gd name="T18" fmla="*/ 2059 w 2619"/>
                <a:gd name="T1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9" h="688">
                  <a:moveTo>
                    <a:pt x="2059" y="0"/>
                  </a:moveTo>
                  <a:cubicBezTo>
                    <a:pt x="2059" y="0"/>
                    <a:pt x="2059" y="0"/>
                    <a:pt x="561" y="0"/>
                  </a:cubicBezTo>
                  <a:cubicBezTo>
                    <a:pt x="339" y="0"/>
                    <a:pt x="92" y="383"/>
                    <a:pt x="14" y="514"/>
                  </a:cubicBezTo>
                  <a:cubicBezTo>
                    <a:pt x="0" y="537"/>
                    <a:pt x="10" y="566"/>
                    <a:pt x="35" y="576"/>
                  </a:cubicBezTo>
                  <a:cubicBezTo>
                    <a:pt x="305" y="688"/>
                    <a:pt x="305" y="688"/>
                    <a:pt x="305" y="688"/>
                  </a:cubicBezTo>
                  <a:cubicBezTo>
                    <a:pt x="305" y="688"/>
                    <a:pt x="856" y="593"/>
                    <a:pt x="1310" y="593"/>
                  </a:cubicBezTo>
                  <a:cubicBezTo>
                    <a:pt x="1763" y="593"/>
                    <a:pt x="2314" y="688"/>
                    <a:pt x="2314" y="688"/>
                  </a:cubicBezTo>
                  <a:cubicBezTo>
                    <a:pt x="2584" y="576"/>
                    <a:pt x="2584" y="576"/>
                    <a:pt x="2584" y="576"/>
                  </a:cubicBezTo>
                  <a:cubicBezTo>
                    <a:pt x="2609" y="566"/>
                    <a:pt x="2619" y="537"/>
                    <a:pt x="2606" y="514"/>
                  </a:cubicBezTo>
                  <a:cubicBezTo>
                    <a:pt x="2528" y="383"/>
                    <a:pt x="2281" y="0"/>
                    <a:pt x="205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89" name="Freeform 7">
              <a:extLst>
                <a:ext uri="{FF2B5EF4-FFF2-40B4-BE49-F238E27FC236}">
                  <a16:creationId xmlns:a16="http://schemas.microsoft.com/office/drawing/2014/main" id="{878DD15A-7FED-44BB-A639-40ADAFA21858}"/>
                </a:ext>
              </a:extLst>
            </p:cNvPr>
            <p:cNvSpPr>
              <a:spLocks/>
            </p:cNvSpPr>
            <p:nvPr/>
          </p:nvSpPr>
          <p:spPr bwMode="auto">
            <a:xfrm>
              <a:off x="17411700" y="3740150"/>
              <a:ext cx="2254250" cy="1038225"/>
            </a:xfrm>
            <a:custGeom>
              <a:avLst/>
              <a:gdLst>
                <a:gd name="T0" fmla="*/ 0 w 862"/>
                <a:gd name="T1" fmla="*/ 63 h 397"/>
                <a:gd name="T2" fmla="*/ 0 w 862"/>
                <a:gd name="T3" fmla="*/ 290 h 397"/>
                <a:gd name="T4" fmla="*/ 51 w 862"/>
                <a:gd name="T5" fmla="*/ 344 h 397"/>
                <a:gd name="T6" fmla="*/ 804 w 862"/>
                <a:gd name="T7" fmla="*/ 394 h 397"/>
                <a:gd name="T8" fmla="*/ 862 w 862"/>
                <a:gd name="T9" fmla="*/ 340 h 397"/>
                <a:gd name="T10" fmla="*/ 862 w 862"/>
                <a:gd name="T11" fmla="*/ 284 h 397"/>
                <a:gd name="T12" fmla="*/ 823 w 862"/>
                <a:gd name="T13" fmla="*/ 232 h 397"/>
                <a:gd name="T14" fmla="*/ 70 w 862"/>
                <a:gd name="T15" fmla="*/ 11 h 397"/>
                <a:gd name="T16" fmla="*/ 0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0" y="63"/>
                  </a:moveTo>
                  <a:cubicBezTo>
                    <a:pt x="0" y="290"/>
                    <a:pt x="0" y="290"/>
                    <a:pt x="0" y="290"/>
                  </a:cubicBezTo>
                  <a:cubicBezTo>
                    <a:pt x="0" y="319"/>
                    <a:pt x="22" y="342"/>
                    <a:pt x="51" y="344"/>
                  </a:cubicBezTo>
                  <a:cubicBezTo>
                    <a:pt x="804" y="394"/>
                    <a:pt x="804" y="394"/>
                    <a:pt x="804" y="394"/>
                  </a:cubicBezTo>
                  <a:cubicBezTo>
                    <a:pt x="836" y="397"/>
                    <a:pt x="862" y="372"/>
                    <a:pt x="862" y="340"/>
                  </a:cubicBezTo>
                  <a:cubicBezTo>
                    <a:pt x="862" y="284"/>
                    <a:pt x="862" y="284"/>
                    <a:pt x="862" y="284"/>
                  </a:cubicBezTo>
                  <a:cubicBezTo>
                    <a:pt x="862" y="260"/>
                    <a:pt x="846" y="238"/>
                    <a:pt x="823" y="232"/>
                  </a:cubicBezTo>
                  <a:cubicBezTo>
                    <a:pt x="70" y="11"/>
                    <a:pt x="70" y="11"/>
                    <a:pt x="70" y="11"/>
                  </a:cubicBezTo>
                  <a:cubicBezTo>
                    <a:pt x="35" y="0"/>
                    <a:pt x="0" y="26"/>
                    <a:pt x="0"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90" name="Freeform 8">
              <a:extLst>
                <a:ext uri="{FF2B5EF4-FFF2-40B4-BE49-F238E27FC236}">
                  <a16:creationId xmlns:a16="http://schemas.microsoft.com/office/drawing/2014/main" id="{FAC3D4D0-8CAE-4123-A796-6697C1915D0B}"/>
                </a:ext>
              </a:extLst>
            </p:cNvPr>
            <p:cNvSpPr>
              <a:spLocks/>
            </p:cNvSpPr>
            <p:nvPr/>
          </p:nvSpPr>
          <p:spPr bwMode="auto">
            <a:xfrm>
              <a:off x="24466550" y="3740150"/>
              <a:ext cx="2255838" cy="1038225"/>
            </a:xfrm>
            <a:custGeom>
              <a:avLst/>
              <a:gdLst>
                <a:gd name="T0" fmla="*/ 862 w 862"/>
                <a:gd name="T1" fmla="*/ 63 h 397"/>
                <a:gd name="T2" fmla="*/ 862 w 862"/>
                <a:gd name="T3" fmla="*/ 290 h 397"/>
                <a:gd name="T4" fmla="*/ 812 w 862"/>
                <a:gd name="T5" fmla="*/ 344 h 397"/>
                <a:gd name="T6" fmla="*/ 58 w 862"/>
                <a:gd name="T7" fmla="*/ 394 h 397"/>
                <a:gd name="T8" fmla="*/ 0 w 862"/>
                <a:gd name="T9" fmla="*/ 340 h 397"/>
                <a:gd name="T10" fmla="*/ 0 w 862"/>
                <a:gd name="T11" fmla="*/ 284 h 397"/>
                <a:gd name="T12" fmla="*/ 39 w 862"/>
                <a:gd name="T13" fmla="*/ 232 h 397"/>
                <a:gd name="T14" fmla="*/ 793 w 862"/>
                <a:gd name="T15" fmla="*/ 11 h 397"/>
                <a:gd name="T16" fmla="*/ 862 w 862"/>
                <a:gd name="T17" fmla="*/ 6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397">
                  <a:moveTo>
                    <a:pt x="862" y="63"/>
                  </a:moveTo>
                  <a:cubicBezTo>
                    <a:pt x="862" y="290"/>
                    <a:pt x="862" y="290"/>
                    <a:pt x="862" y="290"/>
                  </a:cubicBezTo>
                  <a:cubicBezTo>
                    <a:pt x="862" y="319"/>
                    <a:pt x="840" y="342"/>
                    <a:pt x="812" y="344"/>
                  </a:cubicBezTo>
                  <a:cubicBezTo>
                    <a:pt x="58" y="394"/>
                    <a:pt x="58" y="394"/>
                    <a:pt x="58" y="394"/>
                  </a:cubicBezTo>
                  <a:cubicBezTo>
                    <a:pt x="27" y="397"/>
                    <a:pt x="0" y="372"/>
                    <a:pt x="0" y="340"/>
                  </a:cubicBezTo>
                  <a:cubicBezTo>
                    <a:pt x="0" y="284"/>
                    <a:pt x="0" y="284"/>
                    <a:pt x="0" y="284"/>
                  </a:cubicBezTo>
                  <a:cubicBezTo>
                    <a:pt x="0" y="260"/>
                    <a:pt x="16" y="238"/>
                    <a:pt x="39" y="232"/>
                  </a:cubicBezTo>
                  <a:cubicBezTo>
                    <a:pt x="793" y="11"/>
                    <a:pt x="793" y="11"/>
                    <a:pt x="793" y="11"/>
                  </a:cubicBezTo>
                  <a:cubicBezTo>
                    <a:pt x="827" y="0"/>
                    <a:pt x="862" y="26"/>
                    <a:pt x="862"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grpSp>
        <p:nvGrpSpPr>
          <p:cNvPr id="191" name="Group 190">
            <a:extLst>
              <a:ext uri="{FF2B5EF4-FFF2-40B4-BE49-F238E27FC236}">
                <a16:creationId xmlns:a16="http://schemas.microsoft.com/office/drawing/2014/main" id="{DD20B6FE-8E30-49C7-976E-82492F87C560}"/>
              </a:ext>
            </a:extLst>
          </p:cNvPr>
          <p:cNvGrpSpPr/>
          <p:nvPr/>
        </p:nvGrpSpPr>
        <p:grpSpPr>
          <a:xfrm>
            <a:off x="3479169" y="3207003"/>
            <a:ext cx="249989" cy="354658"/>
            <a:chOff x="6911903" y="1228430"/>
            <a:chExt cx="618756" cy="877824"/>
          </a:xfrm>
        </p:grpSpPr>
        <p:sp>
          <p:nvSpPr>
            <p:cNvPr id="192" name="Freeform 25">
              <a:extLst>
                <a:ext uri="{FF2B5EF4-FFF2-40B4-BE49-F238E27FC236}">
                  <a16:creationId xmlns:a16="http://schemas.microsoft.com/office/drawing/2014/main" id="{012190DA-3B95-4BF5-BB36-58B5D91094EA}"/>
                </a:ext>
              </a:extLst>
            </p:cNvPr>
            <p:cNvSpPr>
              <a:spLocks/>
            </p:cNvSpPr>
            <p:nvPr/>
          </p:nvSpPr>
          <p:spPr bwMode="auto">
            <a:xfrm>
              <a:off x="6991504" y="1228430"/>
              <a:ext cx="419228" cy="877824"/>
            </a:xfrm>
            <a:custGeom>
              <a:avLst/>
              <a:gdLst>
                <a:gd name="T0" fmla="*/ 1593 w 1637"/>
                <a:gd name="T1" fmla="*/ 916 h 3451"/>
                <a:gd name="T2" fmla="*/ 1430 w 1637"/>
                <a:gd name="T3" fmla="*/ 619 h 3451"/>
                <a:gd name="T4" fmla="*/ 1332 w 1637"/>
                <a:gd name="T5" fmla="*/ 70 h 3451"/>
                <a:gd name="T6" fmla="*/ 1244 w 1637"/>
                <a:gd name="T7" fmla="*/ 0 h 3451"/>
                <a:gd name="T8" fmla="*/ 393 w 1637"/>
                <a:gd name="T9" fmla="*/ 0 h 3451"/>
                <a:gd name="T10" fmla="*/ 305 w 1637"/>
                <a:gd name="T11" fmla="*/ 70 h 3451"/>
                <a:gd name="T12" fmla="*/ 207 w 1637"/>
                <a:gd name="T13" fmla="*/ 619 h 3451"/>
                <a:gd name="T14" fmla="*/ 44 w 1637"/>
                <a:gd name="T15" fmla="*/ 916 h 3451"/>
                <a:gd name="T16" fmla="*/ 0 w 1637"/>
                <a:gd name="T17" fmla="*/ 1016 h 3451"/>
                <a:gd name="T18" fmla="*/ 0 w 1637"/>
                <a:gd name="T19" fmla="*/ 2436 h 3451"/>
                <a:gd name="T20" fmla="*/ 44 w 1637"/>
                <a:gd name="T21" fmla="*/ 2536 h 3451"/>
                <a:gd name="T22" fmla="*/ 207 w 1637"/>
                <a:gd name="T23" fmla="*/ 2833 h 3451"/>
                <a:gd name="T24" fmla="*/ 305 w 1637"/>
                <a:gd name="T25" fmla="*/ 3382 h 3451"/>
                <a:gd name="T26" fmla="*/ 393 w 1637"/>
                <a:gd name="T27" fmla="*/ 3451 h 3451"/>
                <a:gd name="T28" fmla="*/ 1244 w 1637"/>
                <a:gd name="T29" fmla="*/ 3451 h 3451"/>
                <a:gd name="T30" fmla="*/ 1332 w 1637"/>
                <a:gd name="T31" fmla="*/ 3382 h 3451"/>
                <a:gd name="T32" fmla="*/ 1430 w 1637"/>
                <a:gd name="T33" fmla="*/ 2833 h 3451"/>
                <a:gd name="T34" fmla="*/ 1593 w 1637"/>
                <a:gd name="T35" fmla="*/ 2536 h 3451"/>
                <a:gd name="T36" fmla="*/ 1637 w 1637"/>
                <a:gd name="T37" fmla="*/ 2436 h 3451"/>
                <a:gd name="T38" fmla="*/ 1637 w 1637"/>
                <a:gd name="T39" fmla="*/ 1016 h 3451"/>
                <a:gd name="T40" fmla="*/ 1593 w 1637"/>
                <a:gd name="T41" fmla="*/ 916 h 3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7" h="3451">
                  <a:moveTo>
                    <a:pt x="1593" y="916"/>
                  </a:moveTo>
                  <a:cubicBezTo>
                    <a:pt x="1570" y="886"/>
                    <a:pt x="1516" y="794"/>
                    <a:pt x="1430" y="619"/>
                  </a:cubicBezTo>
                  <a:cubicBezTo>
                    <a:pt x="1373" y="499"/>
                    <a:pt x="1347" y="114"/>
                    <a:pt x="1332" y="70"/>
                  </a:cubicBezTo>
                  <a:cubicBezTo>
                    <a:pt x="1319" y="28"/>
                    <a:pt x="1283" y="0"/>
                    <a:pt x="1244" y="0"/>
                  </a:cubicBezTo>
                  <a:cubicBezTo>
                    <a:pt x="393" y="0"/>
                    <a:pt x="393" y="0"/>
                    <a:pt x="393" y="0"/>
                  </a:cubicBezTo>
                  <a:cubicBezTo>
                    <a:pt x="354" y="0"/>
                    <a:pt x="318" y="28"/>
                    <a:pt x="305" y="70"/>
                  </a:cubicBezTo>
                  <a:cubicBezTo>
                    <a:pt x="290" y="114"/>
                    <a:pt x="264" y="499"/>
                    <a:pt x="207" y="619"/>
                  </a:cubicBezTo>
                  <a:cubicBezTo>
                    <a:pt x="121" y="794"/>
                    <a:pt x="67" y="886"/>
                    <a:pt x="44" y="916"/>
                  </a:cubicBezTo>
                  <a:cubicBezTo>
                    <a:pt x="15" y="936"/>
                    <a:pt x="0" y="972"/>
                    <a:pt x="0" y="1016"/>
                  </a:cubicBezTo>
                  <a:cubicBezTo>
                    <a:pt x="0" y="2436"/>
                    <a:pt x="0" y="1016"/>
                    <a:pt x="0" y="2436"/>
                  </a:cubicBezTo>
                  <a:cubicBezTo>
                    <a:pt x="0" y="2480"/>
                    <a:pt x="15" y="2516"/>
                    <a:pt x="44" y="2536"/>
                  </a:cubicBezTo>
                  <a:cubicBezTo>
                    <a:pt x="67" y="2566"/>
                    <a:pt x="121" y="2658"/>
                    <a:pt x="207" y="2833"/>
                  </a:cubicBezTo>
                  <a:cubicBezTo>
                    <a:pt x="264" y="2952"/>
                    <a:pt x="290" y="3337"/>
                    <a:pt x="305" y="3382"/>
                  </a:cubicBezTo>
                  <a:cubicBezTo>
                    <a:pt x="318" y="3424"/>
                    <a:pt x="354" y="3451"/>
                    <a:pt x="393" y="3451"/>
                  </a:cubicBezTo>
                  <a:cubicBezTo>
                    <a:pt x="393" y="3451"/>
                    <a:pt x="393" y="3451"/>
                    <a:pt x="1244" y="3451"/>
                  </a:cubicBezTo>
                  <a:cubicBezTo>
                    <a:pt x="1283" y="3451"/>
                    <a:pt x="1319" y="3424"/>
                    <a:pt x="1332" y="3382"/>
                  </a:cubicBezTo>
                  <a:cubicBezTo>
                    <a:pt x="1347" y="3337"/>
                    <a:pt x="1373" y="2952"/>
                    <a:pt x="1430" y="2833"/>
                  </a:cubicBezTo>
                  <a:cubicBezTo>
                    <a:pt x="1516" y="2658"/>
                    <a:pt x="1570" y="2566"/>
                    <a:pt x="1593" y="2536"/>
                  </a:cubicBezTo>
                  <a:cubicBezTo>
                    <a:pt x="1622" y="2516"/>
                    <a:pt x="1637" y="2480"/>
                    <a:pt x="1637" y="2436"/>
                  </a:cubicBezTo>
                  <a:cubicBezTo>
                    <a:pt x="1637" y="1016"/>
                    <a:pt x="1637" y="2436"/>
                    <a:pt x="1637" y="1016"/>
                  </a:cubicBezTo>
                  <a:cubicBezTo>
                    <a:pt x="1637" y="972"/>
                    <a:pt x="1622" y="936"/>
                    <a:pt x="1593" y="9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93" name="Oval 26">
              <a:extLst>
                <a:ext uri="{FF2B5EF4-FFF2-40B4-BE49-F238E27FC236}">
                  <a16:creationId xmlns:a16="http://schemas.microsoft.com/office/drawing/2014/main" id="{FA52EE95-BC5C-4F4F-8E6B-AF4937293225}"/>
                </a:ext>
              </a:extLst>
            </p:cNvPr>
            <p:cNvSpPr>
              <a:spLocks noChangeArrowheads="1"/>
            </p:cNvSpPr>
            <p:nvPr/>
          </p:nvSpPr>
          <p:spPr bwMode="auto">
            <a:xfrm>
              <a:off x="6911903" y="1380180"/>
              <a:ext cx="578426" cy="574328"/>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94" name="Oval 27">
              <a:extLst>
                <a:ext uri="{FF2B5EF4-FFF2-40B4-BE49-F238E27FC236}">
                  <a16:creationId xmlns:a16="http://schemas.microsoft.com/office/drawing/2014/main" id="{7F872D01-15C0-4B12-98CF-1EB0AD93FE7C}"/>
                </a:ext>
              </a:extLst>
            </p:cNvPr>
            <p:cNvSpPr>
              <a:spLocks noChangeArrowheads="1"/>
            </p:cNvSpPr>
            <p:nvPr/>
          </p:nvSpPr>
          <p:spPr bwMode="auto">
            <a:xfrm>
              <a:off x="6977706" y="1445517"/>
              <a:ext cx="446820" cy="44365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sp>
          <p:nvSpPr>
            <p:cNvPr id="195" name="Freeform 28">
              <a:extLst>
                <a:ext uri="{FF2B5EF4-FFF2-40B4-BE49-F238E27FC236}">
                  <a16:creationId xmlns:a16="http://schemas.microsoft.com/office/drawing/2014/main" id="{7C7E6438-0ACC-4393-8DA5-2FF9ACD01FF4}"/>
                </a:ext>
              </a:extLst>
            </p:cNvPr>
            <p:cNvSpPr>
              <a:spLocks/>
            </p:cNvSpPr>
            <p:nvPr/>
          </p:nvSpPr>
          <p:spPr bwMode="auto">
            <a:xfrm>
              <a:off x="7483960" y="1621503"/>
              <a:ext cx="46699" cy="91681"/>
            </a:xfrm>
            <a:custGeom>
              <a:avLst/>
              <a:gdLst>
                <a:gd name="T0" fmla="*/ 0 w 180"/>
                <a:gd name="T1" fmla="*/ 0 h 360"/>
                <a:gd name="T2" fmla="*/ 180 w 180"/>
                <a:gd name="T3" fmla="*/ 177 h 360"/>
                <a:gd name="T4" fmla="*/ 0 w 180"/>
                <a:gd name="T5" fmla="*/ 360 h 360"/>
                <a:gd name="T6" fmla="*/ 0 w 180"/>
                <a:gd name="T7" fmla="*/ 0 h 360"/>
              </a:gdLst>
              <a:ahLst/>
              <a:cxnLst>
                <a:cxn ang="0">
                  <a:pos x="T0" y="T1"/>
                </a:cxn>
                <a:cxn ang="0">
                  <a:pos x="T2" y="T3"/>
                </a:cxn>
                <a:cxn ang="0">
                  <a:pos x="T4" y="T5"/>
                </a:cxn>
                <a:cxn ang="0">
                  <a:pos x="T6" y="T7"/>
                </a:cxn>
              </a:cxnLst>
              <a:rect l="0" t="0" r="r" b="b"/>
              <a:pathLst>
                <a:path w="180" h="360">
                  <a:moveTo>
                    <a:pt x="0" y="0"/>
                  </a:moveTo>
                  <a:cubicBezTo>
                    <a:pt x="104" y="0"/>
                    <a:pt x="180" y="80"/>
                    <a:pt x="180" y="177"/>
                  </a:cubicBezTo>
                  <a:cubicBezTo>
                    <a:pt x="180" y="279"/>
                    <a:pt x="104" y="360"/>
                    <a:pt x="0" y="360"/>
                  </a:cubicBezTo>
                  <a:lnTo>
                    <a:pt x="0" y="0"/>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icrosoft Sans Serif"/>
                <a:ea typeface="+mn-ea"/>
                <a:cs typeface="+mn-cs"/>
              </a:endParaRPr>
            </a:p>
          </p:txBody>
        </p:sp>
      </p:grpSp>
      <p:sp>
        <p:nvSpPr>
          <p:cNvPr id="196" name="TextBox 195">
            <a:extLst>
              <a:ext uri="{FF2B5EF4-FFF2-40B4-BE49-F238E27FC236}">
                <a16:creationId xmlns:a16="http://schemas.microsoft.com/office/drawing/2014/main" id="{160F8C32-773D-4AA8-B96C-DA00B76B2597}"/>
              </a:ext>
            </a:extLst>
          </p:cNvPr>
          <p:cNvSpPr txBox="1"/>
          <p:nvPr/>
        </p:nvSpPr>
        <p:spPr>
          <a:xfrm>
            <a:off x="6417284" y="1067339"/>
            <a:ext cx="6098958" cy="1037720"/>
          </a:xfrm>
          <a:prstGeom prst="rect">
            <a:avLst/>
          </a:prstGeom>
          <a:noFill/>
        </p:spPr>
        <p:txBody>
          <a:bodyPr wrap="square">
            <a:spAutoFit/>
          </a:bodyPr>
          <a:lstStyle/>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Operator spectrum (</a:t>
            </a:r>
            <a:r>
              <a:rPr lang="en-US" sz="1600" b="1">
                <a:solidFill>
                  <a:schemeClr val="accent1"/>
                </a:solidFill>
                <a:latin typeface="Qualcomm Office Regular" panose="020B0503030202060203" pitchFamily="34" charset="0"/>
                <a:cs typeface="Microsoft Sans Serif" panose="020B0604020202020204" pitchFamily="34" charset="0"/>
              </a:rPr>
              <a:t>IMT</a:t>
            </a:r>
            <a:r>
              <a:rPr lang="en-US" sz="1600">
                <a:solidFill>
                  <a:schemeClr val="accent5"/>
                </a:solidFill>
                <a:latin typeface="Qualcomm Office Regular" panose="020B0503030202060203" pitchFamily="34" charset="0"/>
                <a:cs typeface="Microsoft Sans Serif" panose="020B0604020202020204" pitchFamily="34" charset="0"/>
              </a:rPr>
              <a:t>)</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Integration with </a:t>
            </a:r>
            <a:r>
              <a:rPr lang="en-US" sz="1600" b="1">
                <a:solidFill>
                  <a:schemeClr val="accent1"/>
                </a:solidFill>
                <a:latin typeface="Qualcomm Office Regular" panose="020B0503030202060203" pitchFamily="34" charset="0"/>
                <a:cs typeface="Microsoft Sans Serif" panose="020B0604020202020204" pitchFamily="34" charset="0"/>
              </a:rPr>
              <a:t>unicast</a:t>
            </a:r>
            <a:r>
              <a:rPr lang="en-US" sz="1600">
                <a:solidFill>
                  <a:schemeClr val="accent5"/>
                </a:solidFill>
                <a:latin typeface="Qualcomm Office Regular" panose="020B0503030202060203" pitchFamily="34" charset="0"/>
                <a:cs typeface="Microsoft Sans Serif" panose="020B0604020202020204" pitchFamily="34" charset="0"/>
              </a:rPr>
              <a:t> network</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Efficient delivery of multicast/broadcast traffic (vs unicast)</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Reuse of cellular infrastructure (</a:t>
            </a:r>
            <a:r>
              <a:rPr lang="en-US" sz="1600" b="1">
                <a:solidFill>
                  <a:schemeClr val="accent1"/>
                </a:solidFill>
                <a:latin typeface="Qualcomm Office Regular" panose="020B0503030202060203" pitchFamily="34" charset="0"/>
                <a:cs typeface="Microsoft Sans Serif" panose="020B0604020202020204" pitchFamily="34" charset="0"/>
              </a:rPr>
              <a:t>low power</a:t>
            </a:r>
            <a:r>
              <a:rPr lang="en-US" sz="1600">
                <a:solidFill>
                  <a:schemeClr val="accent5"/>
                </a:solidFill>
                <a:latin typeface="Qualcomm Office Regular" panose="020B0503030202060203" pitchFamily="34" charset="0"/>
                <a:cs typeface="Microsoft Sans Serif" panose="020B0604020202020204" pitchFamily="34" charset="0"/>
              </a:rPr>
              <a:t>).</a:t>
            </a:r>
          </a:p>
        </p:txBody>
      </p:sp>
      <p:sp>
        <p:nvSpPr>
          <p:cNvPr id="198" name="TextBox 197">
            <a:extLst>
              <a:ext uri="{FF2B5EF4-FFF2-40B4-BE49-F238E27FC236}">
                <a16:creationId xmlns:a16="http://schemas.microsoft.com/office/drawing/2014/main" id="{BC51BF04-A9A8-40B7-B103-04B59E02D051}"/>
              </a:ext>
            </a:extLst>
          </p:cNvPr>
          <p:cNvSpPr txBox="1"/>
          <p:nvPr/>
        </p:nvSpPr>
        <p:spPr>
          <a:xfrm>
            <a:off x="293349" y="1139888"/>
            <a:ext cx="6258756" cy="1037720"/>
          </a:xfrm>
          <a:prstGeom prst="rect">
            <a:avLst/>
          </a:prstGeom>
          <a:noFill/>
        </p:spPr>
        <p:txBody>
          <a:bodyPr wrap="square">
            <a:spAutoFit/>
          </a:bodyPr>
          <a:lstStyle/>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Broadcast spectrum (e.g. </a:t>
            </a:r>
            <a:r>
              <a:rPr lang="en-US" sz="1600" b="1">
                <a:solidFill>
                  <a:schemeClr val="accent1"/>
                </a:solidFill>
                <a:latin typeface="Qualcomm Office Regular" panose="020B0503030202060203" pitchFamily="34" charset="0"/>
                <a:cs typeface="Microsoft Sans Serif" panose="020B0604020202020204" pitchFamily="34" charset="0"/>
              </a:rPr>
              <a:t>UHF</a:t>
            </a:r>
            <a:r>
              <a:rPr lang="en-US" sz="1600">
                <a:solidFill>
                  <a:schemeClr val="accent5"/>
                </a:solidFill>
                <a:latin typeface="Qualcomm Office Regular" panose="020B0503030202060203" pitchFamily="34" charset="0"/>
                <a:cs typeface="Microsoft Sans Serif" panose="020B0604020202020204" pitchFamily="34" charset="0"/>
              </a:rPr>
              <a:t>) </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No unicast. </a:t>
            </a:r>
            <a:r>
              <a:rPr lang="en-US" sz="1600" b="1">
                <a:solidFill>
                  <a:schemeClr val="accent1"/>
                </a:solidFill>
                <a:latin typeface="Qualcomm Office Regular" panose="020B0503030202060203" pitchFamily="34" charset="0"/>
                <a:cs typeface="Microsoft Sans Serif" panose="020B0604020202020204" pitchFamily="34" charset="0"/>
              </a:rPr>
              <a:t>Downlink – only </a:t>
            </a:r>
            <a:r>
              <a:rPr lang="en-US" sz="1600">
                <a:solidFill>
                  <a:schemeClr val="accent5"/>
                </a:solidFill>
                <a:latin typeface="Qualcomm Office Regular" panose="020B0503030202060203" pitchFamily="34" charset="0"/>
                <a:cs typeface="Microsoft Sans Serif" panose="020B0604020202020204" pitchFamily="34" charset="0"/>
              </a:rPr>
              <a:t>traffic.</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Delivery of linear content (e.g. TV) or IP file delivery</a:t>
            </a:r>
          </a:p>
          <a:p>
            <a:pPr marL="285750" indent="-285750">
              <a:lnSpc>
                <a:spcPct val="96000"/>
              </a:lnSpc>
              <a:buFont typeface="Arial" panose="020B0604020202020204" pitchFamily="34" charset="0"/>
              <a:buChar char="•"/>
            </a:pPr>
            <a:r>
              <a:rPr lang="en-US" sz="1600">
                <a:solidFill>
                  <a:schemeClr val="accent5"/>
                </a:solidFill>
                <a:latin typeface="Qualcomm Office Regular" panose="020B0503030202060203" pitchFamily="34" charset="0"/>
                <a:cs typeface="Microsoft Sans Serif" panose="020B0604020202020204" pitchFamily="34" charset="0"/>
              </a:rPr>
              <a:t>Dedicated broadcast infrastructure (can be </a:t>
            </a:r>
            <a:r>
              <a:rPr lang="en-US" sz="1600" b="1">
                <a:solidFill>
                  <a:schemeClr val="accent1"/>
                </a:solidFill>
                <a:latin typeface="Qualcomm Office Regular" panose="020B0503030202060203" pitchFamily="34" charset="0"/>
                <a:cs typeface="Microsoft Sans Serif" panose="020B0604020202020204" pitchFamily="34" charset="0"/>
              </a:rPr>
              <a:t>high power</a:t>
            </a:r>
            <a:r>
              <a:rPr lang="en-US" sz="1600">
                <a:solidFill>
                  <a:schemeClr val="accent5"/>
                </a:solidFill>
                <a:latin typeface="Qualcomm Office Regular" panose="020B0503030202060203" pitchFamily="34" charset="0"/>
                <a:cs typeface="Microsoft Sans Serif" panose="020B0604020202020204" pitchFamily="34" charset="0"/>
              </a:rPr>
              <a:t>)</a:t>
            </a:r>
          </a:p>
        </p:txBody>
      </p:sp>
      <p:sp>
        <p:nvSpPr>
          <p:cNvPr id="2" name="Footer Placeholder 1">
            <a:extLst>
              <a:ext uri="{FF2B5EF4-FFF2-40B4-BE49-F238E27FC236}">
                <a16:creationId xmlns:a16="http://schemas.microsoft.com/office/drawing/2014/main" id="{84C88B58-04A8-E263-D761-9D10BA72DA63}"/>
              </a:ext>
            </a:extLst>
          </p:cNvPr>
          <p:cNvSpPr>
            <a:spLocks noGrp="1"/>
          </p:cNvSpPr>
          <p:nvPr>
            <p:ph type="ftr" sz="quarter" idx="10"/>
          </p:nvPr>
        </p:nvSpPr>
        <p:spPr/>
        <p:txBody>
          <a:bodyPr/>
          <a:lstStyle/>
          <a:p>
            <a:r>
              <a:rPr lang="en-US"/>
              <a:t>Media Web Symposium 2023</a:t>
            </a:r>
          </a:p>
        </p:txBody>
      </p:sp>
    </p:spTree>
    <p:extLst>
      <p:ext uri="{BB962C8B-B14F-4D97-AF65-F5344CB8AC3E}">
        <p14:creationId xmlns:p14="http://schemas.microsoft.com/office/powerpoint/2010/main" val="96277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EAFA429-C441-3786-EB67-B467CDCB2FE0}"/>
              </a:ext>
            </a:extLst>
          </p:cNvPr>
          <p:cNvSpPr>
            <a:spLocks noGrp="1"/>
          </p:cNvSpPr>
          <p:nvPr>
            <p:ph type="ftr" sz="quarter" idx="10"/>
          </p:nvPr>
        </p:nvSpPr>
        <p:spPr/>
        <p:txBody>
          <a:bodyPr/>
          <a:lstStyle/>
          <a:p>
            <a:r>
              <a:rPr lang="en-US"/>
              <a:t>Media Web Symposium 2023</a:t>
            </a:r>
            <a:endParaRPr lang="en-US" dirty="0"/>
          </a:p>
        </p:txBody>
      </p:sp>
      <p:sp>
        <p:nvSpPr>
          <p:cNvPr id="3" name="Title 2">
            <a:extLst>
              <a:ext uri="{FF2B5EF4-FFF2-40B4-BE49-F238E27FC236}">
                <a16:creationId xmlns:a16="http://schemas.microsoft.com/office/drawing/2014/main" id="{3D47F71F-C2CA-5991-5CD9-AF0C1BF482BD}"/>
              </a:ext>
            </a:extLst>
          </p:cNvPr>
          <p:cNvSpPr>
            <a:spLocks noGrp="1"/>
          </p:cNvSpPr>
          <p:nvPr>
            <p:ph type="title"/>
          </p:nvPr>
        </p:nvSpPr>
        <p:spPr>
          <a:xfrm>
            <a:off x="495300" y="642644"/>
            <a:ext cx="11187112" cy="361959"/>
          </a:xfrm>
        </p:spPr>
        <p:txBody>
          <a:bodyPr/>
          <a:lstStyle/>
          <a:p>
            <a:r>
              <a:rPr lang="de-DE" dirty="0"/>
              <a:t>Timelines for Rel-17 and Rel-18</a:t>
            </a:r>
            <a:endParaRPr lang="en-US" dirty="0"/>
          </a:p>
        </p:txBody>
      </p:sp>
      <p:sp>
        <p:nvSpPr>
          <p:cNvPr id="4" name="Subtitle 3">
            <a:extLst>
              <a:ext uri="{FF2B5EF4-FFF2-40B4-BE49-F238E27FC236}">
                <a16:creationId xmlns:a16="http://schemas.microsoft.com/office/drawing/2014/main" id="{0DD1FB1F-97BA-7008-2EB7-5E0CA2B05362}"/>
              </a:ext>
            </a:extLst>
          </p:cNvPr>
          <p:cNvSpPr>
            <a:spLocks noGrp="1"/>
          </p:cNvSpPr>
          <p:nvPr>
            <p:ph type="subTitle" idx="1"/>
          </p:nvPr>
        </p:nvSpPr>
        <p:spPr/>
        <p:txBody>
          <a:bodyPr/>
          <a:lstStyle/>
          <a:p>
            <a:endParaRPr lang="en-US"/>
          </a:p>
        </p:txBody>
      </p:sp>
      <p:pic>
        <p:nvPicPr>
          <p:cNvPr id="6" name="Picture 2" descr="Diagram, timeline&#10;&#10;Description automatically generated">
            <a:extLst>
              <a:ext uri="{FF2B5EF4-FFF2-40B4-BE49-F238E27FC236}">
                <a16:creationId xmlns:a16="http://schemas.microsoft.com/office/drawing/2014/main" id="{1602DA96-384E-8307-2115-E197C2B841D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0419" y="1709292"/>
            <a:ext cx="10515599" cy="4232528"/>
          </a:xfrm>
          <a:prstGeom prst="rect">
            <a:avLst/>
          </a:prstGeom>
          <a:noFill/>
          <a:extLst>
            <a:ext uri="{909E8E84-426E-40DD-AFC4-6F175D3DCCD1}">
              <a14:hiddenFill xmlns:a14="http://schemas.microsoft.com/office/drawing/2010/main">
                <a:solidFill>
                  <a:srgbClr val="FFFFFF"/>
                </a:solidFill>
              </a14:hiddenFill>
            </a:ext>
          </a:extLst>
        </p:spPr>
      </p:pic>
      <p:sp>
        <p:nvSpPr>
          <p:cNvPr id="7" name="Arrow: Right 6">
            <a:extLst>
              <a:ext uri="{FF2B5EF4-FFF2-40B4-BE49-F238E27FC236}">
                <a16:creationId xmlns:a16="http://schemas.microsoft.com/office/drawing/2014/main" id="{EF329200-9643-763F-5155-6929B2424EEA}"/>
              </a:ext>
            </a:extLst>
          </p:cNvPr>
          <p:cNvSpPr/>
          <p:nvPr/>
        </p:nvSpPr>
        <p:spPr>
          <a:xfrm>
            <a:off x="6317673" y="5257247"/>
            <a:ext cx="5135419" cy="50800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dirty="0">
                <a:solidFill>
                  <a:schemeClr val="bg1"/>
                </a:solidFill>
                <a:latin typeface="Microsoft Sans Serif"/>
                <a:cs typeface="Microsoft Sans Serif" panose="020B0604020202020204" pitchFamily="34" charset="0"/>
              </a:rPr>
              <a:t>Shifted by three months</a:t>
            </a:r>
            <a:endParaRPr lang="en-US" dirty="0" err="1">
              <a:solidFill>
                <a:schemeClr val="bg1"/>
              </a:solidFill>
              <a:latin typeface="Microsoft Sans Serif"/>
              <a:cs typeface="Microsoft Sans Serif" panose="020B0604020202020204" pitchFamily="34" charset="0"/>
            </a:endParaRPr>
          </a:p>
        </p:txBody>
      </p:sp>
    </p:spTree>
    <p:extLst>
      <p:ext uri="{BB962C8B-B14F-4D97-AF65-F5344CB8AC3E}">
        <p14:creationId xmlns:p14="http://schemas.microsoft.com/office/powerpoint/2010/main" val="362248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05BE28-0242-6CC1-CE21-AABE6CD2EC60}"/>
              </a:ext>
            </a:extLst>
          </p:cNvPr>
          <p:cNvSpPr>
            <a:spLocks noGrp="1"/>
          </p:cNvSpPr>
          <p:nvPr>
            <p:ph type="title"/>
          </p:nvPr>
        </p:nvSpPr>
        <p:spPr/>
        <p:txBody>
          <a:bodyPr/>
          <a:lstStyle/>
          <a:p>
            <a:r>
              <a:rPr lang="de-DE" dirty="0"/>
              <a:t>Rel-18 5GMS feature overview</a:t>
            </a:r>
            <a:endParaRPr lang="en-US" dirty="0"/>
          </a:p>
        </p:txBody>
      </p:sp>
      <p:sp>
        <p:nvSpPr>
          <p:cNvPr id="4" name="Subtitle 3">
            <a:extLst>
              <a:ext uri="{FF2B5EF4-FFF2-40B4-BE49-F238E27FC236}">
                <a16:creationId xmlns:a16="http://schemas.microsoft.com/office/drawing/2014/main" id="{13B6123A-A886-BDB1-8EAF-16051962AEE7}"/>
              </a:ext>
            </a:extLst>
          </p:cNvPr>
          <p:cNvSpPr>
            <a:spLocks noGrp="1"/>
          </p:cNvSpPr>
          <p:nvPr>
            <p:ph type="subTitle" idx="1"/>
          </p:nvPr>
        </p:nvSpPr>
        <p:spPr>
          <a:xfrm>
            <a:off x="494189" y="1088135"/>
            <a:ext cx="11188223" cy="265907"/>
          </a:xfrm>
        </p:spPr>
        <p:txBody>
          <a:bodyPr/>
          <a:lstStyle/>
          <a:p>
            <a:r>
              <a:rPr lang="en-US" sz="1800" kern="0" dirty="0">
                <a:latin typeface="ArialMT"/>
                <a:ea typeface="Times New Roman" panose="02020603050405020304" pitchFamily="18" charset="0"/>
                <a:cs typeface="Times New Roman" panose="02020603050405020304" pitchFamily="18" charset="0"/>
              </a:rPr>
              <a:t>E</a:t>
            </a:r>
            <a:r>
              <a:rPr lang="en-US" sz="1800" kern="0" dirty="0">
                <a:effectLst/>
                <a:latin typeface="ArialMT"/>
                <a:ea typeface="Times New Roman" panose="02020603050405020304" pitchFamily="18" charset="0"/>
                <a:cs typeface="Times New Roman" panose="02020603050405020304" pitchFamily="18" charset="0"/>
              </a:rPr>
              <a:t>xtensive studies documented in TR26.804 result in the following updates </a:t>
            </a:r>
            <a:endParaRPr lang="en-US" dirty="0"/>
          </a:p>
        </p:txBody>
      </p:sp>
      <p:sp>
        <p:nvSpPr>
          <p:cNvPr id="2" name="Footer Placeholder 1">
            <a:extLst>
              <a:ext uri="{FF2B5EF4-FFF2-40B4-BE49-F238E27FC236}">
                <a16:creationId xmlns:a16="http://schemas.microsoft.com/office/drawing/2014/main" id="{CDDBA4DF-078C-53D4-774A-C35ADE2C3DEA}"/>
              </a:ext>
            </a:extLst>
          </p:cNvPr>
          <p:cNvSpPr>
            <a:spLocks noGrp="1"/>
          </p:cNvSpPr>
          <p:nvPr>
            <p:ph type="ftr" sz="quarter" idx="10"/>
          </p:nvPr>
        </p:nvSpPr>
        <p:spPr/>
        <p:txBody>
          <a:bodyPr/>
          <a:lstStyle/>
          <a:p>
            <a:r>
              <a:rPr lang="en-US"/>
              <a:t>Media Web Symposium 2023</a:t>
            </a:r>
            <a:endParaRPr lang="en-US" dirty="0"/>
          </a:p>
        </p:txBody>
      </p:sp>
      <p:graphicFrame>
        <p:nvGraphicFramePr>
          <p:cNvPr id="5" name="Diagram 4">
            <a:extLst>
              <a:ext uri="{FF2B5EF4-FFF2-40B4-BE49-F238E27FC236}">
                <a16:creationId xmlns:a16="http://schemas.microsoft.com/office/drawing/2014/main" id="{B6756459-8103-5F33-C63C-28FA8F4A892E}"/>
              </a:ext>
            </a:extLst>
          </p:cNvPr>
          <p:cNvGraphicFramePr/>
          <p:nvPr/>
        </p:nvGraphicFramePr>
        <p:xfrm>
          <a:off x="385655" y="1546885"/>
          <a:ext cx="11296757" cy="49860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Oval 5">
            <a:extLst>
              <a:ext uri="{FF2B5EF4-FFF2-40B4-BE49-F238E27FC236}">
                <a16:creationId xmlns:a16="http://schemas.microsoft.com/office/drawing/2014/main" id="{5C8A37E5-8F69-47CD-6176-03CA808A6307}"/>
              </a:ext>
            </a:extLst>
          </p:cNvPr>
          <p:cNvSpPr/>
          <p:nvPr/>
        </p:nvSpPr>
        <p:spPr>
          <a:xfrm>
            <a:off x="267855" y="2272145"/>
            <a:ext cx="3214254" cy="581891"/>
          </a:xfrm>
          <a:prstGeom prst="ellipse">
            <a:avLst/>
          </a:prstGeom>
          <a:noFill/>
          <a:ln w="38100">
            <a:solidFill>
              <a:srgbClr val="E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noFill/>
              <a:latin typeface="Microsoft Sans Serif"/>
              <a:cs typeface="Microsoft Sans Serif" panose="020B0604020202020204" pitchFamily="34" charset="0"/>
            </a:endParaRPr>
          </a:p>
        </p:txBody>
      </p:sp>
      <p:sp>
        <p:nvSpPr>
          <p:cNvPr id="7" name="Oval 6">
            <a:extLst>
              <a:ext uri="{FF2B5EF4-FFF2-40B4-BE49-F238E27FC236}">
                <a16:creationId xmlns:a16="http://schemas.microsoft.com/office/drawing/2014/main" id="{D2BC6C8C-2B5E-A715-FBB4-7B020391B302}"/>
              </a:ext>
            </a:extLst>
          </p:cNvPr>
          <p:cNvSpPr/>
          <p:nvPr/>
        </p:nvSpPr>
        <p:spPr>
          <a:xfrm>
            <a:off x="252845" y="4807527"/>
            <a:ext cx="3214254" cy="581891"/>
          </a:xfrm>
          <a:prstGeom prst="ellipse">
            <a:avLst/>
          </a:prstGeom>
          <a:noFill/>
          <a:ln w="38100">
            <a:solidFill>
              <a:srgbClr val="E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noFill/>
              <a:latin typeface="Microsoft Sans Serif"/>
              <a:cs typeface="Microsoft Sans Serif" panose="020B0604020202020204" pitchFamily="34" charset="0"/>
            </a:endParaRPr>
          </a:p>
        </p:txBody>
      </p:sp>
    </p:spTree>
    <p:extLst>
      <p:ext uri="{BB962C8B-B14F-4D97-AF65-F5344CB8AC3E}">
        <p14:creationId xmlns:p14="http://schemas.microsoft.com/office/powerpoint/2010/main" val="358834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80">
                                          <p:stCondLst>
                                            <p:cond delay="0"/>
                                          </p:stCondLst>
                                        </p:cTn>
                                        <p:tgtEl>
                                          <p:spTgt spid="6"/>
                                        </p:tgtEl>
                                      </p:cBhvr>
                                    </p:animEffect>
                                    <p:anim calcmode="lin" valueType="num">
                                      <p:cBhvr>
                                        <p:cTn id="8"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gtEl>
                                      </p:cBhvr>
                                      <p:to x="100000" y="60000"/>
                                    </p:animScale>
                                    <p:animScale>
                                      <p:cBhvr>
                                        <p:cTn id="14" dur="166" decel="50000">
                                          <p:stCondLst>
                                            <p:cond delay="676"/>
                                          </p:stCondLst>
                                        </p:cTn>
                                        <p:tgtEl>
                                          <p:spTgt spid="6"/>
                                        </p:tgtEl>
                                      </p:cBhvr>
                                      <p:to x="100000" y="100000"/>
                                    </p:animScale>
                                    <p:animScale>
                                      <p:cBhvr>
                                        <p:cTn id="15" dur="26">
                                          <p:stCondLst>
                                            <p:cond delay="1312"/>
                                          </p:stCondLst>
                                        </p:cTn>
                                        <p:tgtEl>
                                          <p:spTgt spid="6"/>
                                        </p:tgtEl>
                                      </p:cBhvr>
                                      <p:to x="100000" y="80000"/>
                                    </p:animScale>
                                    <p:animScale>
                                      <p:cBhvr>
                                        <p:cTn id="16" dur="166" decel="50000">
                                          <p:stCondLst>
                                            <p:cond delay="1338"/>
                                          </p:stCondLst>
                                        </p:cTn>
                                        <p:tgtEl>
                                          <p:spTgt spid="6"/>
                                        </p:tgtEl>
                                      </p:cBhvr>
                                      <p:to x="100000" y="100000"/>
                                    </p:animScale>
                                    <p:animScale>
                                      <p:cBhvr>
                                        <p:cTn id="17" dur="26">
                                          <p:stCondLst>
                                            <p:cond delay="1642"/>
                                          </p:stCondLst>
                                        </p:cTn>
                                        <p:tgtEl>
                                          <p:spTgt spid="6"/>
                                        </p:tgtEl>
                                      </p:cBhvr>
                                      <p:to x="100000" y="90000"/>
                                    </p:animScale>
                                    <p:animScale>
                                      <p:cBhvr>
                                        <p:cTn id="18" dur="166" decel="50000">
                                          <p:stCondLst>
                                            <p:cond delay="1668"/>
                                          </p:stCondLst>
                                        </p:cTn>
                                        <p:tgtEl>
                                          <p:spTgt spid="6"/>
                                        </p:tgtEl>
                                      </p:cBhvr>
                                      <p:to x="100000" y="100000"/>
                                    </p:animScale>
                                    <p:animScale>
                                      <p:cBhvr>
                                        <p:cTn id="19" dur="26">
                                          <p:stCondLst>
                                            <p:cond delay="1808"/>
                                          </p:stCondLst>
                                        </p:cTn>
                                        <p:tgtEl>
                                          <p:spTgt spid="6"/>
                                        </p:tgtEl>
                                      </p:cBhvr>
                                      <p:to x="100000" y="95000"/>
                                    </p:animScale>
                                    <p:animScale>
                                      <p:cBhvr>
                                        <p:cTn id="20" dur="166" decel="50000">
                                          <p:stCondLst>
                                            <p:cond delay="1834"/>
                                          </p:stCondLst>
                                        </p:cTn>
                                        <p:tgtEl>
                                          <p:spTgt spid="6"/>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6" presetClass="entr" presetSubtype="0"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wipe(down)">
                                      <p:cBhvr>
                                        <p:cTn id="25" dur="580">
                                          <p:stCondLst>
                                            <p:cond delay="0"/>
                                          </p:stCondLst>
                                        </p:cTn>
                                        <p:tgtEl>
                                          <p:spTgt spid="7"/>
                                        </p:tgtEl>
                                      </p:cBhvr>
                                    </p:animEffect>
                                    <p:anim calcmode="lin" valueType="num">
                                      <p:cBhvr>
                                        <p:cTn id="26"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31" dur="26">
                                          <p:stCondLst>
                                            <p:cond delay="650"/>
                                          </p:stCondLst>
                                        </p:cTn>
                                        <p:tgtEl>
                                          <p:spTgt spid="7"/>
                                        </p:tgtEl>
                                      </p:cBhvr>
                                      <p:to x="100000" y="60000"/>
                                    </p:animScale>
                                    <p:animScale>
                                      <p:cBhvr>
                                        <p:cTn id="32" dur="166" decel="50000">
                                          <p:stCondLst>
                                            <p:cond delay="676"/>
                                          </p:stCondLst>
                                        </p:cTn>
                                        <p:tgtEl>
                                          <p:spTgt spid="7"/>
                                        </p:tgtEl>
                                      </p:cBhvr>
                                      <p:to x="100000" y="100000"/>
                                    </p:animScale>
                                    <p:animScale>
                                      <p:cBhvr>
                                        <p:cTn id="33" dur="26">
                                          <p:stCondLst>
                                            <p:cond delay="1312"/>
                                          </p:stCondLst>
                                        </p:cTn>
                                        <p:tgtEl>
                                          <p:spTgt spid="7"/>
                                        </p:tgtEl>
                                      </p:cBhvr>
                                      <p:to x="100000" y="80000"/>
                                    </p:animScale>
                                    <p:animScale>
                                      <p:cBhvr>
                                        <p:cTn id="34" dur="166" decel="50000">
                                          <p:stCondLst>
                                            <p:cond delay="1338"/>
                                          </p:stCondLst>
                                        </p:cTn>
                                        <p:tgtEl>
                                          <p:spTgt spid="7"/>
                                        </p:tgtEl>
                                      </p:cBhvr>
                                      <p:to x="100000" y="100000"/>
                                    </p:animScale>
                                    <p:animScale>
                                      <p:cBhvr>
                                        <p:cTn id="35" dur="26">
                                          <p:stCondLst>
                                            <p:cond delay="1642"/>
                                          </p:stCondLst>
                                        </p:cTn>
                                        <p:tgtEl>
                                          <p:spTgt spid="7"/>
                                        </p:tgtEl>
                                      </p:cBhvr>
                                      <p:to x="100000" y="90000"/>
                                    </p:animScale>
                                    <p:animScale>
                                      <p:cBhvr>
                                        <p:cTn id="36" dur="166" decel="50000">
                                          <p:stCondLst>
                                            <p:cond delay="1668"/>
                                          </p:stCondLst>
                                        </p:cTn>
                                        <p:tgtEl>
                                          <p:spTgt spid="7"/>
                                        </p:tgtEl>
                                      </p:cBhvr>
                                      <p:to x="100000" y="100000"/>
                                    </p:animScale>
                                    <p:animScale>
                                      <p:cBhvr>
                                        <p:cTn id="37" dur="26">
                                          <p:stCondLst>
                                            <p:cond delay="1808"/>
                                          </p:stCondLst>
                                        </p:cTn>
                                        <p:tgtEl>
                                          <p:spTgt spid="7"/>
                                        </p:tgtEl>
                                      </p:cBhvr>
                                      <p:to x="100000" y="95000"/>
                                    </p:animScale>
                                    <p:animScale>
                                      <p:cBhvr>
                                        <p:cTn id="38" dur="166" decel="50000">
                                          <p:stCondLst>
                                            <p:cond delay="1834"/>
                                          </p:stCondLst>
                                        </p:cTn>
                                        <p:tgtEl>
                                          <p:spTgt spid="7"/>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D2963307-1BCF-4D69-8CA0-43B9A00FD269}"/>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Microsoft Sans Serif"/>
              <a:ea typeface="+mn-ea"/>
              <a:cs typeface="+mn-cs"/>
            </a:endParaRPr>
          </a:p>
        </p:txBody>
      </p:sp>
      <p:sp>
        <p:nvSpPr>
          <p:cNvPr id="64" name="Rectangle 63">
            <a:extLst>
              <a:ext uri="{FF2B5EF4-FFF2-40B4-BE49-F238E27FC236}">
                <a16:creationId xmlns:a16="http://schemas.microsoft.com/office/drawing/2014/main" id="{ACAF26A8-EFBC-433B-AC81-0398AA8FA1DE}"/>
              </a:ext>
            </a:extLst>
          </p:cNvPr>
          <p:cNvSpPr/>
          <p:nvPr/>
        </p:nvSpPr>
        <p:spPr bwMode="gray">
          <a:xfrm flipH="1">
            <a:off x="7525676" y="0"/>
            <a:ext cx="493776" cy="6858000"/>
          </a:xfrm>
          <a:prstGeom prst="rect">
            <a:avLst/>
          </a:prstGeom>
          <a:gradFill flip="none" rotWithShape="1">
            <a:gsLst>
              <a:gs pos="0">
                <a:schemeClr val="accent1"/>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ysClr val="windowText" lastClr="000000"/>
              </a:solidFill>
              <a:effectLst/>
              <a:uLnTx/>
              <a:uFillTx/>
              <a:latin typeface="Microsoft Sans Serif"/>
              <a:ea typeface="+mn-ea"/>
              <a:cs typeface="+mn-cs"/>
            </a:endParaRPr>
          </a:p>
        </p:txBody>
      </p:sp>
      <p:sp>
        <p:nvSpPr>
          <p:cNvPr id="42" name="TextBox 41">
            <a:extLst>
              <a:ext uri="{FF2B5EF4-FFF2-40B4-BE49-F238E27FC236}">
                <a16:creationId xmlns:a16="http://schemas.microsoft.com/office/drawing/2014/main" id="{ED27EFD0-5F46-4CEF-A102-F827D77DB9CA}"/>
              </a:ext>
            </a:extLst>
          </p:cNvPr>
          <p:cNvSpPr txBox="1"/>
          <p:nvPr/>
        </p:nvSpPr>
        <p:spPr>
          <a:xfrm>
            <a:off x="8073181" y="3109354"/>
            <a:ext cx="3438434" cy="531812"/>
          </a:xfrm>
          <a:prstGeom prst="rect">
            <a:avLst/>
          </a:prstGeom>
        </p:spPr>
        <p:txBody>
          <a:bodyPr wrap="square" lIns="0" tIns="0" rIns="0" bIns="0" rtlCol="0">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7F8FA"/>
                </a:solidFill>
                <a:effectLst/>
                <a:uLnTx/>
                <a:uFillTx/>
                <a:latin typeface="Microsoft Sans Serif"/>
                <a:ea typeface="+mn-ea"/>
                <a:cs typeface="Microsoft Sans Serif" panose="020B0604020202020204" pitchFamily="34" charset="0"/>
              </a:rPr>
              <a:t>Presenter</a:t>
            </a:r>
          </a:p>
        </p:txBody>
      </p:sp>
      <p:sp>
        <p:nvSpPr>
          <p:cNvPr id="48" name="TextBox 47">
            <a:extLst>
              <a:ext uri="{FF2B5EF4-FFF2-40B4-BE49-F238E27FC236}">
                <a16:creationId xmlns:a16="http://schemas.microsoft.com/office/drawing/2014/main" id="{27A0DB6D-4A7F-4797-8BD9-68CAFC38A097}"/>
              </a:ext>
            </a:extLst>
          </p:cNvPr>
          <p:cNvSpPr txBox="1"/>
          <p:nvPr/>
        </p:nvSpPr>
        <p:spPr>
          <a:xfrm>
            <a:off x="8073179" y="3830864"/>
            <a:ext cx="3893534" cy="2723823"/>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Dr. Thomas Stockhammer</a:t>
            </a:r>
            <a:endParaRPr kumimoji="0" lang="de-DE" sz="16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Senior Director, Technical Stand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Qualcomm Europe, Inc., </a:t>
            </a:r>
            <a:r>
              <a:rPr lang="en-US" sz="1600" dirty="0">
                <a:solidFill>
                  <a:srgbClr val="82CBD7">
                    <a:lumMod val="40000"/>
                    <a:lumOff val="60000"/>
                  </a:srgbClr>
                </a:solidFill>
                <a:latin typeface="Microsoft Sans Serif"/>
                <a:cs typeface="Microsoft Sans Serif" panose="020B0604020202020204" pitchFamily="34" charset="0"/>
              </a:rPr>
              <a:t>IEEE Fellow</a:t>
            </a:r>
            <a:endParaRPr kumimoji="0" lang="en-US" sz="16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Leading and driving among others</a:t>
            </a:r>
            <a:endParaRPr kumimoji="0" lang="de-DE" sz="11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DVB: 5G TF, DVB-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MPEG: MPEG-I, CMAF and DAS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3GPP: XR over 5G, 5G Video, 5G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DASH-IF: Interop WG, Te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ETSI &amp; 5G-MAG: 5G Broadcast and 5G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CTA WAVE: CMAF Device PB, Te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rgbClr val="82CBD7">
                    <a:lumMod val="40000"/>
                    <a:lumOff val="60000"/>
                  </a:srgbClr>
                </a:solidFill>
                <a:effectLst/>
                <a:uLnTx/>
                <a:uFillTx/>
                <a:latin typeface="Microsoft Sans Serif"/>
                <a:ea typeface="+mn-ea"/>
                <a:cs typeface="Microsoft Sans Serif" panose="020B0604020202020204" pitchFamily="34" charset="0"/>
              </a:rPr>
              <a:t>Metaverse Standards Forum Lead</a:t>
            </a:r>
          </a:p>
        </p:txBody>
      </p:sp>
      <p:sp>
        <p:nvSpPr>
          <p:cNvPr id="61" name="Title 6">
            <a:extLst>
              <a:ext uri="{FF2B5EF4-FFF2-40B4-BE49-F238E27FC236}">
                <a16:creationId xmlns:a16="http://schemas.microsoft.com/office/drawing/2014/main" id="{2B9D7490-5ACB-4816-B0C0-D93A823B2342}"/>
              </a:ext>
            </a:extLst>
          </p:cNvPr>
          <p:cNvSpPr txBox="1">
            <a:spLocks/>
          </p:cNvSpPr>
          <p:nvPr/>
        </p:nvSpPr>
        <p:spPr>
          <a:xfrm>
            <a:off x="403058" y="1365838"/>
            <a:ext cx="4730669" cy="455189"/>
          </a:xfrm>
          <a:prstGeom prst="rect">
            <a:avLst/>
          </a:prstGeom>
        </p:spPr>
        <p:txBody>
          <a:bodyPr/>
          <a:lst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a:lstStyle>
          <a:p>
            <a:pPr marL="0" marR="0" lvl="0" indent="0" algn="l" defTabSz="914400" rtl="0" eaLnBrk="1" fontAlgn="auto" latinLnBrk="0" hangingPunct="1">
              <a:lnSpc>
                <a:spcPct val="84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2853DC"/>
                </a:solidFill>
                <a:effectLst/>
                <a:uLnTx/>
                <a:uFillTx/>
                <a:latin typeface="Microsoft Sans Serif"/>
                <a:ea typeface="+mj-ea"/>
                <a:cs typeface="+mj-cs"/>
              </a:rPr>
              <a:t>Today’s agenda</a:t>
            </a:r>
          </a:p>
        </p:txBody>
      </p:sp>
      <p:cxnSp>
        <p:nvCxnSpPr>
          <p:cNvPr id="107" name="Straight Connector 106">
            <a:extLst>
              <a:ext uri="{FF2B5EF4-FFF2-40B4-BE49-F238E27FC236}">
                <a16:creationId xmlns:a16="http://schemas.microsoft.com/office/drawing/2014/main" id="{74313051-D0BF-CC4B-BAF6-7549392DE7A1}"/>
              </a:ext>
            </a:extLst>
          </p:cNvPr>
          <p:cNvCxnSpPr>
            <a:cxnSpLocks/>
          </p:cNvCxnSpPr>
          <p:nvPr/>
        </p:nvCxnSpPr>
        <p:spPr>
          <a:xfrm flipH="1">
            <a:off x="8073182" y="3712525"/>
            <a:ext cx="2930209" cy="0"/>
          </a:xfrm>
          <a:prstGeom prst="line">
            <a:avLst/>
          </a:prstGeom>
          <a:ln w="19050" cap="rnd">
            <a:solidFill>
              <a:srgbClr val="FFFFFF">
                <a:alpha val="35000"/>
              </a:srgb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40" name="Content Placeholder 7">
            <a:extLst>
              <a:ext uri="{FF2B5EF4-FFF2-40B4-BE49-F238E27FC236}">
                <a16:creationId xmlns:a16="http://schemas.microsoft.com/office/drawing/2014/main" id="{6CF0EC1A-D9C5-824C-AA3E-D7CF3BD48243}"/>
              </a:ext>
            </a:extLst>
          </p:cNvPr>
          <p:cNvSpPr txBox="1">
            <a:spLocks/>
          </p:cNvSpPr>
          <p:nvPr/>
        </p:nvSpPr>
        <p:spPr>
          <a:xfrm>
            <a:off x="432013" y="2633103"/>
            <a:ext cx="6357995" cy="2996172"/>
          </a:xfrm>
          <a:prstGeom prst="rect">
            <a:avLst/>
          </a:prstGeom>
        </p:spPr>
        <p:txBody>
          <a:bodyPr/>
          <a:lst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1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21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8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 Motivation</a:t>
            </a:r>
          </a:p>
          <a:p>
            <a:pPr marL="0" indent="0" eaLnBrk="0" fontAlgn="base" hangingPunct="0">
              <a:lnSpc>
                <a:spcPct val="150000"/>
              </a:lnSpc>
              <a:spcBef>
                <a:spcPct val="0"/>
              </a:spcBef>
              <a:spcAft>
                <a:spcPct val="0"/>
              </a:spcAft>
              <a:buClrTx/>
              <a:buNone/>
            </a:pP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 5G Media Streaming Idea</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 </a:t>
            </a:r>
            <a:r>
              <a:rPr lang="en-US" altLang="en-US" sz="2400" dirty="0">
                <a:latin typeface="Arial" panose="020B0604020202020204" pitchFamily="34" charset="0"/>
                <a:ea typeface="Calibri" panose="020F0502020204030204" pitchFamily="34" charset="0"/>
              </a:rPr>
              <a:t>Rel-17 Features</a:t>
            </a:r>
            <a:endPar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pPr>
            <a:r>
              <a:rPr lang="en-US" sz="2400" kern="1200" spc="0" noProof="0" dirty="0">
                <a:uLnTx/>
                <a:uFillTx/>
                <a:latin typeface="Arial" panose="020B0604020202020204" pitchFamily="34" charset="0"/>
                <a:cs typeface="+mn-cs"/>
              </a:rPr>
              <a:t># In the cooking in Rel-18</a:t>
            </a:r>
          </a:p>
          <a:p>
            <a:pPr marL="0" indent="0" eaLnBrk="0" fontAlgn="base" hangingPunct="0">
              <a:lnSpc>
                <a:spcPct val="150000"/>
              </a:lnSpc>
              <a:spcBef>
                <a:spcPct val="0"/>
              </a:spcBef>
              <a:spcAft>
                <a:spcPct val="0"/>
              </a:spcAft>
              <a:buClrTx/>
              <a:buNone/>
            </a:pPr>
            <a:r>
              <a:rPr lang="en-US" sz="2400" kern="1200" spc="0" noProof="0" dirty="0">
                <a:uLnTx/>
                <a:uFillTx/>
                <a:latin typeface="Arial" panose="020B0604020202020204" pitchFamily="34" charset="0"/>
                <a:cs typeface="+mn-cs"/>
              </a:rPr>
              <a:t># Beyond Rel-18</a:t>
            </a:r>
            <a:endParaRPr lang="en-US" sz="2400" dirty="0">
              <a:solidFill>
                <a:srgbClr val="445776"/>
              </a:solidFill>
              <a:latin typeface="Microsoft Sans Serif"/>
            </a:endParaRPr>
          </a:p>
          <a:p>
            <a:pPr marL="0" indent="0" eaLnBrk="0" fontAlgn="base" hangingPunct="0">
              <a:lnSpc>
                <a:spcPct val="150000"/>
              </a:lnSpc>
              <a:spcBef>
                <a:spcPct val="0"/>
              </a:spcBef>
              <a:spcAft>
                <a:spcPct val="0"/>
              </a:spcAft>
              <a:buClrTx/>
              <a:buNone/>
            </a:pPr>
            <a:r>
              <a:rPr lang="en-US" sz="2400" kern="1200" spc="0" noProof="0" dirty="0">
                <a:uLnTx/>
                <a:uFillTx/>
                <a:latin typeface="Arial" panose="020B0604020202020204" pitchFamily="34" charset="0"/>
                <a:cs typeface="+mn-cs"/>
              </a:rPr>
              <a:t># Discussion</a:t>
            </a:r>
          </a:p>
          <a:p>
            <a:pPr marL="0" indent="0" eaLnBrk="0" fontAlgn="base" hangingPunct="0">
              <a:lnSpc>
                <a:spcPct val="150000"/>
              </a:lnSpc>
              <a:spcBef>
                <a:spcPct val="0"/>
              </a:spcBef>
              <a:spcAft>
                <a:spcPct val="0"/>
              </a:spcAft>
              <a:buClrTx/>
              <a:buNone/>
            </a:pPr>
            <a:endParaRPr lang="en-US" sz="2400" dirty="0">
              <a:solidFill>
                <a:srgbClr val="445776"/>
              </a:solidFill>
              <a:latin typeface="Microsoft Sans Serif"/>
            </a:endParaRPr>
          </a:p>
        </p:txBody>
      </p:sp>
      <p:sp>
        <p:nvSpPr>
          <p:cNvPr id="12" name="Freeform 5">
            <a:extLst>
              <a:ext uri="{FF2B5EF4-FFF2-40B4-BE49-F238E27FC236}">
                <a16:creationId xmlns:a16="http://schemas.microsoft.com/office/drawing/2014/main" id="{3E50D58B-321D-490E-A668-F9988AECA720}"/>
              </a:ext>
            </a:extLst>
          </p:cNvPr>
          <p:cNvSpPr>
            <a:spLocks noChangeAspect="1" noEditPoints="1"/>
          </p:cNvSpPr>
          <p:nvPr/>
        </p:nvSpPr>
        <p:spPr bwMode="black">
          <a:xfrm>
            <a:off x="485775"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 name="Footer Placeholder 1">
            <a:extLst>
              <a:ext uri="{FF2B5EF4-FFF2-40B4-BE49-F238E27FC236}">
                <a16:creationId xmlns:a16="http://schemas.microsoft.com/office/drawing/2014/main" id="{372D6CE3-BB5D-49B3-A042-C5667F23D5AC}"/>
              </a:ext>
            </a:extLst>
          </p:cNvPr>
          <p:cNvSpPr>
            <a:spLocks noGrp="1"/>
          </p:cNvSpPr>
          <p:nvPr>
            <p:ph type="ftr" sz="quarter" idx="3"/>
          </p:nvPr>
        </p:nvSpPr>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45776">
                    <a:lumMod val="60000"/>
                    <a:lumOff val="40000"/>
                  </a:srgbClr>
                </a:solidFill>
                <a:effectLst/>
                <a:uLnTx/>
                <a:uFillTx/>
                <a:latin typeface="Microsoft Sans Serif"/>
                <a:ea typeface="+mn-ea"/>
                <a:cs typeface="+mn-cs"/>
              </a:rPr>
              <a:t>Media Web Symposium 2023</a:t>
            </a:r>
            <a:endParaRPr kumimoji="0" lang="en-US" sz="800" b="0" i="0" u="none" strike="noStrike" kern="1200" cap="none" spc="0" normalizeH="0" baseline="0" noProof="0" dirty="0">
              <a:ln>
                <a:noFill/>
              </a:ln>
              <a:solidFill>
                <a:srgbClr val="445776">
                  <a:lumMod val="60000"/>
                  <a:lumOff val="40000"/>
                </a:srgbClr>
              </a:solidFill>
              <a:effectLst/>
              <a:uLnTx/>
              <a:uFillTx/>
              <a:latin typeface="Microsoft Sans Serif"/>
              <a:ea typeface="+mn-ea"/>
              <a:cs typeface="+mn-cs"/>
            </a:endParaRPr>
          </a:p>
        </p:txBody>
      </p:sp>
      <p:pic>
        <p:nvPicPr>
          <p:cNvPr id="5" name="Picture 4" descr="A person wearing glasses&#10;&#10;Description automatically generated with medium confidence">
            <a:extLst>
              <a:ext uri="{FF2B5EF4-FFF2-40B4-BE49-F238E27FC236}">
                <a16:creationId xmlns:a16="http://schemas.microsoft.com/office/drawing/2014/main" id="{98E1CD87-94CD-8BFD-2E76-25EEC8ECE789}"/>
              </a:ext>
            </a:extLst>
          </p:cNvPr>
          <p:cNvPicPr>
            <a:picLocks noChangeAspect="1"/>
          </p:cNvPicPr>
          <p:nvPr/>
        </p:nvPicPr>
        <p:blipFill>
          <a:blip r:embed="rId3"/>
          <a:stretch>
            <a:fillRect/>
          </a:stretch>
        </p:blipFill>
        <p:spPr>
          <a:xfrm>
            <a:off x="8969006" y="206931"/>
            <a:ext cx="1787614" cy="274739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2" name="Cloud 21">
            <a:extLst>
              <a:ext uri="{FF2B5EF4-FFF2-40B4-BE49-F238E27FC236}">
                <a16:creationId xmlns:a16="http://schemas.microsoft.com/office/drawing/2014/main" id="{1E94A568-D0DD-05CD-08B3-D973A38CD782}"/>
              </a:ext>
            </a:extLst>
          </p:cNvPr>
          <p:cNvSpPr/>
          <p:nvPr/>
        </p:nvSpPr>
        <p:spPr>
          <a:xfrm>
            <a:off x="10208755" y="3128404"/>
            <a:ext cx="1551232" cy="516314"/>
          </a:xfrm>
          <a:prstGeom prst="cloud">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dirty="0" err="1">
              <a:solidFill>
                <a:schemeClr val="bg1"/>
              </a:solidFill>
              <a:latin typeface="Microsoft Sans Serif"/>
              <a:cs typeface="Microsoft Sans Serif" panose="020B0604020202020204" pitchFamily="34" charset="0"/>
            </a:endParaRPr>
          </a:p>
        </p:txBody>
      </p:sp>
      <p:pic>
        <p:nvPicPr>
          <p:cNvPr id="21" name="Picture 20" descr="Title: LinkedIn - Description: LinkedIn icon">
            <a:hlinkClick r:id="rId4"/>
            <a:extLst>
              <a:ext uri="{FF2B5EF4-FFF2-40B4-BE49-F238E27FC236}">
                <a16:creationId xmlns:a16="http://schemas.microsoft.com/office/drawing/2014/main" id="{D241B311-2C32-C465-56A8-8E1F05253F25}"/>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433346" y="3260699"/>
            <a:ext cx="228161" cy="228161"/>
          </a:xfrm>
          <a:prstGeom prst="rect">
            <a:avLst/>
          </a:prstGeom>
          <a:noFill/>
          <a:ln>
            <a:noFill/>
          </a:ln>
        </p:spPr>
      </p:pic>
      <p:pic>
        <p:nvPicPr>
          <p:cNvPr id="23" name="Picture 22" descr="Title: Facebook - Description: Facebook icon">
            <a:hlinkClick r:id="rId6"/>
            <a:extLst>
              <a:ext uri="{FF2B5EF4-FFF2-40B4-BE49-F238E27FC236}">
                <a16:creationId xmlns:a16="http://schemas.microsoft.com/office/drawing/2014/main" id="{6CC6DF67-DFB0-32BC-C1A7-D2595BEEBB06}"/>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0687805" y="3260699"/>
            <a:ext cx="228160" cy="228160"/>
          </a:xfrm>
          <a:prstGeom prst="rect">
            <a:avLst/>
          </a:prstGeom>
          <a:noFill/>
          <a:ln>
            <a:noFill/>
          </a:ln>
        </p:spPr>
      </p:pic>
      <p:pic>
        <p:nvPicPr>
          <p:cNvPr id="24" name="Picture 23" descr="Github symbol (png logo icon) blue">
            <a:hlinkClick r:id="rId8"/>
            <a:extLst>
              <a:ext uri="{FF2B5EF4-FFF2-40B4-BE49-F238E27FC236}">
                <a16:creationId xmlns:a16="http://schemas.microsoft.com/office/drawing/2014/main" id="{7005EE58-D485-282B-AE0D-AEC12A76958B}"/>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0942263" y="3247870"/>
            <a:ext cx="253818" cy="253818"/>
          </a:xfrm>
          <a:prstGeom prst="rect">
            <a:avLst/>
          </a:prstGeom>
          <a:noFill/>
          <a:ln>
            <a:noFill/>
          </a:ln>
        </p:spPr>
      </p:pic>
      <p:pic>
        <p:nvPicPr>
          <p:cNvPr id="25" name="Picture 24" descr="Discord Logo - Logo, zeichen, emblem, symbol. Geschichte und Bedeutung">
            <a:hlinkClick r:id="rId10"/>
            <a:extLst>
              <a:ext uri="{FF2B5EF4-FFF2-40B4-BE49-F238E27FC236}">
                <a16:creationId xmlns:a16="http://schemas.microsoft.com/office/drawing/2014/main" id="{F7ECCB96-EF04-D6AC-50DF-9606C4FE3864}"/>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1165229" y="3247870"/>
            <a:ext cx="401879" cy="253818"/>
          </a:xfrm>
          <a:prstGeom prst="rect">
            <a:avLst/>
          </a:prstGeom>
          <a:noFill/>
          <a:ln>
            <a:noFill/>
          </a:ln>
        </p:spPr>
      </p:pic>
    </p:spTree>
    <p:extLst>
      <p:ext uri="{BB962C8B-B14F-4D97-AF65-F5344CB8AC3E}">
        <p14:creationId xmlns:p14="http://schemas.microsoft.com/office/powerpoint/2010/main" val="286793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649E04-5D18-7972-5FD3-D89C08DDBAE0}"/>
              </a:ext>
            </a:extLst>
          </p:cNvPr>
          <p:cNvSpPr>
            <a:spLocks noGrp="1"/>
          </p:cNvSpPr>
          <p:nvPr>
            <p:ph type="title"/>
          </p:nvPr>
        </p:nvSpPr>
        <p:spPr/>
        <p:txBody>
          <a:bodyPr/>
          <a:lstStyle/>
          <a:p>
            <a:r>
              <a:rPr lang="fr-CH" dirty="0"/>
              <a:t>Multicast–Broadcast Services system architecture</a:t>
            </a:r>
            <a:endParaRPr lang="en-US" dirty="0"/>
          </a:p>
        </p:txBody>
      </p:sp>
      <p:sp>
        <p:nvSpPr>
          <p:cNvPr id="3" name="Subtitle 2">
            <a:extLst>
              <a:ext uri="{FF2B5EF4-FFF2-40B4-BE49-F238E27FC236}">
                <a16:creationId xmlns:a16="http://schemas.microsoft.com/office/drawing/2014/main" id="{5D24E4A0-D9C9-5FC6-4539-20AB48E3B1BC}"/>
              </a:ext>
            </a:extLst>
          </p:cNvPr>
          <p:cNvSpPr>
            <a:spLocks noGrp="1"/>
          </p:cNvSpPr>
          <p:nvPr>
            <p:ph type="subTitle" idx="1"/>
          </p:nvPr>
        </p:nvSpPr>
        <p:spPr>
          <a:xfrm>
            <a:off x="494189" y="1088135"/>
            <a:ext cx="11188223" cy="236347"/>
          </a:xfrm>
        </p:spPr>
        <p:txBody>
          <a:bodyPr/>
          <a:lstStyle/>
          <a:p>
            <a:r>
              <a:rPr lang="en-GB" sz="1600" i="1" dirty="0"/>
              <a:t>Based on TS 23.247 V17.2.0 figure 5.1-1</a:t>
            </a:r>
          </a:p>
        </p:txBody>
      </p:sp>
      <p:sp>
        <p:nvSpPr>
          <p:cNvPr id="4" name="Footer Placeholder 3">
            <a:extLst>
              <a:ext uri="{FF2B5EF4-FFF2-40B4-BE49-F238E27FC236}">
                <a16:creationId xmlns:a16="http://schemas.microsoft.com/office/drawing/2014/main" id="{7B34EC6D-D74D-716D-1FBF-2DA37F4CD444}"/>
              </a:ext>
            </a:extLst>
          </p:cNvPr>
          <p:cNvSpPr>
            <a:spLocks noGrp="1"/>
          </p:cNvSpPr>
          <p:nvPr>
            <p:ph type="ftr" sz="quarter" idx="10"/>
          </p:nvPr>
        </p:nvSpPr>
        <p:spPr/>
        <p:txBody>
          <a:bodyPr/>
          <a:lstStyle/>
          <a:p>
            <a:r>
              <a:rPr lang="en-US"/>
              <a:t>Media Web Symposium 2023</a:t>
            </a:r>
            <a:endParaRPr lang="en-US" dirty="0"/>
          </a:p>
        </p:txBody>
      </p:sp>
      <p:pic>
        <p:nvPicPr>
          <p:cNvPr id="5" name="Picture 4">
            <a:extLst>
              <a:ext uri="{FF2B5EF4-FFF2-40B4-BE49-F238E27FC236}">
                <a16:creationId xmlns:a16="http://schemas.microsoft.com/office/drawing/2014/main" id="{C103EB45-5E93-B443-8A69-E014A154D34F}"/>
              </a:ext>
            </a:extLst>
          </p:cNvPr>
          <p:cNvPicPr>
            <a:picLocks noChangeAspect="1"/>
          </p:cNvPicPr>
          <p:nvPr/>
        </p:nvPicPr>
        <p:blipFill>
          <a:blip r:embed="rId2"/>
          <a:stretch>
            <a:fillRect/>
          </a:stretch>
        </p:blipFill>
        <p:spPr>
          <a:xfrm>
            <a:off x="1226416" y="1659271"/>
            <a:ext cx="8924348" cy="4270547"/>
          </a:xfrm>
          <a:prstGeom prst="rect">
            <a:avLst/>
          </a:prstGeom>
        </p:spPr>
      </p:pic>
    </p:spTree>
    <p:extLst>
      <p:ext uri="{BB962C8B-B14F-4D97-AF65-F5344CB8AC3E}">
        <p14:creationId xmlns:p14="http://schemas.microsoft.com/office/powerpoint/2010/main" val="3636863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649E04-5D18-7972-5FD3-D89C08DDBAE0}"/>
              </a:ext>
            </a:extLst>
          </p:cNvPr>
          <p:cNvSpPr>
            <a:spLocks noGrp="1"/>
          </p:cNvSpPr>
          <p:nvPr>
            <p:ph type="title"/>
          </p:nvPr>
        </p:nvSpPr>
        <p:spPr/>
        <p:txBody>
          <a:bodyPr/>
          <a:lstStyle/>
          <a:p>
            <a:r>
              <a:rPr lang="fr-CH" dirty="0"/>
              <a:t>Multicast–Broadcast Services system architecture</a:t>
            </a:r>
            <a:endParaRPr lang="en-US" dirty="0"/>
          </a:p>
        </p:txBody>
      </p:sp>
      <p:sp>
        <p:nvSpPr>
          <p:cNvPr id="3" name="Subtitle 2">
            <a:extLst>
              <a:ext uri="{FF2B5EF4-FFF2-40B4-BE49-F238E27FC236}">
                <a16:creationId xmlns:a16="http://schemas.microsoft.com/office/drawing/2014/main" id="{5D24E4A0-D9C9-5FC6-4539-20AB48E3B1BC}"/>
              </a:ext>
            </a:extLst>
          </p:cNvPr>
          <p:cNvSpPr>
            <a:spLocks noGrp="1"/>
          </p:cNvSpPr>
          <p:nvPr>
            <p:ph type="subTitle" idx="1"/>
          </p:nvPr>
        </p:nvSpPr>
        <p:spPr>
          <a:xfrm>
            <a:off x="494189" y="1088135"/>
            <a:ext cx="11188223" cy="236347"/>
          </a:xfrm>
        </p:spPr>
        <p:txBody>
          <a:bodyPr/>
          <a:lstStyle/>
          <a:p>
            <a:r>
              <a:rPr lang="en-GB" sz="1600" i="1" dirty="0"/>
              <a:t>Based on TS 23.247 V17.2.0 figure 5.1-2</a:t>
            </a:r>
          </a:p>
        </p:txBody>
      </p:sp>
      <p:sp>
        <p:nvSpPr>
          <p:cNvPr id="4" name="Footer Placeholder 3">
            <a:extLst>
              <a:ext uri="{FF2B5EF4-FFF2-40B4-BE49-F238E27FC236}">
                <a16:creationId xmlns:a16="http://schemas.microsoft.com/office/drawing/2014/main" id="{7B34EC6D-D74D-716D-1FBF-2DA37F4CD444}"/>
              </a:ext>
            </a:extLst>
          </p:cNvPr>
          <p:cNvSpPr>
            <a:spLocks noGrp="1"/>
          </p:cNvSpPr>
          <p:nvPr>
            <p:ph type="ftr" sz="quarter" idx="10"/>
          </p:nvPr>
        </p:nvSpPr>
        <p:spPr/>
        <p:txBody>
          <a:bodyPr/>
          <a:lstStyle/>
          <a:p>
            <a:r>
              <a:rPr lang="en-US"/>
              <a:t>Media Web Symposium 2023</a:t>
            </a:r>
            <a:endParaRPr lang="en-US" dirty="0"/>
          </a:p>
        </p:txBody>
      </p:sp>
      <p:pic>
        <p:nvPicPr>
          <p:cNvPr id="6" name="Picture 5">
            <a:extLst>
              <a:ext uri="{FF2B5EF4-FFF2-40B4-BE49-F238E27FC236}">
                <a16:creationId xmlns:a16="http://schemas.microsoft.com/office/drawing/2014/main" id="{D54E6EDB-16AE-D400-821A-648E50A7F8E2}"/>
              </a:ext>
            </a:extLst>
          </p:cNvPr>
          <p:cNvPicPr>
            <a:picLocks noChangeAspect="1"/>
          </p:cNvPicPr>
          <p:nvPr/>
        </p:nvPicPr>
        <p:blipFill>
          <a:blip r:embed="rId2"/>
          <a:stretch>
            <a:fillRect/>
          </a:stretch>
        </p:blipFill>
        <p:spPr>
          <a:xfrm>
            <a:off x="1401907" y="1625600"/>
            <a:ext cx="8949571" cy="4282617"/>
          </a:xfrm>
          <a:prstGeom prst="rect">
            <a:avLst/>
          </a:prstGeom>
        </p:spPr>
      </p:pic>
    </p:spTree>
    <p:extLst>
      <p:ext uri="{BB962C8B-B14F-4D97-AF65-F5344CB8AC3E}">
        <p14:creationId xmlns:p14="http://schemas.microsoft.com/office/powerpoint/2010/main" val="4043368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30AB91F-6980-00B1-E969-4B32D533825D}"/>
              </a:ext>
            </a:extLst>
          </p:cNvPr>
          <p:cNvSpPr>
            <a:spLocks noGrp="1"/>
          </p:cNvSpPr>
          <p:nvPr>
            <p:ph type="ftr" sz="quarter" idx="10"/>
          </p:nvPr>
        </p:nvSpPr>
        <p:spPr/>
        <p:txBody>
          <a:bodyPr/>
          <a:lstStyle/>
          <a:p>
            <a:r>
              <a:rPr lang="en-US"/>
              <a:t>Media Web Symposium 2023</a:t>
            </a:r>
            <a:endParaRPr lang="en-US" dirty="0"/>
          </a:p>
        </p:txBody>
      </p:sp>
      <p:sp>
        <p:nvSpPr>
          <p:cNvPr id="2" name="Title 1">
            <a:extLst>
              <a:ext uri="{FF2B5EF4-FFF2-40B4-BE49-F238E27FC236}">
                <a16:creationId xmlns:a16="http://schemas.microsoft.com/office/drawing/2014/main" id="{7ACE923F-C345-36FA-BC7A-BF2A3156C5A7}"/>
              </a:ext>
            </a:extLst>
          </p:cNvPr>
          <p:cNvSpPr>
            <a:spLocks noGrp="1"/>
          </p:cNvSpPr>
          <p:nvPr>
            <p:ph type="title"/>
          </p:nvPr>
        </p:nvSpPr>
        <p:spPr/>
        <p:txBody>
          <a:bodyPr/>
          <a:lstStyle/>
          <a:p>
            <a:r>
              <a:rPr lang="de-DE" dirty="0"/>
              <a:t>MBS User Service Architecture</a:t>
            </a:r>
            <a:endParaRPr lang="en-US" dirty="0"/>
          </a:p>
        </p:txBody>
      </p:sp>
      <p:sp>
        <p:nvSpPr>
          <p:cNvPr id="7" name="Content Placeholder 6">
            <a:extLst>
              <a:ext uri="{FF2B5EF4-FFF2-40B4-BE49-F238E27FC236}">
                <a16:creationId xmlns:a16="http://schemas.microsoft.com/office/drawing/2014/main" id="{36E8C4BC-48E9-275B-43F6-0943639E467D}"/>
              </a:ext>
            </a:extLst>
          </p:cNvPr>
          <p:cNvSpPr>
            <a:spLocks noGrp="1"/>
          </p:cNvSpPr>
          <p:nvPr>
            <p:ph sz="quarter" idx="14"/>
          </p:nvPr>
        </p:nvSpPr>
        <p:spPr>
          <a:xfrm>
            <a:off x="7075054" y="1719072"/>
            <a:ext cx="4607357" cy="4681727"/>
          </a:xfrm>
        </p:spPr>
        <p:txBody>
          <a:bodyPr/>
          <a:lstStyle/>
          <a:p>
            <a:r>
              <a:rPr lang="de-DE" dirty="0"/>
              <a:t>User Service Announcement</a:t>
            </a:r>
          </a:p>
          <a:p>
            <a:pPr lvl="1"/>
            <a:r>
              <a:rPr lang="de-DE" dirty="0"/>
              <a:t>Aligned with MBMS User Service principles</a:t>
            </a:r>
          </a:p>
          <a:p>
            <a:pPr lvl="1"/>
            <a:r>
              <a:rPr lang="de-DE" dirty="0"/>
              <a:t>Simplified</a:t>
            </a:r>
          </a:p>
          <a:p>
            <a:pPr lvl="1"/>
            <a:r>
              <a:rPr lang="de-DE" dirty="0"/>
              <a:t>Modernized protocols</a:t>
            </a:r>
          </a:p>
          <a:p>
            <a:r>
              <a:rPr lang="de-DE" dirty="0"/>
              <a:t>Object Distribution</a:t>
            </a:r>
          </a:p>
          <a:p>
            <a:pPr lvl="1"/>
            <a:r>
              <a:rPr lang="en-US" dirty="0"/>
              <a:t>Single file delivery.</a:t>
            </a:r>
          </a:p>
          <a:p>
            <a:pPr lvl="1"/>
            <a:r>
              <a:rPr lang="en-US" dirty="0"/>
              <a:t>Package Delivery</a:t>
            </a:r>
          </a:p>
          <a:p>
            <a:pPr lvl="1"/>
            <a:r>
              <a:rPr lang="en-US" dirty="0"/>
              <a:t>Object Carouselling</a:t>
            </a:r>
          </a:p>
          <a:p>
            <a:pPr lvl="1"/>
            <a:r>
              <a:rPr lang="en-US" dirty="0"/>
              <a:t>Real-Time Object Streaming DASH/HLS/CMAF</a:t>
            </a:r>
            <a:endParaRPr lang="de-DE" dirty="0"/>
          </a:p>
          <a:p>
            <a:r>
              <a:rPr lang="de-DE" dirty="0"/>
              <a:t>Packet Distribution</a:t>
            </a:r>
          </a:p>
          <a:p>
            <a:pPr lvl="1"/>
            <a:r>
              <a:rPr lang="de-DE" dirty="0"/>
              <a:t>Forward-only (tunnel)</a:t>
            </a:r>
          </a:p>
          <a:p>
            <a:pPr lvl="1"/>
            <a:r>
              <a:rPr lang="de-DE" dirty="0"/>
              <a:t>Proxy mode (UDP payload)</a:t>
            </a:r>
          </a:p>
          <a:p>
            <a:r>
              <a:rPr lang="de-DE" dirty="0"/>
              <a:t>Associated Services</a:t>
            </a:r>
            <a:endParaRPr lang="en-US" dirty="0"/>
          </a:p>
        </p:txBody>
      </p:sp>
      <p:sp>
        <p:nvSpPr>
          <p:cNvPr id="3" name="Subtitle 2">
            <a:extLst>
              <a:ext uri="{FF2B5EF4-FFF2-40B4-BE49-F238E27FC236}">
                <a16:creationId xmlns:a16="http://schemas.microsoft.com/office/drawing/2014/main" id="{1B8B76C1-9D35-3C56-9B28-BB29CE8688E5}"/>
              </a:ext>
            </a:extLst>
          </p:cNvPr>
          <p:cNvSpPr>
            <a:spLocks noGrp="1"/>
          </p:cNvSpPr>
          <p:nvPr>
            <p:ph type="subTitle" idx="1"/>
          </p:nvPr>
        </p:nvSpPr>
        <p:spPr/>
        <p:txBody>
          <a:bodyPr/>
          <a:lstStyle/>
          <a:p>
            <a:r>
              <a:rPr lang="de-DE" dirty="0"/>
              <a:t>See TS 26.502 Figure 4.3.1-1 </a:t>
            </a:r>
            <a:endParaRPr lang="en-US" dirty="0"/>
          </a:p>
        </p:txBody>
      </p:sp>
      <p:graphicFrame>
        <p:nvGraphicFramePr>
          <p:cNvPr id="6" name="Object 5">
            <a:extLst>
              <a:ext uri="{FF2B5EF4-FFF2-40B4-BE49-F238E27FC236}">
                <a16:creationId xmlns:a16="http://schemas.microsoft.com/office/drawing/2014/main" id="{6E7F7D5D-C2C5-6B76-2799-B700F4C707BD}"/>
              </a:ext>
            </a:extLst>
          </p:cNvPr>
          <p:cNvGraphicFramePr>
            <a:graphicFrameLocks noChangeAspect="1"/>
          </p:cNvGraphicFramePr>
          <p:nvPr/>
        </p:nvGraphicFramePr>
        <p:xfrm>
          <a:off x="494189" y="1864615"/>
          <a:ext cx="6115050" cy="3905250"/>
        </p:xfrm>
        <a:graphic>
          <a:graphicData uri="http://schemas.openxmlformats.org/presentationml/2006/ole">
            <mc:AlternateContent xmlns:mc="http://schemas.openxmlformats.org/markup-compatibility/2006">
              <mc:Choice xmlns:v="urn:schemas-microsoft-com:vml" Requires="v">
                <p:oleObj name="Visio" r:id="rId2" imgW="18580109" imgH="11874315" progId="Visio.Drawing.15">
                  <p:embed/>
                </p:oleObj>
              </mc:Choice>
              <mc:Fallback>
                <p:oleObj name="Visio" r:id="rId2" imgW="18580109" imgH="11874315" progId="Visio.Drawing.15">
                  <p:embed/>
                  <p:pic>
                    <p:nvPicPr>
                      <p:cNvPr id="6" name="Object 5">
                        <a:extLst>
                          <a:ext uri="{FF2B5EF4-FFF2-40B4-BE49-F238E27FC236}">
                            <a16:creationId xmlns:a16="http://schemas.microsoft.com/office/drawing/2014/main" id="{6E7F7D5D-C2C5-6B76-2799-B700F4C707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189" y="1864615"/>
                        <a:ext cx="6115050" cy="39052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06645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00092AB-39FA-EDC8-7437-B4420B8A2153}"/>
              </a:ext>
            </a:extLst>
          </p:cNvPr>
          <p:cNvSpPr>
            <a:spLocks noGrp="1"/>
          </p:cNvSpPr>
          <p:nvPr>
            <p:ph type="ftr" sz="quarter" idx="10"/>
          </p:nvPr>
        </p:nvSpPr>
        <p:spPr/>
        <p:txBody>
          <a:bodyPr/>
          <a:lstStyle/>
          <a:p>
            <a:r>
              <a:rPr lang="en-US"/>
              <a:t>Media Web Symposium 2023</a:t>
            </a:r>
            <a:endParaRPr lang="en-US" dirty="0"/>
          </a:p>
        </p:txBody>
      </p:sp>
      <p:sp>
        <p:nvSpPr>
          <p:cNvPr id="3" name="Title 2">
            <a:extLst>
              <a:ext uri="{FF2B5EF4-FFF2-40B4-BE49-F238E27FC236}">
                <a16:creationId xmlns:a16="http://schemas.microsoft.com/office/drawing/2014/main" id="{EA6122FA-3F0A-14DA-24D4-12C3E6662A9B}"/>
              </a:ext>
            </a:extLst>
          </p:cNvPr>
          <p:cNvSpPr>
            <a:spLocks noGrp="1"/>
          </p:cNvSpPr>
          <p:nvPr>
            <p:ph type="title"/>
          </p:nvPr>
        </p:nvSpPr>
        <p:spPr>
          <a:xfrm>
            <a:off x="495300" y="642644"/>
            <a:ext cx="11187112" cy="361959"/>
          </a:xfrm>
        </p:spPr>
        <p:txBody>
          <a:bodyPr/>
          <a:lstStyle/>
          <a:p>
            <a:r>
              <a:rPr lang="de-DE" dirty="0"/>
              <a:t>5GMS via MBS</a:t>
            </a:r>
            <a:endParaRPr lang="en-US" dirty="0"/>
          </a:p>
        </p:txBody>
      </p:sp>
      <p:sp>
        <p:nvSpPr>
          <p:cNvPr id="4" name="Content Placeholder 3">
            <a:extLst>
              <a:ext uri="{FF2B5EF4-FFF2-40B4-BE49-F238E27FC236}">
                <a16:creationId xmlns:a16="http://schemas.microsoft.com/office/drawing/2014/main" id="{E7EE2A02-4934-6A56-A9A5-035C7B1CCB63}"/>
              </a:ext>
            </a:extLst>
          </p:cNvPr>
          <p:cNvSpPr>
            <a:spLocks noGrp="1"/>
          </p:cNvSpPr>
          <p:nvPr>
            <p:ph sz="quarter" idx="14"/>
          </p:nvPr>
        </p:nvSpPr>
        <p:spPr>
          <a:xfrm>
            <a:off x="7259782" y="1719072"/>
            <a:ext cx="4422630" cy="4681727"/>
          </a:xfrm>
        </p:spPr>
        <p:txBody>
          <a:bodyPr/>
          <a:lstStyle/>
          <a:p>
            <a:r>
              <a:rPr lang="de-DE" dirty="0"/>
              <a:t>Abstract the distribution complexity for third party service provider</a:t>
            </a:r>
          </a:p>
          <a:p>
            <a:r>
              <a:rPr lang="de-DE" dirty="0"/>
              <a:t>Different collaboration models</a:t>
            </a:r>
          </a:p>
          <a:p>
            <a:r>
              <a:rPr lang="de-DE" dirty="0"/>
              <a:t>Unicast/Multicast combinations</a:t>
            </a:r>
          </a:p>
          <a:p>
            <a:r>
              <a:rPr lang="de-DE" dirty="0"/>
              <a:t>Stage-3 still to be developed</a:t>
            </a:r>
            <a:endParaRPr lang="en-US" dirty="0"/>
          </a:p>
        </p:txBody>
      </p:sp>
      <p:sp>
        <p:nvSpPr>
          <p:cNvPr id="5" name="Subtitle 4">
            <a:extLst>
              <a:ext uri="{FF2B5EF4-FFF2-40B4-BE49-F238E27FC236}">
                <a16:creationId xmlns:a16="http://schemas.microsoft.com/office/drawing/2014/main" id="{F0B9F6BF-0E3C-D761-DC52-B8EE553CAAB4}"/>
              </a:ext>
            </a:extLst>
          </p:cNvPr>
          <p:cNvSpPr>
            <a:spLocks noGrp="1"/>
          </p:cNvSpPr>
          <p:nvPr>
            <p:ph type="subTitle" idx="1"/>
          </p:nvPr>
        </p:nvSpPr>
        <p:spPr/>
        <p:txBody>
          <a:bodyPr/>
          <a:lstStyle/>
          <a:p>
            <a:r>
              <a:rPr lang="de-DE" dirty="0"/>
              <a:t>See TS 26.501, Figure 4.9.1-1</a:t>
            </a:r>
            <a:endParaRPr lang="en-US" dirty="0"/>
          </a:p>
        </p:txBody>
      </p:sp>
      <p:graphicFrame>
        <p:nvGraphicFramePr>
          <p:cNvPr id="7" name="Object 6">
            <a:extLst>
              <a:ext uri="{FF2B5EF4-FFF2-40B4-BE49-F238E27FC236}">
                <a16:creationId xmlns:a16="http://schemas.microsoft.com/office/drawing/2014/main" id="{305F0CA9-E3A7-3D24-09C7-D15EA2F45A11}"/>
              </a:ext>
            </a:extLst>
          </p:cNvPr>
          <p:cNvGraphicFramePr>
            <a:graphicFrameLocks noChangeAspect="1"/>
          </p:cNvGraphicFramePr>
          <p:nvPr/>
        </p:nvGraphicFramePr>
        <p:xfrm>
          <a:off x="685077" y="1645347"/>
          <a:ext cx="5915025" cy="4829175"/>
        </p:xfrm>
        <a:graphic>
          <a:graphicData uri="http://schemas.openxmlformats.org/presentationml/2006/ole">
            <mc:AlternateContent xmlns:mc="http://schemas.openxmlformats.org/markup-compatibility/2006">
              <mc:Choice xmlns:v="urn:schemas-microsoft-com:vml" Requires="v">
                <p:oleObj name="Visio" r:id="rId2" imgW="20736183" imgH="16906902" progId="Visio.Drawing.15">
                  <p:embed/>
                </p:oleObj>
              </mc:Choice>
              <mc:Fallback>
                <p:oleObj name="Visio" r:id="rId2" imgW="20736183" imgH="16906902" progId="Visio.Drawing.15">
                  <p:embed/>
                  <p:pic>
                    <p:nvPicPr>
                      <p:cNvPr id="7" name="Object 6">
                        <a:extLst>
                          <a:ext uri="{FF2B5EF4-FFF2-40B4-BE49-F238E27FC236}">
                            <a16:creationId xmlns:a16="http://schemas.microsoft.com/office/drawing/2014/main" id="{305F0CA9-E3A7-3D24-09C7-D15EA2F45A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077" y="1645347"/>
                        <a:ext cx="5915025" cy="48291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4600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258352F-C4E9-D9D4-2011-621C3E6507A4}"/>
              </a:ext>
            </a:extLst>
          </p:cNvPr>
          <p:cNvSpPr>
            <a:spLocks noGrp="1"/>
          </p:cNvSpPr>
          <p:nvPr>
            <p:ph type="ftr" sz="quarter" idx="10"/>
          </p:nvPr>
        </p:nvSpPr>
        <p:spPr/>
        <p:txBody>
          <a:bodyPr/>
          <a:lstStyle/>
          <a:p>
            <a:r>
              <a:rPr lang="en-US"/>
              <a:t>Media Web Symposium 2023</a:t>
            </a:r>
          </a:p>
        </p:txBody>
      </p:sp>
      <p:sp>
        <p:nvSpPr>
          <p:cNvPr id="3" name="Title 2">
            <a:extLst>
              <a:ext uri="{FF2B5EF4-FFF2-40B4-BE49-F238E27FC236}">
                <a16:creationId xmlns:a16="http://schemas.microsoft.com/office/drawing/2014/main" id="{D1FB5483-2CC6-CDE6-5730-122CE25D97B7}"/>
              </a:ext>
            </a:extLst>
          </p:cNvPr>
          <p:cNvSpPr>
            <a:spLocks noGrp="1"/>
          </p:cNvSpPr>
          <p:nvPr>
            <p:ph type="title"/>
          </p:nvPr>
        </p:nvSpPr>
        <p:spPr>
          <a:xfrm>
            <a:off x="495300" y="642644"/>
            <a:ext cx="11187112" cy="361959"/>
          </a:xfrm>
        </p:spPr>
        <p:txBody>
          <a:bodyPr/>
          <a:lstStyle/>
          <a:p>
            <a:r>
              <a:rPr lang="de-DE" dirty="0"/>
              <a:t>Launching a dedicated 5G System function on device</a:t>
            </a:r>
            <a:endParaRPr lang="en-US" dirty="0"/>
          </a:p>
        </p:txBody>
      </p:sp>
      <p:sp>
        <p:nvSpPr>
          <p:cNvPr id="5" name="Subtitle 4">
            <a:extLst>
              <a:ext uri="{FF2B5EF4-FFF2-40B4-BE49-F238E27FC236}">
                <a16:creationId xmlns:a16="http://schemas.microsoft.com/office/drawing/2014/main" id="{4690DD04-D6A2-48E7-3F52-31D4BAD8ADB7}"/>
              </a:ext>
            </a:extLst>
          </p:cNvPr>
          <p:cNvSpPr>
            <a:spLocks noGrp="1"/>
          </p:cNvSpPr>
          <p:nvPr>
            <p:ph type="subTitle" idx="1"/>
          </p:nvPr>
        </p:nvSpPr>
        <p:spPr/>
        <p:txBody>
          <a:bodyPr/>
          <a:lstStyle/>
          <a:p>
            <a:r>
              <a:rPr lang="de-DE" dirty="0"/>
              <a:t>Unclear how this can happen consistently </a:t>
            </a:r>
            <a:endParaRPr lang="en-US" dirty="0"/>
          </a:p>
        </p:txBody>
      </p:sp>
      <p:graphicFrame>
        <p:nvGraphicFramePr>
          <p:cNvPr id="7" name="Object 6">
            <a:extLst>
              <a:ext uri="{FF2B5EF4-FFF2-40B4-BE49-F238E27FC236}">
                <a16:creationId xmlns:a16="http://schemas.microsoft.com/office/drawing/2014/main" id="{B52693EB-C15C-433A-16CE-56309DAA7715}"/>
              </a:ext>
            </a:extLst>
          </p:cNvPr>
          <p:cNvGraphicFramePr>
            <a:graphicFrameLocks noChangeAspect="1"/>
          </p:cNvGraphicFramePr>
          <p:nvPr/>
        </p:nvGraphicFramePr>
        <p:xfrm>
          <a:off x="494189" y="1697873"/>
          <a:ext cx="10287000" cy="4191000"/>
        </p:xfrm>
        <a:graphic>
          <a:graphicData uri="http://schemas.openxmlformats.org/presentationml/2006/ole">
            <mc:AlternateContent xmlns:mc="http://schemas.openxmlformats.org/markup-compatibility/2006">
              <mc:Choice xmlns:v="urn:schemas-microsoft-com:vml" Requires="v">
                <p:oleObj name="Signalling Chart" r:id="rId2" imgW="10287000" imgH="4191120" progId="Mscgen.Chart">
                  <p:embed/>
                </p:oleObj>
              </mc:Choice>
              <mc:Fallback>
                <p:oleObj name="Signalling Chart" r:id="rId2" imgW="10287000" imgH="4191120" progId="Mscgen.Chart">
                  <p:embed/>
                  <p:pic>
                    <p:nvPicPr>
                      <p:cNvPr id="7" name="Object 6">
                        <a:extLst>
                          <a:ext uri="{FF2B5EF4-FFF2-40B4-BE49-F238E27FC236}">
                            <a16:creationId xmlns:a16="http://schemas.microsoft.com/office/drawing/2014/main" id="{B52693EB-C15C-433A-16CE-56309DAA7715}"/>
                          </a:ext>
                        </a:extLst>
                      </p:cNvPr>
                      <p:cNvPicPr/>
                      <p:nvPr/>
                    </p:nvPicPr>
                    <p:blipFill>
                      <a:blip r:embed="rId3"/>
                      <a:stretch>
                        <a:fillRect/>
                      </a:stretch>
                    </p:blipFill>
                    <p:spPr>
                      <a:xfrm>
                        <a:off x="494189" y="1697873"/>
                        <a:ext cx="10287000" cy="4191000"/>
                      </a:xfrm>
                      <a:prstGeom prst="rect">
                        <a:avLst/>
                      </a:prstGeom>
                    </p:spPr>
                  </p:pic>
                </p:oleObj>
              </mc:Fallback>
            </mc:AlternateContent>
          </a:graphicData>
        </a:graphic>
      </p:graphicFrame>
    </p:spTree>
    <p:extLst>
      <p:ext uri="{BB962C8B-B14F-4D97-AF65-F5344CB8AC3E}">
        <p14:creationId xmlns:p14="http://schemas.microsoft.com/office/powerpoint/2010/main" val="203587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C663105-9374-3A70-14E6-E141B2FFBB3C}"/>
              </a:ext>
            </a:extLst>
          </p:cNvPr>
          <p:cNvSpPr>
            <a:spLocks noGrp="1"/>
          </p:cNvSpPr>
          <p:nvPr>
            <p:ph type="ftr" sz="quarter" idx="10"/>
          </p:nvPr>
        </p:nvSpPr>
        <p:spPr/>
        <p:txBody>
          <a:bodyPr/>
          <a:lstStyle/>
          <a:p>
            <a:r>
              <a:rPr lang="en-US"/>
              <a:t>Media Web Symposium 2023</a:t>
            </a:r>
            <a:endParaRPr lang="en-US" dirty="0"/>
          </a:p>
        </p:txBody>
      </p:sp>
      <p:sp>
        <p:nvSpPr>
          <p:cNvPr id="3" name="Title 2">
            <a:extLst>
              <a:ext uri="{FF2B5EF4-FFF2-40B4-BE49-F238E27FC236}">
                <a16:creationId xmlns:a16="http://schemas.microsoft.com/office/drawing/2014/main" id="{35245361-41FE-AC98-BA9B-E50A95BDB713}"/>
              </a:ext>
            </a:extLst>
          </p:cNvPr>
          <p:cNvSpPr>
            <a:spLocks noGrp="1"/>
          </p:cNvSpPr>
          <p:nvPr>
            <p:ph type="title"/>
          </p:nvPr>
        </p:nvSpPr>
        <p:spPr>
          <a:xfrm>
            <a:off x="495300" y="642644"/>
            <a:ext cx="11187112" cy="361959"/>
          </a:xfrm>
        </p:spPr>
        <p:txBody>
          <a:bodyPr/>
          <a:lstStyle/>
          <a:p>
            <a:r>
              <a:rPr lang="de-DE" dirty="0"/>
              <a:t>Service URL Handling</a:t>
            </a:r>
            <a:endParaRPr lang="en-US" dirty="0"/>
          </a:p>
        </p:txBody>
      </p:sp>
      <p:sp>
        <p:nvSpPr>
          <p:cNvPr id="4" name="Content Placeholder 3">
            <a:extLst>
              <a:ext uri="{FF2B5EF4-FFF2-40B4-BE49-F238E27FC236}">
                <a16:creationId xmlns:a16="http://schemas.microsoft.com/office/drawing/2014/main" id="{50898C05-46B6-3411-412D-C17538C2948C}"/>
              </a:ext>
            </a:extLst>
          </p:cNvPr>
          <p:cNvSpPr>
            <a:spLocks noGrp="1"/>
          </p:cNvSpPr>
          <p:nvPr>
            <p:ph sz="quarter" idx="14"/>
          </p:nvPr>
        </p:nvSpPr>
        <p:spPr/>
        <p:txBody>
          <a:bodyPr>
            <a:normAutofit fontScale="85000" lnSpcReduction="20000"/>
          </a:bodyPr>
          <a:lstStyle/>
          <a:p>
            <a:r>
              <a:rPr lang="en-US" dirty="0"/>
              <a:t>Extend the baseline 5G Media Streaming architecture to add a 3GPP Service and URL Handler in the UE and the network according to figure 5.13.3-1.</a:t>
            </a:r>
          </a:p>
          <a:p>
            <a:r>
              <a:rPr lang="en-US" dirty="0"/>
              <a:t>Address provisioning, message exchange and call flows in order to support different use cases, namely the case for which the URL is resolved in the network, the URL is resolved in the UE, and the case for which the URL is resolved in a combination of network and UE as discussed in clause 5.13.3.</a:t>
            </a:r>
          </a:p>
          <a:p>
            <a:r>
              <a:rPr lang="en-US" dirty="0"/>
              <a:t>Specify a concrete URL format for 3GPP services and reserve a URL prefix (e.g. services.3gpp.org) for 3GPP Services as part of 3GPP specifications, and ensure that this can be used in the context of 3GPP-based services, namely:</a:t>
            </a:r>
          </a:p>
          <a:p>
            <a:pPr lvl="1"/>
            <a:r>
              <a:rPr lang="en-US" dirty="0"/>
              <a:t>Verify ownership of the domain through one of the Android website association methods.</a:t>
            </a:r>
          </a:p>
          <a:p>
            <a:pPr lvl="1"/>
            <a:r>
              <a:rPr lang="en-US" dirty="0"/>
              <a:t>Create a suitable website redirection mechanism in case the application is not available on the device.</a:t>
            </a:r>
          </a:p>
          <a:p>
            <a:r>
              <a:rPr lang="en-US" dirty="0"/>
              <a:t>Specify 3GPP Service URL instantiations with parameters suitable for launching at least the Media Session Handler for 5G Media Streaming, MBMS Client (including Receive-Only Mode services) and MBS Client.</a:t>
            </a:r>
          </a:p>
          <a:p>
            <a:r>
              <a:rPr lang="en-US" dirty="0"/>
              <a:t>Provide the ability for a 5GMS-Aware application to create a Service URL in order to bootstrap 5G Media Streaming.</a:t>
            </a:r>
          </a:p>
          <a:p>
            <a:r>
              <a:rPr lang="en-US" dirty="0"/>
              <a:t>Investigate and study the application of 3GPP services and URL handling beyond 5G Media Streaming.</a:t>
            </a:r>
          </a:p>
          <a:p>
            <a:endParaRPr lang="en-US" dirty="0"/>
          </a:p>
        </p:txBody>
      </p:sp>
      <p:sp>
        <p:nvSpPr>
          <p:cNvPr id="5" name="Subtitle 4">
            <a:extLst>
              <a:ext uri="{FF2B5EF4-FFF2-40B4-BE49-F238E27FC236}">
                <a16:creationId xmlns:a16="http://schemas.microsoft.com/office/drawing/2014/main" id="{7BEB1788-49E6-20D2-A605-221D4B844840}"/>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515244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EB269AA-D170-4B8B-85CA-AE19BA3BEA81}"/>
              </a:ext>
            </a:extLst>
          </p:cNvPr>
          <p:cNvSpPr>
            <a:spLocks noGrp="1"/>
          </p:cNvSpPr>
          <p:nvPr>
            <p:ph type="ftr" sz="quarter" idx="10"/>
          </p:nvPr>
        </p:nvSpPr>
        <p:spPr/>
        <p:txBody>
          <a:bodyPr/>
          <a:lstStyle/>
          <a:p>
            <a:pPr>
              <a:defRPr/>
            </a:pPr>
            <a:r>
              <a:rPr lang="en-US"/>
              <a:t>Media Web Symposium 2023</a:t>
            </a:r>
          </a:p>
        </p:txBody>
      </p:sp>
      <p:sp>
        <p:nvSpPr>
          <p:cNvPr id="4" name="Title 3">
            <a:extLst>
              <a:ext uri="{FF2B5EF4-FFF2-40B4-BE49-F238E27FC236}">
                <a16:creationId xmlns:a16="http://schemas.microsoft.com/office/drawing/2014/main" id="{D7E46A79-39B1-06E9-8FCB-474D2DBE3EEB}"/>
              </a:ext>
            </a:extLst>
          </p:cNvPr>
          <p:cNvSpPr>
            <a:spLocks noGrp="1"/>
          </p:cNvSpPr>
          <p:nvPr>
            <p:ph type="title"/>
          </p:nvPr>
        </p:nvSpPr>
        <p:spPr>
          <a:xfrm>
            <a:off x="495300" y="642645"/>
            <a:ext cx="11187112" cy="361959"/>
          </a:xfrm>
        </p:spPr>
        <p:txBody>
          <a:bodyPr/>
          <a:lstStyle/>
          <a:p>
            <a:r>
              <a:rPr lang="de-DE" dirty="0"/>
              <a:t>Specific case: MBMS-ROM Service + CMAS-based launch of service</a:t>
            </a:r>
            <a:endParaRPr lang="en-US" dirty="0"/>
          </a:p>
        </p:txBody>
      </p:sp>
      <p:sp>
        <p:nvSpPr>
          <p:cNvPr id="5" name="Subtitle 4">
            <a:extLst>
              <a:ext uri="{FF2B5EF4-FFF2-40B4-BE49-F238E27FC236}">
                <a16:creationId xmlns:a16="http://schemas.microsoft.com/office/drawing/2014/main" id="{177C63C4-4383-BA37-1BDC-E075A1A3AB1F}"/>
              </a:ext>
            </a:extLst>
          </p:cNvPr>
          <p:cNvSpPr>
            <a:spLocks noGrp="1"/>
          </p:cNvSpPr>
          <p:nvPr>
            <p:ph type="subTitle" idx="1"/>
          </p:nvPr>
        </p:nvSpPr>
        <p:spPr/>
        <p:txBody>
          <a:bodyPr/>
          <a:lstStyle/>
          <a:p>
            <a:r>
              <a:rPr lang="de-DE"/>
              <a:t>Scenario</a:t>
            </a:r>
            <a:endParaRPr lang="en-US"/>
          </a:p>
        </p:txBody>
      </p:sp>
      <p:pic>
        <p:nvPicPr>
          <p:cNvPr id="6" name="Picture 5">
            <a:extLst>
              <a:ext uri="{FF2B5EF4-FFF2-40B4-BE49-F238E27FC236}">
                <a16:creationId xmlns:a16="http://schemas.microsoft.com/office/drawing/2014/main" id="{DA7598C9-5663-DA7D-6B93-A05BC81085D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01699" y="1431154"/>
            <a:ext cx="9536529" cy="4995069"/>
          </a:xfrm>
          <a:prstGeom prst="rect">
            <a:avLst/>
          </a:prstGeom>
          <a:noFill/>
        </p:spPr>
      </p:pic>
    </p:spTree>
    <p:extLst>
      <p:ext uri="{BB962C8B-B14F-4D97-AF65-F5344CB8AC3E}">
        <p14:creationId xmlns:p14="http://schemas.microsoft.com/office/powerpoint/2010/main" val="3285925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26B4543-6D75-5477-222F-B4725E797461}"/>
              </a:ext>
            </a:extLst>
          </p:cNvPr>
          <p:cNvPicPr>
            <a:picLocks noChangeAspect="1"/>
          </p:cNvPicPr>
          <p:nvPr/>
        </p:nvPicPr>
        <p:blipFill>
          <a:blip r:embed="rId2"/>
          <a:stretch>
            <a:fillRect/>
          </a:stretch>
        </p:blipFill>
        <p:spPr>
          <a:xfrm>
            <a:off x="479066" y="967692"/>
            <a:ext cx="11233869" cy="4535817"/>
          </a:xfrm>
          <a:prstGeom prst="rect">
            <a:avLst/>
          </a:prstGeom>
        </p:spPr>
      </p:pic>
      <p:sp>
        <p:nvSpPr>
          <p:cNvPr id="13" name="Rectangle 12">
            <a:extLst>
              <a:ext uri="{FF2B5EF4-FFF2-40B4-BE49-F238E27FC236}">
                <a16:creationId xmlns:a16="http://schemas.microsoft.com/office/drawing/2014/main" id="{7D914A86-2582-D239-69B5-E26E0752F310}"/>
              </a:ext>
            </a:extLst>
          </p:cNvPr>
          <p:cNvSpPr/>
          <p:nvPr/>
        </p:nvSpPr>
        <p:spPr>
          <a:xfrm>
            <a:off x="8159931" y="967692"/>
            <a:ext cx="3823063" cy="4532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 name="Titel 2">
            <a:extLst>
              <a:ext uri="{FF2B5EF4-FFF2-40B4-BE49-F238E27FC236}">
                <a16:creationId xmlns:a16="http://schemas.microsoft.com/office/drawing/2014/main" id="{19162DF0-5617-FD15-A879-C2444581360D}"/>
              </a:ext>
            </a:extLst>
          </p:cNvPr>
          <p:cNvSpPr>
            <a:spLocks noGrp="1"/>
          </p:cNvSpPr>
          <p:nvPr>
            <p:ph type="title"/>
          </p:nvPr>
        </p:nvSpPr>
        <p:spPr/>
        <p:txBody>
          <a:bodyPr tIns="96000" bIns="0" anchor="ctr">
            <a:noAutofit/>
          </a:bodyPr>
          <a:lstStyle/>
          <a:p>
            <a:r>
              <a:rPr lang="en-US" dirty="0"/>
              <a:t>Tools in action …</a:t>
            </a:r>
          </a:p>
        </p:txBody>
      </p:sp>
      <p:sp>
        <p:nvSpPr>
          <p:cNvPr id="4" name="Foliennummernplatzhalter 3">
            <a:extLst>
              <a:ext uri="{FF2B5EF4-FFF2-40B4-BE49-F238E27FC236}">
                <a16:creationId xmlns:a16="http://schemas.microsoft.com/office/drawing/2014/main" id="{EC97D605-FF0E-A797-C163-417C2AC31C85}"/>
              </a:ext>
            </a:extLst>
          </p:cNvPr>
          <p:cNvSpPr>
            <a:spLocks noGrp="1"/>
          </p:cNvSpPr>
          <p:nvPr>
            <p:ph type="sldNum" sz="quarter" idx="4"/>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4FAB73BC-B049-4115-A692-8D63A059BFB8}" type="slidenum">
              <a:rPr kumimoji="0" lang="fr-CH" sz="1200" b="0" i="0" u="none" strike="noStrike" kern="1200" cap="none" spc="0" normalizeH="0" baseline="0" noProof="0">
                <a:ln>
                  <a:noFill/>
                </a:ln>
                <a:solidFill>
                  <a:srgbClr val="324158"/>
                </a:solidFill>
                <a:effectLst/>
                <a:uLnTx/>
                <a:uFillTx/>
                <a:latin typeface="Poppins ExtraLight" panose="00000300000000000000" pitchFamily="2" charset="0"/>
                <a:ea typeface="+mn-ea"/>
                <a:cs typeface="Poppins ExtraLight" panose="00000300000000000000" pitchFamily="2" charset="0"/>
              </a:rPr>
              <a:pPr marL="0" marR="0" lvl="0" indent="0" algn="r" defTabSz="609585" rtl="0" eaLnBrk="1" fontAlgn="auto" latinLnBrk="0" hangingPunct="1">
                <a:lnSpc>
                  <a:spcPct val="100000"/>
                </a:lnSpc>
                <a:spcBef>
                  <a:spcPts val="0"/>
                </a:spcBef>
                <a:spcAft>
                  <a:spcPts val="0"/>
                </a:spcAft>
                <a:buClrTx/>
                <a:buSzTx/>
                <a:buFontTx/>
                <a:buNone/>
                <a:tabLst/>
                <a:defRPr/>
              </a:pPr>
              <a:t>27</a:t>
            </a:fld>
            <a:endParaRPr kumimoji="0" lang="fr-CH" sz="1200" b="0" i="0" u="none" strike="noStrike" kern="1200" cap="none" spc="0" normalizeH="0" baseline="0" noProof="0" dirty="0">
              <a:ln>
                <a:noFill/>
              </a:ln>
              <a:solidFill>
                <a:srgbClr val="324158"/>
              </a:solidFill>
              <a:effectLst/>
              <a:uLnTx/>
              <a:uFillTx/>
              <a:latin typeface="Poppins ExtraLight" panose="00000300000000000000" pitchFamily="2" charset="0"/>
              <a:ea typeface="+mn-ea"/>
              <a:cs typeface="Poppins ExtraLight" panose="00000300000000000000" pitchFamily="2" charset="0"/>
            </a:endParaRPr>
          </a:p>
        </p:txBody>
      </p:sp>
      <p:sp>
        <p:nvSpPr>
          <p:cNvPr id="6" name="Textfeld 5">
            <a:extLst>
              <a:ext uri="{FF2B5EF4-FFF2-40B4-BE49-F238E27FC236}">
                <a16:creationId xmlns:a16="http://schemas.microsoft.com/office/drawing/2014/main" id="{25A50CD8-8520-3722-730F-2B50A415CC83}"/>
              </a:ext>
            </a:extLst>
          </p:cNvPr>
          <p:cNvSpPr txBox="1"/>
          <p:nvPr/>
        </p:nvSpPr>
        <p:spPr>
          <a:xfrm>
            <a:off x="810303" y="5501961"/>
            <a:ext cx="2465453" cy="83099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Poppins SemiBold" panose="02000000000000000000" pitchFamily="2" charset="0"/>
                <a:ea typeface="+mn-ea"/>
                <a:cs typeface="Poppins SemiBold" panose="02000000000000000000" pitchFamily="2" charset="0"/>
              </a:rPr>
              <a:t>5G-MAG @ IBC 2022</a:t>
            </a:r>
          </a:p>
        </p:txBody>
      </p:sp>
      <p:sp>
        <p:nvSpPr>
          <p:cNvPr id="7" name="Textfeld 6">
            <a:extLst>
              <a:ext uri="{FF2B5EF4-FFF2-40B4-BE49-F238E27FC236}">
                <a16:creationId xmlns:a16="http://schemas.microsoft.com/office/drawing/2014/main" id="{2A99420B-8D89-0161-B6A4-F60F2D13C762}"/>
              </a:ext>
            </a:extLst>
          </p:cNvPr>
          <p:cNvSpPr txBox="1"/>
          <p:nvPr/>
        </p:nvSpPr>
        <p:spPr>
          <a:xfrm>
            <a:off x="4266857" y="5500430"/>
            <a:ext cx="3392775" cy="83099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000000"/>
                </a:solidFill>
                <a:effectLst/>
                <a:uLnTx/>
                <a:uFillTx/>
                <a:latin typeface="Poppins SemiBold" panose="02000000000000000000" pitchFamily="2" charset="0"/>
                <a:ea typeface="+mn-ea"/>
                <a:cs typeface="Poppins SemiBold" panose="02000000000000000000" pitchFamily="2" charset="0"/>
              </a:rPr>
              <a:t>Nakolos</a:t>
            </a:r>
            <a:r>
              <a:rPr kumimoji="0" lang="en-US" sz="2400" b="0" i="0" u="none" strike="noStrike" kern="1200" cap="none" spc="0" normalizeH="0" baseline="0" noProof="0" dirty="0">
                <a:ln>
                  <a:noFill/>
                </a:ln>
                <a:solidFill>
                  <a:srgbClr val="000000"/>
                </a:solidFill>
                <a:effectLst/>
                <a:uLnTx/>
                <a:uFillTx/>
                <a:latin typeface="Poppins SemiBold" panose="02000000000000000000" pitchFamily="2" charset="0"/>
                <a:ea typeface="+mn-ea"/>
                <a:cs typeface="Poppins SemiBold" panose="02000000000000000000" pitchFamily="2" charset="0"/>
              </a:rPr>
              <a:t> (ORS/</a:t>
            </a:r>
            <a:r>
              <a:rPr kumimoji="0" lang="en-US" sz="2400" b="0" i="0" u="none" strike="noStrike" kern="1200" cap="none" spc="0" normalizeH="0" baseline="0" noProof="0" dirty="0" err="1">
                <a:ln>
                  <a:noFill/>
                </a:ln>
                <a:solidFill>
                  <a:srgbClr val="000000"/>
                </a:solidFill>
                <a:effectLst/>
                <a:uLnTx/>
                <a:uFillTx/>
                <a:latin typeface="Poppins SemiBold" panose="02000000000000000000" pitchFamily="2" charset="0"/>
                <a:ea typeface="+mn-ea"/>
                <a:cs typeface="Poppins SemiBold" panose="02000000000000000000" pitchFamily="2" charset="0"/>
              </a:rPr>
              <a:t>Bitstem</a:t>
            </a:r>
            <a:r>
              <a:rPr kumimoji="0" lang="en-US" sz="2400" b="0" i="0" u="none" strike="noStrike" kern="1200" cap="none" spc="0" normalizeH="0" baseline="0" noProof="0" dirty="0">
                <a:ln>
                  <a:noFill/>
                </a:ln>
                <a:solidFill>
                  <a:srgbClr val="000000"/>
                </a:solidFill>
                <a:effectLst/>
                <a:uLnTx/>
                <a:uFillTx/>
                <a:latin typeface="Poppins SemiBold" panose="02000000000000000000" pitchFamily="2" charset="0"/>
                <a:ea typeface="+mn-ea"/>
                <a:cs typeface="Poppins SemiBold" panose="02000000000000000000" pitchFamily="2" charset="0"/>
              </a:rPr>
              <a:t>)</a:t>
            </a:r>
          </a:p>
        </p:txBody>
      </p:sp>
      <p:sp>
        <p:nvSpPr>
          <p:cNvPr id="8" name="Textfeld 7">
            <a:extLst>
              <a:ext uri="{FF2B5EF4-FFF2-40B4-BE49-F238E27FC236}">
                <a16:creationId xmlns:a16="http://schemas.microsoft.com/office/drawing/2014/main" id="{4C8C5CEE-1607-5871-D4D5-313587339E3F}"/>
              </a:ext>
            </a:extLst>
          </p:cNvPr>
          <p:cNvSpPr txBox="1"/>
          <p:nvPr/>
        </p:nvSpPr>
        <p:spPr>
          <a:xfrm>
            <a:off x="8257921" y="5501959"/>
            <a:ext cx="3392775" cy="46166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Poppins SemiBold" panose="02000000000000000000" pitchFamily="2" charset="0"/>
                <a:ea typeface="+mn-ea"/>
                <a:cs typeface="Poppins SemiBold" panose="02000000000000000000" pitchFamily="2" charset="0"/>
              </a:rPr>
              <a:t>BBC</a:t>
            </a:r>
          </a:p>
        </p:txBody>
      </p:sp>
      <p:sp>
        <p:nvSpPr>
          <p:cNvPr id="2" name="Rectangle 1">
            <a:extLst>
              <a:ext uri="{FF2B5EF4-FFF2-40B4-BE49-F238E27FC236}">
                <a16:creationId xmlns:a16="http://schemas.microsoft.com/office/drawing/2014/main" id="{98F495F1-6638-0E8B-BD2E-92560B6D0055}"/>
              </a:ext>
            </a:extLst>
          </p:cNvPr>
          <p:cNvSpPr/>
          <p:nvPr/>
        </p:nvSpPr>
        <p:spPr>
          <a:xfrm>
            <a:off x="3762277" y="6462547"/>
            <a:ext cx="8146560"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fr-CH" sz="1467" b="1" i="0" u="none" strike="noStrike" kern="1200" cap="none" spc="0" normalizeH="0" baseline="0" noProof="0" dirty="0" err="1">
                <a:ln>
                  <a:noFill/>
                </a:ln>
                <a:solidFill>
                  <a:srgbClr val="324158"/>
                </a:solidFill>
                <a:effectLst/>
                <a:uLnTx/>
                <a:uFillTx/>
                <a:latin typeface="Poppins SemiBold" panose="02000000000000000000" pitchFamily="2" charset="0"/>
                <a:ea typeface="+mn-ea"/>
                <a:cs typeface="Poppins SemiBold" panose="02000000000000000000" pitchFamily="2" charset="0"/>
              </a:rPr>
              <a:t>Find</a:t>
            </a:r>
            <a:r>
              <a:rPr kumimoji="0" lang="fr-CH" sz="1467" b="1" i="0" u="none" strike="noStrike" kern="1200" cap="none" spc="0" normalizeH="0" baseline="0" noProof="0" dirty="0">
                <a:ln>
                  <a:noFill/>
                </a:ln>
                <a:solidFill>
                  <a:srgbClr val="324158"/>
                </a:solidFill>
                <a:effectLst/>
                <a:uLnTx/>
                <a:uFillTx/>
                <a:latin typeface="Poppins SemiBold" panose="02000000000000000000" pitchFamily="2" charset="0"/>
                <a:ea typeface="+mn-ea"/>
                <a:cs typeface="Poppins SemiBold" panose="02000000000000000000" pitchFamily="2" charset="0"/>
              </a:rPr>
              <a:t> information at </a:t>
            </a:r>
            <a:r>
              <a:rPr kumimoji="0" lang="fr-CH" sz="1467" b="1" i="0" u="none" strike="noStrike" kern="1200" cap="none" spc="0" normalizeH="0" baseline="0" noProof="0" dirty="0">
                <a:ln>
                  <a:noFill/>
                </a:ln>
                <a:solidFill>
                  <a:srgbClr val="324158"/>
                </a:solidFill>
                <a:effectLst/>
                <a:uLnTx/>
                <a:uFillTx/>
                <a:latin typeface="Poppins SemiBold" panose="02000000000000000000" pitchFamily="2" charset="0"/>
                <a:ea typeface="+mn-ea"/>
                <a:cs typeface="Poppins SemiBold" panose="02000000000000000000" pitchFamily="2" charset="0"/>
                <a:hlinkClick r:id="rId3"/>
              </a:rPr>
              <a:t>developer.5g-mag.com</a:t>
            </a:r>
            <a:endParaRPr kumimoji="0" lang="fr-CH" sz="1467" b="1" i="0" u="none" strike="noStrike" kern="1200" cap="none" spc="0" normalizeH="0" baseline="0" noProof="0" dirty="0">
              <a:ln>
                <a:noFill/>
              </a:ln>
              <a:solidFill>
                <a:srgbClr val="324158"/>
              </a:solidFill>
              <a:effectLst/>
              <a:uLnTx/>
              <a:uFillTx/>
              <a:latin typeface="Poppins SemiBold" panose="02000000000000000000" pitchFamily="2" charset="0"/>
              <a:ea typeface="+mn-ea"/>
              <a:cs typeface="Poppins SemiBold" panose="02000000000000000000" pitchFamily="2" charset="0"/>
            </a:endParaRPr>
          </a:p>
        </p:txBody>
      </p:sp>
      <p:pic>
        <p:nvPicPr>
          <p:cNvPr id="9" name="Graphic 8" descr="Information with solid fill">
            <a:extLst>
              <a:ext uri="{FF2B5EF4-FFF2-40B4-BE49-F238E27FC236}">
                <a16:creationId xmlns:a16="http://schemas.microsoft.com/office/drawing/2014/main" id="{8EFBF81B-1915-33E7-DD03-FA421FCCB6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29994" y="6462547"/>
            <a:ext cx="315631" cy="315631"/>
          </a:xfrm>
          <a:prstGeom prst="rect">
            <a:avLst/>
          </a:prstGeom>
        </p:spPr>
      </p:pic>
      <p:pic>
        <p:nvPicPr>
          <p:cNvPr id="10" name="Picture 9">
            <a:extLst>
              <a:ext uri="{FF2B5EF4-FFF2-40B4-BE49-F238E27FC236}">
                <a16:creationId xmlns:a16="http://schemas.microsoft.com/office/drawing/2014/main" id="{E54BD7B9-738B-E9A0-C203-61CC98403A08}"/>
              </a:ext>
            </a:extLst>
          </p:cNvPr>
          <p:cNvPicPr>
            <a:picLocks noChangeAspect="1"/>
          </p:cNvPicPr>
          <p:nvPr/>
        </p:nvPicPr>
        <p:blipFill>
          <a:blip r:embed="rId6"/>
          <a:stretch>
            <a:fillRect/>
          </a:stretch>
        </p:blipFill>
        <p:spPr>
          <a:xfrm>
            <a:off x="8271553" y="985112"/>
            <a:ext cx="3637283" cy="2073233"/>
          </a:xfrm>
          <a:prstGeom prst="rect">
            <a:avLst/>
          </a:prstGeom>
        </p:spPr>
      </p:pic>
      <p:pic>
        <p:nvPicPr>
          <p:cNvPr id="12" name="Imagen 14" descr="Interfaz de usuario gráfica, Texto, Aplicación&#10;&#10;Descripción generada automáticamente">
            <a:extLst>
              <a:ext uri="{FF2B5EF4-FFF2-40B4-BE49-F238E27FC236}">
                <a16:creationId xmlns:a16="http://schemas.microsoft.com/office/drawing/2014/main" id="{D783A37D-B52C-5A53-EDD0-C89E64FAC4BA}"/>
              </a:ext>
            </a:extLst>
          </p:cNvPr>
          <p:cNvPicPr>
            <a:picLocks noChangeAspect="1"/>
          </p:cNvPicPr>
          <p:nvPr/>
        </p:nvPicPr>
        <p:blipFill>
          <a:blip r:embed="rId7"/>
          <a:stretch>
            <a:fillRect/>
          </a:stretch>
        </p:blipFill>
        <p:spPr>
          <a:xfrm>
            <a:off x="8271553" y="3431510"/>
            <a:ext cx="3637283" cy="2055147"/>
          </a:xfrm>
          <a:prstGeom prst="rect">
            <a:avLst/>
          </a:prstGeom>
          <a:noFill/>
          <a:ln>
            <a:solidFill>
              <a:srgbClr val="2B6CA3"/>
            </a:solidFill>
          </a:ln>
        </p:spPr>
      </p:pic>
    </p:spTree>
    <p:extLst>
      <p:ext uri="{BB962C8B-B14F-4D97-AF65-F5344CB8AC3E}">
        <p14:creationId xmlns:p14="http://schemas.microsoft.com/office/powerpoint/2010/main" val="30954103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CD09DAD2-7A6D-8F04-DD2D-7656B0835144}"/>
              </a:ext>
            </a:extLst>
          </p:cNvPr>
          <p:cNvCxnSpPr>
            <a:cxnSpLocks/>
          </p:cNvCxnSpPr>
          <p:nvPr/>
        </p:nvCxnSpPr>
        <p:spPr bwMode="auto">
          <a:xfrm>
            <a:off x="1524002" y="1587500"/>
            <a:ext cx="8666163" cy="0"/>
          </a:xfrm>
          <a:prstGeom prst="line">
            <a:avLst/>
          </a:prstGeom>
          <a:ln>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9266" name="Straight Connector 114">
            <a:extLst>
              <a:ext uri="{FF2B5EF4-FFF2-40B4-BE49-F238E27FC236}">
                <a16:creationId xmlns:a16="http://schemas.microsoft.com/office/drawing/2014/main" id="{DC6D4FDE-7441-3EF9-51E3-EAACD8A81460}"/>
              </a:ext>
            </a:extLst>
          </p:cNvPr>
          <p:cNvCxnSpPr>
            <a:cxnSpLocks noChangeShapeType="1"/>
          </p:cNvCxnSpPr>
          <p:nvPr/>
        </p:nvCxnSpPr>
        <p:spPr bwMode="auto">
          <a:xfrm>
            <a:off x="9015413" y="2039938"/>
            <a:ext cx="0" cy="3624262"/>
          </a:xfrm>
          <a:prstGeom prst="line">
            <a:avLst/>
          </a:prstGeom>
          <a:noFill/>
          <a:ln w="28575" algn="ctr">
            <a:solidFill>
              <a:schemeClr val="accent3"/>
            </a:solidFill>
            <a:round/>
            <a:headEnd/>
            <a:tailEnd/>
          </a:ln>
        </p:spPr>
      </p:cxnSp>
      <p:cxnSp>
        <p:nvCxnSpPr>
          <p:cNvPr id="9273" name="Straight Connector 114">
            <a:extLst>
              <a:ext uri="{FF2B5EF4-FFF2-40B4-BE49-F238E27FC236}">
                <a16:creationId xmlns:a16="http://schemas.microsoft.com/office/drawing/2014/main" id="{B465211A-1029-3984-862A-00D5ADB1F04F}"/>
              </a:ext>
            </a:extLst>
          </p:cNvPr>
          <p:cNvCxnSpPr>
            <a:cxnSpLocks noChangeShapeType="1"/>
          </p:cNvCxnSpPr>
          <p:nvPr/>
        </p:nvCxnSpPr>
        <p:spPr bwMode="auto">
          <a:xfrm>
            <a:off x="6296025" y="2000250"/>
            <a:ext cx="0" cy="3663950"/>
          </a:xfrm>
          <a:prstGeom prst="line">
            <a:avLst/>
          </a:prstGeom>
          <a:noFill/>
          <a:ln w="28575" algn="ctr">
            <a:solidFill>
              <a:schemeClr val="accent3"/>
            </a:solidFill>
            <a:round/>
            <a:headEnd/>
            <a:tailEnd/>
          </a:ln>
        </p:spPr>
      </p:cxnSp>
      <p:cxnSp>
        <p:nvCxnSpPr>
          <p:cNvPr id="9298" name="Straight Connector 114">
            <a:extLst>
              <a:ext uri="{FF2B5EF4-FFF2-40B4-BE49-F238E27FC236}">
                <a16:creationId xmlns:a16="http://schemas.microsoft.com/office/drawing/2014/main" id="{4062F56C-96A3-7534-48AF-DB2D47D808F3}"/>
              </a:ext>
            </a:extLst>
          </p:cNvPr>
          <p:cNvCxnSpPr>
            <a:cxnSpLocks noChangeShapeType="1"/>
          </p:cNvCxnSpPr>
          <p:nvPr/>
        </p:nvCxnSpPr>
        <p:spPr bwMode="auto">
          <a:xfrm flipH="1">
            <a:off x="3552825" y="2001838"/>
            <a:ext cx="14288" cy="3662362"/>
          </a:xfrm>
          <a:prstGeom prst="line">
            <a:avLst/>
          </a:prstGeom>
          <a:noFill/>
          <a:ln w="28575" algn="ctr">
            <a:solidFill>
              <a:schemeClr val="accent3"/>
            </a:solidFill>
            <a:round/>
            <a:headEnd/>
            <a:tailEnd/>
          </a:ln>
        </p:spPr>
      </p:cxnSp>
      <p:sp>
        <p:nvSpPr>
          <p:cNvPr id="6151" name="TextBox 86">
            <a:extLst>
              <a:ext uri="{FF2B5EF4-FFF2-40B4-BE49-F238E27FC236}">
                <a16:creationId xmlns:a16="http://schemas.microsoft.com/office/drawing/2014/main" id="{82FB2F4D-0A09-F1BE-B97B-9A5C94D7EC61}"/>
              </a:ext>
            </a:extLst>
          </p:cNvPr>
          <p:cNvSpPr txBox="1">
            <a:spLocks noChangeArrowheads="1"/>
          </p:cNvSpPr>
          <p:nvPr/>
        </p:nvSpPr>
        <p:spPr bwMode="auto">
          <a:xfrm>
            <a:off x="2701925" y="1701802"/>
            <a:ext cx="5461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Blip>
                <a:blip r:embed="rId2"/>
              </a:buBlip>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Clr>
                <a:srgbClr val="C00000"/>
              </a:buClr>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rPr>
              <a:t>TSG#101</a:t>
            </a:r>
          </a:p>
        </p:txBody>
      </p:sp>
      <p:cxnSp>
        <p:nvCxnSpPr>
          <p:cNvPr id="9263" name="Straight Connector 115">
            <a:extLst>
              <a:ext uri="{FF2B5EF4-FFF2-40B4-BE49-F238E27FC236}">
                <a16:creationId xmlns:a16="http://schemas.microsoft.com/office/drawing/2014/main" id="{3A42794B-75B3-2C5E-9FCD-23026C332006}"/>
              </a:ext>
            </a:extLst>
          </p:cNvPr>
          <p:cNvCxnSpPr>
            <a:cxnSpLocks noChangeShapeType="1"/>
          </p:cNvCxnSpPr>
          <p:nvPr/>
        </p:nvCxnSpPr>
        <p:spPr bwMode="auto">
          <a:xfrm>
            <a:off x="4240213" y="2039940"/>
            <a:ext cx="0" cy="3724275"/>
          </a:xfrm>
          <a:prstGeom prst="line">
            <a:avLst/>
          </a:prstGeom>
          <a:noFill/>
          <a:ln w="9525" algn="ctr">
            <a:solidFill>
              <a:schemeClr val="accent3"/>
            </a:solidFill>
            <a:prstDash val="dash"/>
            <a:round/>
            <a:headEnd/>
            <a:tailEnd/>
          </a:ln>
        </p:spPr>
      </p:cxnSp>
      <p:cxnSp>
        <p:nvCxnSpPr>
          <p:cNvPr id="9264" name="Straight Connector 114">
            <a:extLst>
              <a:ext uri="{FF2B5EF4-FFF2-40B4-BE49-F238E27FC236}">
                <a16:creationId xmlns:a16="http://schemas.microsoft.com/office/drawing/2014/main" id="{0F81156B-4D80-3E24-A219-1CA031C2CF73}"/>
              </a:ext>
            </a:extLst>
          </p:cNvPr>
          <p:cNvCxnSpPr>
            <a:cxnSpLocks noChangeShapeType="1"/>
          </p:cNvCxnSpPr>
          <p:nvPr/>
        </p:nvCxnSpPr>
        <p:spPr bwMode="auto">
          <a:xfrm>
            <a:off x="1817688" y="2063750"/>
            <a:ext cx="0" cy="3803650"/>
          </a:xfrm>
          <a:prstGeom prst="line">
            <a:avLst/>
          </a:prstGeom>
          <a:noFill/>
          <a:ln w="9525" algn="ctr">
            <a:solidFill>
              <a:schemeClr val="accent3"/>
            </a:solidFill>
            <a:prstDash val="dash"/>
            <a:round/>
            <a:headEnd/>
            <a:tailEnd/>
          </a:ln>
        </p:spPr>
      </p:cxnSp>
      <p:cxnSp>
        <p:nvCxnSpPr>
          <p:cNvPr id="9265" name="Straight Connector 114">
            <a:extLst>
              <a:ext uri="{FF2B5EF4-FFF2-40B4-BE49-F238E27FC236}">
                <a16:creationId xmlns:a16="http://schemas.microsoft.com/office/drawing/2014/main" id="{BC02EECF-289D-3E59-9EC9-B0DFB537B255}"/>
              </a:ext>
            </a:extLst>
          </p:cNvPr>
          <p:cNvCxnSpPr>
            <a:cxnSpLocks noChangeShapeType="1"/>
          </p:cNvCxnSpPr>
          <p:nvPr/>
        </p:nvCxnSpPr>
        <p:spPr bwMode="auto">
          <a:xfrm>
            <a:off x="2949575" y="2039940"/>
            <a:ext cx="0" cy="3724275"/>
          </a:xfrm>
          <a:prstGeom prst="line">
            <a:avLst/>
          </a:prstGeom>
          <a:noFill/>
          <a:ln w="9525" algn="ctr">
            <a:solidFill>
              <a:schemeClr val="accent3"/>
            </a:solidFill>
            <a:prstDash val="dash"/>
            <a:round/>
            <a:headEnd/>
            <a:tailEnd/>
          </a:ln>
        </p:spPr>
      </p:cxnSp>
      <p:cxnSp>
        <p:nvCxnSpPr>
          <p:cNvPr id="9267" name="Straight Connector 114">
            <a:extLst>
              <a:ext uri="{FF2B5EF4-FFF2-40B4-BE49-F238E27FC236}">
                <a16:creationId xmlns:a16="http://schemas.microsoft.com/office/drawing/2014/main" id="{FED55689-65EB-FCB9-93ED-98FA11DBE02F}"/>
              </a:ext>
            </a:extLst>
          </p:cNvPr>
          <p:cNvCxnSpPr>
            <a:cxnSpLocks noChangeShapeType="1"/>
          </p:cNvCxnSpPr>
          <p:nvPr/>
        </p:nvCxnSpPr>
        <p:spPr bwMode="auto">
          <a:xfrm>
            <a:off x="9593263" y="2039940"/>
            <a:ext cx="0" cy="3806825"/>
          </a:xfrm>
          <a:prstGeom prst="line">
            <a:avLst/>
          </a:prstGeom>
          <a:noFill/>
          <a:ln w="9525" algn="ctr">
            <a:solidFill>
              <a:schemeClr val="accent3"/>
            </a:solidFill>
            <a:prstDash val="dash"/>
            <a:round/>
            <a:headEnd/>
            <a:tailEnd/>
          </a:ln>
        </p:spPr>
      </p:cxnSp>
      <p:cxnSp>
        <p:nvCxnSpPr>
          <p:cNvPr id="9268" name="Straight Connector 114">
            <a:extLst>
              <a:ext uri="{FF2B5EF4-FFF2-40B4-BE49-F238E27FC236}">
                <a16:creationId xmlns:a16="http://schemas.microsoft.com/office/drawing/2014/main" id="{465DC557-3B6C-367B-98F8-DE8B7C5D8C64}"/>
              </a:ext>
            </a:extLst>
          </p:cNvPr>
          <p:cNvCxnSpPr>
            <a:cxnSpLocks noChangeShapeType="1"/>
          </p:cNvCxnSpPr>
          <p:nvPr/>
        </p:nvCxnSpPr>
        <p:spPr bwMode="auto">
          <a:xfrm>
            <a:off x="8350250" y="2039938"/>
            <a:ext cx="0" cy="3752850"/>
          </a:xfrm>
          <a:prstGeom prst="line">
            <a:avLst/>
          </a:prstGeom>
          <a:noFill/>
          <a:ln w="9525" algn="ctr">
            <a:solidFill>
              <a:schemeClr val="accent3"/>
            </a:solidFill>
            <a:prstDash val="dash"/>
            <a:round/>
            <a:headEnd/>
            <a:tailEnd/>
          </a:ln>
        </p:spPr>
      </p:cxnSp>
      <p:cxnSp>
        <p:nvCxnSpPr>
          <p:cNvPr id="9269" name="Straight Connector 114">
            <a:extLst>
              <a:ext uri="{FF2B5EF4-FFF2-40B4-BE49-F238E27FC236}">
                <a16:creationId xmlns:a16="http://schemas.microsoft.com/office/drawing/2014/main" id="{B42BE5BF-D5A6-56B6-B49A-488EB7E71BC6}"/>
              </a:ext>
            </a:extLst>
          </p:cNvPr>
          <p:cNvCxnSpPr>
            <a:cxnSpLocks noChangeShapeType="1"/>
          </p:cNvCxnSpPr>
          <p:nvPr/>
        </p:nvCxnSpPr>
        <p:spPr bwMode="auto">
          <a:xfrm>
            <a:off x="6958013" y="2039940"/>
            <a:ext cx="0" cy="3724275"/>
          </a:xfrm>
          <a:prstGeom prst="line">
            <a:avLst/>
          </a:prstGeom>
          <a:noFill/>
          <a:ln w="9525" algn="ctr">
            <a:solidFill>
              <a:schemeClr val="accent3"/>
            </a:solidFill>
            <a:prstDash val="dash"/>
            <a:round/>
            <a:headEnd/>
            <a:tailEnd/>
          </a:ln>
        </p:spPr>
      </p:cxnSp>
      <p:cxnSp>
        <p:nvCxnSpPr>
          <p:cNvPr id="9270" name="Straight Connector 114">
            <a:extLst>
              <a:ext uri="{FF2B5EF4-FFF2-40B4-BE49-F238E27FC236}">
                <a16:creationId xmlns:a16="http://schemas.microsoft.com/office/drawing/2014/main" id="{E7E6284B-BC93-786F-9F05-BBAAA43C4809}"/>
              </a:ext>
            </a:extLst>
          </p:cNvPr>
          <p:cNvCxnSpPr>
            <a:cxnSpLocks noChangeShapeType="1"/>
          </p:cNvCxnSpPr>
          <p:nvPr/>
        </p:nvCxnSpPr>
        <p:spPr bwMode="auto">
          <a:xfrm>
            <a:off x="7654925" y="2039940"/>
            <a:ext cx="0" cy="3724275"/>
          </a:xfrm>
          <a:prstGeom prst="line">
            <a:avLst/>
          </a:prstGeom>
          <a:noFill/>
          <a:ln w="9525" algn="ctr">
            <a:solidFill>
              <a:schemeClr val="accent3"/>
            </a:solidFill>
            <a:prstDash val="dash"/>
            <a:round/>
            <a:headEnd/>
            <a:tailEnd/>
          </a:ln>
        </p:spPr>
      </p:cxnSp>
      <p:cxnSp>
        <p:nvCxnSpPr>
          <p:cNvPr id="9271" name="Straight Connector 114">
            <a:extLst>
              <a:ext uri="{FF2B5EF4-FFF2-40B4-BE49-F238E27FC236}">
                <a16:creationId xmlns:a16="http://schemas.microsoft.com/office/drawing/2014/main" id="{F33FB2DC-F98D-58D2-2F4E-E16AB1FA7DD0}"/>
              </a:ext>
            </a:extLst>
          </p:cNvPr>
          <p:cNvCxnSpPr>
            <a:cxnSpLocks noChangeShapeType="1"/>
          </p:cNvCxnSpPr>
          <p:nvPr/>
        </p:nvCxnSpPr>
        <p:spPr bwMode="auto">
          <a:xfrm>
            <a:off x="5700713" y="2039940"/>
            <a:ext cx="0" cy="3724275"/>
          </a:xfrm>
          <a:prstGeom prst="line">
            <a:avLst/>
          </a:prstGeom>
          <a:noFill/>
          <a:ln w="9525" algn="ctr">
            <a:solidFill>
              <a:schemeClr val="accent3"/>
            </a:solidFill>
            <a:prstDash val="dash"/>
            <a:round/>
            <a:headEnd/>
            <a:tailEnd/>
          </a:ln>
        </p:spPr>
      </p:cxnSp>
      <p:cxnSp>
        <p:nvCxnSpPr>
          <p:cNvPr id="9272" name="Straight Connector 114">
            <a:extLst>
              <a:ext uri="{FF2B5EF4-FFF2-40B4-BE49-F238E27FC236}">
                <a16:creationId xmlns:a16="http://schemas.microsoft.com/office/drawing/2014/main" id="{C09A21EC-12A1-A4EB-635E-98AF89B5E500}"/>
              </a:ext>
            </a:extLst>
          </p:cNvPr>
          <p:cNvCxnSpPr>
            <a:cxnSpLocks noChangeShapeType="1"/>
          </p:cNvCxnSpPr>
          <p:nvPr/>
        </p:nvCxnSpPr>
        <p:spPr bwMode="auto">
          <a:xfrm>
            <a:off x="4935538" y="2039940"/>
            <a:ext cx="0" cy="3724275"/>
          </a:xfrm>
          <a:prstGeom prst="line">
            <a:avLst/>
          </a:prstGeom>
          <a:noFill/>
          <a:ln w="9525" algn="ctr">
            <a:solidFill>
              <a:schemeClr val="accent3"/>
            </a:solidFill>
            <a:prstDash val="dash"/>
            <a:round/>
            <a:headEnd/>
            <a:tailEnd/>
          </a:ln>
        </p:spPr>
      </p:cxnSp>
      <p:cxnSp>
        <p:nvCxnSpPr>
          <p:cNvPr id="9279" name="Straight Connector 114">
            <a:extLst>
              <a:ext uri="{FF2B5EF4-FFF2-40B4-BE49-F238E27FC236}">
                <a16:creationId xmlns:a16="http://schemas.microsoft.com/office/drawing/2014/main" id="{0A853769-83C5-89E1-FD24-789CA49F31FF}"/>
              </a:ext>
            </a:extLst>
          </p:cNvPr>
          <p:cNvCxnSpPr>
            <a:cxnSpLocks noChangeShapeType="1"/>
          </p:cNvCxnSpPr>
          <p:nvPr/>
        </p:nvCxnSpPr>
        <p:spPr bwMode="auto">
          <a:xfrm>
            <a:off x="10126663" y="2043113"/>
            <a:ext cx="0" cy="3803650"/>
          </a:xfrm>
          <a:prstGeom prst="line">
            <a:avLst/>
          </a:prstGeom>
          <a:noFill/>
          <a:ln w="9525" algn="ctr">
            <a:solidFill>
              <a:schemeClr val="accent3"/>
            </a:solidFill>
            <a:prstDash val="dash"/>
            <a:round/>
            <a:headEnd/>
            <a:tailEnd/>
          </a:ln>
        </p:spPr>
      </p:cxnSp>
      <p:sp>
        <p:nvSpPr>
          <p:cNvPr id="9256" name="TextBox 1">
            <a:extLst>
              <a:ext uri="{FF2B5EF4-FFF2-40B4-BE49-F238E27FC236}">
                <a16:creationId xmlns:a16="http://schemas.microsoft.com/office/drawing/2014/main" id="{80193E37-9A28-367C-08BC-5250083F8BC0}"/>
              </a:ext>
            </a:extLst>
          </p:cNvPr>
          <p:cNvSpPr txBox="1">
            <a:spLocks noChangeArrowheads="1"/>
          </p:cNvSpPr>
          <p:nvPr/>
        </p:nvSpPr>
        <p:spPr bwMode="auto">
          <a:xfrm>
            <a:off x="2282827" y="5337177"/>
            <a:ext cx="1363663" cy="169863"/>
          </a:xfrm>
          <a:prstGeom prst="rect">
            <a:avLst/>
          </a:prstGeom>
          <a:ln w="3175"/>
        </p:spPr>
        <p:style>
          <a:lnRef idx="2">
            <a:schemeClr val="accent6"/>
          </a:lnRef>
          <a:fillRef idx="1">
            <a:schemeClr val="lt1"/>
          </a:fillRef>
          <a:effectRef idx="0">
            <a:schemeClr val="accent6"/>
          </a:effectRef>
          <a:fontRef idx="minor">
            <a:schemeClr val="dk1"/>
          </a:fontRef>
        </p:style>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500" b="1" i="0" u="none" strike="noStrike" kern="1200" cap="none" spc="0" normalizeH="0" baseline="0" noProof="0" dirty="0">
                <a:ln>
                  <a:noFill/>
                </a:ln>
                <a:solidFill>
                  <a:prstClr val="black"/>
                </a:solidFill>
                <a:effectLst/>
                <a:uLnTx/>
                <a:uFillTx/>
                <a:latin typeface="Montserrat" panose="00000500000000000000" pitchFamily="50" charset="0"/>
                <a:ea typeface="+mn-ea"/>
                <a:cs typeface="+mn-cs"/>
              </a:rPr>
              <a:t>Note</a:t>
            </a:r>
            <a:r>
              <a:rPr kumimoji="0" lang="en-GB" altLang="en-US" sz="500" b="0" i="0" u="none" strike="noStrike" kern="1200" cap="none" spc="0" normalizeH="0" baseline="0" noProof="0" dirty="0">
                <a:ln>
                  <a:noFill/>
                </a:ln>
                <a:solidFill>
                  <a:prstClr val="black"/>
                </a:solidFill>
                <a:effectLst/>
                <a:uLnTx/>
                <a:uFillTx/>
                <a:latin typeface="Montserrat" panose="00000500000000000000" pitchFamily="50" charset="0"/>
                <a:ea typeface="+mn-ea"/>
                <a:cs typeface="+mn-cs"/>
              </a:rPr>
              <a:t>: All starting dates are indicative</a:t>
            </a:r>
          </a:p>
        </p:txBody>
      </p:sp>
      <p:sp>
        <p:nvSpPr>
          <p:cNvPr id="6163" name="TextBox 86">
            <a:extLst>
              <a:ext uri="{FF2B5EF4-FFF2-40B4-BE49-F238E27FC236}">
                <a16:creationId xmlns:a16="http://schemas.microsoft.com/office/drawing/2014/main" id="{88410D57-A65E-F6DD-6F0E-7ACBB88F370F}"/>
              </a:ext>
            </a:extLst>
          </p:cNvPr>
          <p:cNvSpPr txBox="1">
            <a:spLocks noChangeArrowheads="1"/>
          </p:cNvSpPr>
          <p:nvPr/>
        </p:nvSpPr>
        <p:spPr bwMode="auto">
          <a:xfrm>
            <a:off x="3249613" y="1701802"/>
            <a:ext cx="5635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Blip>
                <a:blip r:embed="rId2"/>
              </a:buBlip>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Clr>
                <a:srgbClr val="C00000"/>
              </a:buClr>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rPr>
              <a:t>TSG#102</a:t>
            </a:r>
            <a:endParaRPr kumimoji="0" lang="en-GB" altLang="en-US" sz="4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endParaRPr>
          </a:p>
        </p:txBody>
      </p:sp>
      <p:sp>
        <p:nvSpPr>
          <p:cNvPr id="6164" name="TextBox 86">
            <a:extLst>
              <a:ext uri="{FF2B5EF4-FFF2-40B4-BE49-F238E27FC236}">
                <a16:creationId xmlns:a16="http://schemas.microsoft.com/office/drawing/2014/main" id="{9EEB49AA-8E75-9372-DEAB-03FEB3CF37C1}"/>
              </a:ext>
            </a:extLst>
          </p:cNvPr>
          <p:cNvSpPr txBox="1">
            <a:spLocks noChangeArrowheads="1"/>
          </p:cNvSpPr>
          <p:nvPr/>
        </p:nvSpPr>
        <p:spPr bwMode="auto">
          <a:xfrm>
            <a:off x="3922713" y="1701802"/>
            <a:ext cx="5651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Blip>
                <a:blip r:embed="rId2"/>
              </a:buBlip>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Clr>
                <a:srgbClr val="C00000"/>
              </a:buClr>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rPr>
              <a:t>TSG#103</a:t>
            </a:r>
            <a:endParaRPr kumimoji="0" lang="en-GB" altLang="en-US" sz="4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endParaRPr>
          </a:p>
        </p:txBody>
      </p:sp>
      <p:sp>
        <p:nvSpPr>
          <p:cNvPr id="6165" name="TextBox 86">
            <a:extLst>
              <a:ext uri="{FF2B5EF4-FFF2-40B4-BE49-F238E27FC236}">
                <a16:creationId xmlns:a16="http://schemas.microsoft.com/office/drawing/2014/main" id="{2636F013-D29F-027D-69FC-9AF0BAB4B469}"/>
              </a:ext>
            </a:extLst>
          </p:cNvPr>
          <p:cNvSpPr txBox="1">
            <a:spLocks noChangeArrowheads="1"/>
          </p:cNvSpPr>
          <p:nvPr/>
        </p:nvSpPr>
        <p:spPr bwMode="auto">
          <a:xfrm>
            <a:off x="4638675" y="1701802"/>
            <a:ext cx="5715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Blip>
                <a:blip r:embed="rId2"/>
              </a:buBlip>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Clr>
                <a:srgbClr val="C00000"/>
              </a:buClr>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rPr>
              <a:t>TSG#104</a:t>
            </a:r>
            <a:endParaRPr kumimoji="0" lang="en-GB" altLang="en-US" sz="4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endParaRPr>
          </a:p>
        </p:txBody>
      </p:sp>
      <p:sp>
        <p:nvSpPr>
          <p:cNvPr id="6166" name="TextBox 86">
            <a:extLst>
              <a:ext uri="{FF2B5EF4-FFF2-40B4-BE49-F238E27FC236}">
                <a16:creationId xmlns:a16="http://schemas.microsoft.com/office/drawing/2014/main" id="{8ACC3ED8-54C1-48D5-2CD0-1F4673530CB3}"/>
              </a:ext>
            </a:extLst>
          </p:cNvPr>
          <p:cNvSpPr txBox="1">
            <a:spLocks noChangeArrowheads="1"/>
          </p:cNvSpPr>
          <p:nvPr/>
        </p:nvSpPr>
        <p:spPr bwMode="auto">
          <a:xfrm>
            <a:off x="5418138" y="1701802"/>
            <a:ext cx="5651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Blip>
                <a:blip r:embed="rId2"/>
              </a:buBlip>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Clr>
                <a:srgbClr val="C00000"/>
              </a:buClr>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rPr>
              <a:t>TSG#105</a:t>
            </a:r>
            <a:endParaRPr kumimoji="0" lang="en-GB" altLang="en-US" sz="4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endParaRPr>
          </a:p>
        </p:txBody>
      </p:sp>
      <p:sp>
        <p:nvSpPr>
          <p:cNvPr id="6167" name="TextBox 86">
            <a:extLst>
              <a:ext uri="{FF2B5EF4-FFF2-40B4-BE49-F238E27FC236}">
                <a16:creationId xmlns:a16="http://schemas.microsoft.com/office/drawing/2014/main" id="{A0615FAB-AD27-FE5A-2143-CF9FC78C654D}"/>
              </a:ext>
            </a:extLst>
          </p:cNvPr>
          <p:cNvSpPr txBox="1">
            <a:spLocks noChangeArrowheads="1"/>
          </p:cNvSpPr>
          <p:nvPr/>
        </p:nvSpPr>
        <p:spPr bwMode="auto">
          <a:xfrm>
            <a:off x="5989640" y="1701802"/>
            <a:ext cx="5683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Blip>
                <a:blip r:embed="rId2"/>
              </a:buBlip>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Clr>
                <a:srgbClr val="C00000"/>
              </a:buClr>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rPr>
              <a:t>TSG#106</a:t>
            </a:r>
            <a:endParaRPr kumimoji="0" lang="en-GB" altLang="en-US" sz="4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endParaRPr>
          </a:p>
        </p:txBody>
      </p:sp>
      <p:sp>
        <p:nvSpPr>
          <p:cNvPr id="6168" name="TextBox 86">
            <a:extLst>
              <a:ext uri="{FF2B5EF4-FFF2-40B4-BE49-F238E27FC236}">
                <a16:creationId xmlns:a16="http://schemas.microsoft.com/office/drawing/2014/main" id="{85B8E3DC-AE46-5084-5E32-0EE0F5973AF9}"/>
              </a:ext>
            </a:extLst>
          </p:cNvPr>
          <p:cNvSpPr txBox="1">
            <a:spLocks noChangeArrowheads="1"/>
          </p:cNvSpPr>
          <p:nvPr/>
        </p:nvSpPr>
        <p:spPr bwMode="auto">
          <a:xfrm>
            <a:off x="6664325" y="1701802"/>
            <a:ext cx="566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Blip>
                <a:blip r:embed="rId2"/>
              </a:buBlip>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Clr>
                <a:srgbClr val="C00000"/>
              </a:buClr>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rPr>
              <a:t>TSG#107</a:t>
            </a:r>
            <a:endParaRPr kumimoji="0" lang="en-GB" altLang="en-US" sz="4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endParaRPr>
          </a:p>
        </p:txBody>
      </p:sp>
      <p:sp>
        <p:nvSpPr>
          <p:cNvPr id="6169" name="TextBox 86">
            <a:extLst>
              <a:ext uri="{FF2B5EF4-FFF2-40B4-BE49-F238E27FC236}">
                <a16:creationId xmlns:a16="http://schemas.microsoft.com/office/drawing/2014/main" id="{C451C90A-6EBB-F9E0-8B85-D8E0F35610CD}"/>
              </a:ext>
            </a:extLst>
          </p:cNvPr>
          <p:cNvSpPr txBox="1">
            <a:spLocks noChangeArrowheads="1"/>
          </p:cNvSpPr>
          <p:nvPr/>
        </p:nvSpPr>
        <p:spPr bwMode="auto">
          <a:xfrm>
            <a:off x="7321550" y="1701802"/>
            <a:ext cx="5715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Blip>
                <a:blip r:embed="rId2"/>
              </a:buBlip>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Clr>
                <a:srgbClr val="C00000"/>
              </a:buClr>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rPr>
              <a:t>TSG#108</a:t>
            </a:r>
            <a:endParaRPr kumimoji="0" lang="en-GB" altLang="en-US" sz="4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endParaRPr>
          </a:p>
        </p:txBody>
      </p:sp>
      <p:sp>
        <p:nvSpPr>
          <p:cNvPr id="6170" name="TextBox 86">
            <a:extLst>
              <a:ext uri="{FF2B5EF4-FFF2-40B4-BE49-F238E27FC236}">
                <a16:creationId xmlns:a16="http://schemas.microsoft.com/office/drawing/2014/main" id="{D7872B10-FFB5-C9EC-AFA6-5A717C299686}"/>
              </a:ext>
            </a:extLst>
          </p:cNvPr>
          <p:cNvSpPr txBox="1">
            <a:spLocks noChangeArrowheads="1"/>
          </p:cNvSpPr>
          <p:nvPr/>
        </p:nvSpPr>
        <p:spPr bwMode="auto">
          <a:xfrm>
            <a:off x="8051802" y="1701802"/>
            <a:ext cx="5683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Blip>
                <a:blip r:embed="rId2"/>
              </a:buBlip>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Clr>
                <a:srgbClr val="C00000"/>
              </a:buClr>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rPr>
              <a:t>TSG#109</a:t>
            </a:r>
            <a:endParaRPr kumimoji="0" lang="en-GB" altLang="en-US" sz="4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endParaRPr>
          </a:p>
        </p:txBody>
      </p:sp>
      <p:sp>
        <p:nvSpPr>
          <p:cNvPr id="6171" name="TextBox 86">
            <a:extLst>
              <a:ext uri="{FF2B5EF4-FFF2-40B4-BE49-F238E27FC236}">
                <a16:creationId xmlns:a16="http://schemas.microsoft.com/office/drawing/2014/main" id="{42F17ECC-D5EF-4397-82D8-48B1957BCA22}"/>
              </a:ext>
            </a:extLst>
          </p:cNvPr>
          <p:cNvSpPr txBox="1">
            <a:spLocks noChangeArrowheads="1"/>
          </p:cNvSpPr>
          <p:nvPr/>
        </p:nvSpPr>
        <p:spPr bwMode="auto">
          <a:xfrm>
            <a:off x="8691563" y="1701802"/>
            <a:ext cx="5461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Blip>
                <a:blip r:embed="rId2"/>
              </a:buBlip>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Clr>
                <a:srgbClr val="C00000"/>
              </a:buClr>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rPr>
              <a:t>TSG#110</a:t>
            </a:r>
            <a:endParaRPr kumimoji="0" lang="en-GB" altLang="en-US" sz="4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endParaRPr>
          </a:p>
        </p:txBody>
      </p:sp>
      <p:sp>
        <p:nvSpPr>
          <p:cNvPr id="6172" name="TextBox 86">
            <a:extLst>
              <a:ext uri="{FF2B5EF4-FFF2-40B4-BE49-F238E27FC236}">
                <a16:creationId xmlns:a16="http://schemas.microsoft.com/office/drawing/2014/main" id="{419DEB82-DC4D-0958-3892-E0E2EE4A5D13}"/>
              </a:ext>
            </a:extLst>
          </p:cNvPr>
          <p:cNvSpPr txBox="1">
            <a:spLocks noChangeArrowheads="1"/>
          </p:cNvSpPr>
          <p:nvPr/>
        </p:nvSpPr>
        <p:spPr bwMode="auto">
          <a:xfrm>
            <a:off x="9255127" y="1701802"/>
            <a:ext cx="5175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Blip>
                <a:blip r:embed="rId2"/>
              </a:buBlip>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Clr>
                <a:srgbClr val="C00000"/>
              </a:buClr>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rPr>
              <a:t>TSG#111</a:t>
            </a:r>
            <a:endParaRPr kumimoji="0" lang="en-GB" altLang="en-US" sz="4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endParaRPr>
          </a:p>
        </p:txBody>
      </p:sp>
      <p:sp>
        <p:nvSpPr>
          <p:cNvPr id="6173" name="TextBox 86">
            <a:extLst>
              <a:ext uri="{FF2B5EF4-FFF2-40B4-BE49-F238E27FC236}">
                <a16:creationId xmlns:a16="http://schemas.microsoft.com/office/drawing/2014/main" id="{2FD0923A-A8B3-230D-3A5B-B9376E7B0C6A}"/>
              </a:ext>
            </a:extLst>
          </p:cNvPr>
          <p:cNvSpPr txBox="1">
            <a:spLocks noChangeArrowheads="1"/>
          </p:cNvSpPr>
          <p:nvPr/>
        </p:nvSpPr>
        <p:spPr bwMode="auto">
          <a:xfrm>
            <a:off x="9837738" y="1701802"/>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Blip>
                <a:blip r:embed="rId2"/>
              </a:buBlip>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Clr>
                <a:srgbClr val="C00000"/>
              </a:buClr>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rPr>
              <a:t>TSG#112</a:t>
            </a:r>
            <a:endParaRPr kumimoji="0" lang="en-GB" altLang="en-US" sz="4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endParaRPr>
          </a:p>
        </p:txBody>
      </p:sp>
      <p:sp>
        <p:nvSpPr>
          <p:cNvPr id="6174" name="TextBox 86">
            <a:extLst>
              <a:ext uri="{FF2B5EF4-FFF2-40B4-BE49-F238E27FC236}">
                <a16:creationId xmlns:a16="http://schemas.microsoft.com/office/drawing/2014/main" id="{3B82D8EB-2BB0-623C-D14D-BFB6B1F67D6C}"/>
              </a:ext>
            </a:extLst>
          </p:cNvPr>
          <p:cNvSpPr txBox="1">
            <a:spLocks noChangeArrowheads="1"/>
          </p:cNvSpPr>
          <p:nvPr/>
        </p:nvSpPr>
        <p:spPr bwMode="auto">
          <a:xfrm>
            <a:off x="1541465" y="1716090"/>
            <a:ext cx="5302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Blip>
                <a:blip r:embed="rId2"/>
              </a:buBlip>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Clr>
                <a:srgbClr val="C00000"/>
              </a:buClr>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rPr>
              <a:t>TSG#99</a:t>
            </a:r>
            <a:endParaRPr kumimoji="0" lang="en-GB" altLang="en-US" sz="4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endParaRPr>
          </a:p>
        </p:txBody>
      </p:sp>
      <p:sp>
        <p:nvSpPr>
          <p:cNvPr id="6175" name="Chevron 60">
            <a:extLst>
              <a:ext uri="{FF2B5EF4-FFF2-40B4-BE49-F238E27FC236}">
                <a16:creationId xmlns:a16="http://schemas.microsoft.com/office/drawing/2014/main" id="{529E8751-E161-0C42-2F9E-8F975FAC6366}"/>
              </a:ext>
            </a:extLst>
          </p:cNvPr>
          <p:cNvSpPr>
            <a:spLocks noChangeArrowheads="1"/>
          </p:cNvSpPr>
          <p:nvPr/>
        </p:nvSpPr>
        <p:spPr bwMode="auto">
          <a:xfrm>
            <a:off x="3421063" y="2386015"/>
            <a:ext cx="819150" cy="280987"/>
          </a:xfrm>
          <a:prstGeom prst="chevron">
            <a:avLst>
              <a:gd name="adj" fmla="val 50086"/>
            </a:avLst>
          </a:prstGeom>
          <a:solidFill>
            <a:srgbClr val="006600">
              <a:alpha val="30196"/>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lIns="0" rIns="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en-US" sz="6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RAN4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en-US" sz="6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content def.</a:t>
            </a:r>
          </a:p>
        </p:txBody>
      </p:sp>
      <p:sp>
        <p:nvSpPr>
          <p:cNvPr id="113" name="Chevron 60">
            <a:extLst>
              <a:ext uri="{FF2B5EF4-FFF2-40B4-BE49-F238E27FC236}">
                <a16:creationId xmlns:a16="http://schemas.microsoft.com/office/drawing/2014/main" id="{F0CEC1E6-D15C-02AF-34A3-295FBAAD82F7}"/>
              </a:ext>
            </a:extLst>
          </p:cNvPr>
          <p:cNvSpPr>
            <a:spLocks noChangeArrowheads="1"/>
          </p:cNvSpPr>
          <p:nvPr/>
        </p:nvSpPr>
        <p:spPr bwMode="auto">
          <a:xfrm>
            <a:off x="2511425" y="2386015"/>
            <a:ext cx="1187450" cy="280987"/>
          </a:xfrm>
          <a:prstGeom prst="chevron">
            <a:avLst>
              <a:gd name="adj" fmla="val 49975"/>
            </a:avLst>
          </a:prstGeom>
          <a:gradFill flip="none" rotWithShape="1">
            <a:gsLst>
              <a:gs pos="12000">
                <a:schemeClr val="accent3">
                  <a:lumMod val="40000"/>
                  <a:lumOff val="60000"/>
                </a:schemeClr>
              </a:gs>
              <a:gs pos="60000">
                <a:srgbClr val="92D050"/>
              </a:gs>
              <a:gs pos="83000">
                <a:srgbClr val="92D050"/>
              </a:gs>
              <a:gs pos="100000">
                <a:srgbClr val="92D050"/>
              </a:gs>
            </a:gsLst>
            <a:lin ang="3600000" scaled="0"/>
            <a:tileRect/>
          </a:gradFill>
          <a:ln>
            <a:noFill/>
          </a:ln>
        </p:spPr>
        <p:txBody>
          <a:bodyPr lIns="0" rIns="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en-US" sz="800" b="1"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anose="020B0604020202020204" pitchFamily="34" charset="0"/>
              </a:rPr>
              <a:t> </a:t>
            </a:r>
            <a:r>
              <a:rPr kumimoji="0" lang="fr-FR" altLang="en-US" sz="800" b="0"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anose="020B0604020202020204" pitchFamily="34" charset="0"/>
              </a:rPr>
              <a:t>RAN Content </a:t>
            </a:r>
            <a:r>
              <a:rPr kumimoji="0" lang="fr-FR" altLang="en-US" sz="800" b="0" i="0" u="none" strike="noStrike" kern="1200" cap="none" spc="0" normalizeH="0" baseline="0" noProof="0" dirty="0" err="1">
                <a:ln>
                  <a:noFill/>
                </a:ln>
                <a:solidFill>
                  <a:prstClr val="black"/>
                </a:solidFill>
                <a:effectLst/>
                <a:uLnTx/>
                <a:uFillTx/>
                <a:latin typeface="Montserrat" panose="00000500000000000000" pitchFamily="50" charset="0"/>
                <a:ea typeface="+mn-ea"/>
                <a:cs typeface="Arial" panose="020B0604020202020204" pitchFamily="34" charset="0"/>
              </a:rPr>
              <a:t>def</a:t>
            </a:r>
            <a:r>
              <a:rPr kumimoji="0" lang="fr-FR" altLang="en-US" sz="800" b="0"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anose="020B0604020202020204" pitchFamily="34" charset="0"/>
              </a:rPr>
              <a:t>.</a:t>
            </a:r>
          </a:p>
        </p:txBody>
      </p:sp>
      <p:sp>
        <p:nvSpPr>
          <p:cNvPr id="2" name="TextBox 1">
            <a:extLst>
              <a:ext uri="{FF2B5EF4-FFF2-40B4-BE49-F238E27FC236}">
                <a16:creationId xmlns:a16="http://schemas.microsoft.com/office/drawing/2014/main" id="{F965F224-433B-B44B-BE7F-71106B3BCDAC}"/>
              </a:ext>
            </a:extLst>
          </p:cNvPr>
          <p:cNvSpPr txBox="1"/>
          <p:nvPr/>
        </p:nvSpPr>
        <p:spPr>
          <a:xfrm>
            <a:off x="4686302" y="1465263"/>
            <a:ext cx="498475" cy="24606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2024</a:t>
            </a:r>
          </a:p>
        </p:txBody>
      </p:sp>
      <p:sp>
        <p:nvSpPr>
          <p:cNvPr id="58" name="TextBox 57">
            <a:extLst>
              <a:ext uri="{FF2B5EF4-FFF2-40B4-BE49-F238E27FC236}">
                <a16:creationId xmlns:a16="http://schemas.microsoft.com/office/drawing/2014/main" id="{25E14FDD-0DA9-AEB2-7351-B2CBCFCB98FD}"/>
              </a:ext>
            </a:extLst>
          </p:cNvPr>
          <p:cNvSpPr txBox="1"/>
          <p:nvPr/>
        </p:nvSpPr>
        <p:spPr>
          <a:xfrm>
            <a:off x="7389815" y="1465263"/>
            <a:ext cx="485775" cy="24606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2025</a:t>
            </a:r>
          </a:p>
        </p:txBody>
      </p:sp>
      <p:sp>
        <p:nvSpPr>
          <p:cNvPr id="6179" name="TextBox 2">
            <a:extLst>
              <a:ext uri="{FF2B5EF4-FFF2-40B4-BE49-F238E27FC236}">
                <a16:creationId xmlns:a16="http://schemas.microsoft.com/office/drawing/2014/main" id="{B9151B65-610C-70C7-06DF-80F1D55ACA25}"/>
              </a:ext>
            </a:extLst>
          </p:cNvPr>
          <p:cNvSpPr txBox="1">
            <a:spLocks noChangeArrowheads="1"/>
          </p:cNvSpPr>
          <p:nvPr/>
        </p:nvSpPr>
        <p:spPr bwMode="auto">
          <a:xfrm>
            <a:off x="2781300" y="1804990"/>
            <a:ext cx="3190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5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Sep.</a:t>
            </a:r>
          </a:p>
        </p:txBody>
      </p:sp>
      <p:sp>
        <p:nvSpPr>
          <p:cNvPr id="6180" name="TextBox 59">
            <a:extLst>
              <a:ext uri="{FF2B5EF4-FFF2-40B4-BE49-F238E27FC236}">
                <a16:creationId xmlns:a16="http://schemas.microsoft.com/office/drawing/2014/main" id="{14150F4D-880C-1728-B15F-70EAEEE0A13D}"/>
              </a:ext>
            </a:extLst>
          </p:cNvPr>
          <p:cNvSpPr txBox="1">
            <a:spLocks noChangeArrowheads="1"/>
          </p:cNvSpPr>
          <p:nvPr/>
        </p:nvSpPr>
        <p:spPr bwMode="auto">
          <a:xfrm>
            <a:off x="4075113" y="1792288"/>
            <a:ext cx="323850"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5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Mar.</a:t>
            </a:r>
          </a:p>
        </p:txBody>
      </p:sp>
      <p:sp>
        <p:nvSpPr>
          <p:cNvPr id="6181" name="TextBox 60">
            <a:extLst>
              <a:ext uri="{FF2B5EF4-FFF2-40B4-BE49-F238E27FC236}">
                <a16:creationId xmlns:a16="http://schemas.microsoft.com/office/drawing/2014/main" id="{53DB262D-12F3-A94D-AEFD-F88331F7E3B1}"/>
              </a:ext>
            </a:extLst>
          </p:cNvPr>
          <p:cNvSpPr txBox="1">
            <a:spLocks noChangeArrowheads="1"/>
          </p:cNvSpPr>
          <p:nvPr/>
        </p:nvSpPr>
        <p:spPr bwMode="auto">
          <a:xfrm>
            <a:off x="9402763" y="1804988"/>
            <a:ext cx="322262"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5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Mar.</a:t>
            </a:r>
          </a:p>
        </p:txBody>
      </p:sp>
      <p:sp>
        <p:nvSpPr>
          <p:cNvPr id="6182" name="TextBox 61">
            <a:extLst>
              <a:ext uri="{FF2B5EF4-FFF2-40B4-BE49-F238E27FC236}">
                <a16:creationId xmlns:a16="http://schemas.microsoft.com/office/drawing/2014/main" id="{7C5669FE-496D-8741-CD5A-95E30D5F0E6A}"/>
              </a:ext>
            </a:extLst>
          </p:cNvPr>
          <p:cNvSpPr txBox="1">
            <a:spLocks noChangeArrowheads="1"/>
          </p:cNvSpPr>
          <p:nvPr/>
        </p:nvSpPr>
        <p:spPr bwMode="auto">
          <a:xfrm>
            <a:off x="6740527" y="1804988"/>
            <a:ext cx="3222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5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Mar.</a:t>
            </a:r>
          </a:p>
        </p:txBody>
      </p:sp>
      <p:sp>
        <p:nvSpPr>
          <p:cNvPr id="6183" name="TextBox 62">
            <a:extLst>
              <a:ext uri="{FF2B5EF4-FFF2-40B4-BE49-F238E27FC236}">
                <a16:creationId xmlns:a16="http://schemas.microsoft.com/office/drawing/2014/main" id="{A8D6DC85-DCE5-7CAC-488B-9A8B4D21C716}"/>
              </a:ext>
            </a:extLst>
          </p:cNvPr>
          <p:cNvSpPr txBox="1">
            <a:spLocks noChangeArrowheads="1"/>
          </p:cNvSpPr>
          <p:nvPr/>
        </p:nvSpPr>
        <p:spPr bwMode="auto">
          <a:xfrm>
            <a:off x="4762502" y="1804990"/>
            <a:ext cx="3159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5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Jun.</a:t>
            </a:r>
          </a:p>
        </p:txBody>
      </p:sp>
      <p:sp>
        <p:nvSpPr>
          <p:cNvPr id="6184" name="TextBox 63">
            <a:extLst>
              <a:ext uri="{FF2B5EF4-FFF2-40B4-BE49-F238E27FC236}">
                <a16:creationId xmlns:a16="http://schemas.microsoft.com/office/drawing/2014/main" id="{3777CE6C-E825-0748-251A-D3F871C3D0D8}"/>
              </a:ext>
            </a:extLst>
          </p:cNvPr>
          <p:cNvSpPr txBox="1">
            <a:spLocks noChangeArrowheads="1"/>
          </p:cNvSpPr>
          <p:nvPr/>
        </p:nvSpPr>
        <p:spPr bwMode="auto">
          <a:xfrm>
            <a:off x="7475538" y="1804988"/>
            <a:ext cx="315912"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5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Jun.</a:t>
            </a:r>
          </a:p>
        </p:txBody>
      </p:sp>
      <p:sp>
        <p:nvSpPr>
          <p:cNvPr id="6185" name="TextBox 64">
            <a:extLst>
              <a:ext uri="{FF2B5EF4-FFF2-40B4-BE49-F238E27FC236}">
                <a16:creationId xmlns:a16="http://schemas.microsoft.com/office/drawing/2014/main" id="{22C68ED0-7D77-8199-FC82-1979B781493A}"/>
              </a:ext>
            </a:extLst>
          </p:cNvPr>
          <p:cNvSpPr txBox="1">
            <a:spLocks noChangeArrowheads="1"/>
          </p:cNvSpPr>
          <p:nvPr/>
        </p:nvSpPr>
        <p:spPr bwMode="auto">
          <a:xfrm>
            <a:off x="9977438" y="1804988"/>
            <a:ext cx="315912"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5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Jun.</a:t>
            </a:r>
          </a:p>
        </p:txBody>
      </p:sp>
      <p:sp>
        <p:nvSpPr>
          <p:cNvPr id="6186" name="TextBox 65">
            <a:extLst>
              <a:ext uri="{FF2B5EF4-FFF2-40B4-BE49-F238E27FC236}">
                <a16:creationId xmlns:a16="http://schemas.microsoft.com/office/drawing/2014/main" id="{8A37F3C3-F03C-1309-9B9B-4C703248A5BB}"/>
              </a:ext>
            </a:extLst>
          </p:cNvPr>
          <p:cNvSpPr txBox="1">
            <a:spLocks noChangeArrowheads="1"/>
          </p:cNvSpPr>
          <p:nvPr/>
        </p:nvSpPr>
        <p:spPr bwMode="auto">
          <a:xfrm>
            <a:off x="5537200" y="1804988"/>
            <a:ext cx="319088"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5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Sep.</a:t>
            </a:r>
          </a:p>
        </p:txBody>
      </p:sp>
      <p:sp>
        <p:nvSpPr>
          <p:cNvPr id="6187" name="TextBox 66">
            <a:extLst>
              <a:ext uri="{FF2B5EF4-FFF2-40B4-BE49-F238E27FC236}">
                <a16:creationId xmlns:a16="http://schemas.microsoft.com/office/drawing/2014/main" id="{F658DA5B-7C0F-807D-8E36-A1F872528F88}"/>
              </a:ext>
            </a:extLst>
          </p:cNvPr>
          <p:cNvSpPr txBox="1">
            <a:spLocks noChangeArrowheads="1"/>
          </p:cNvSpPr>
          <p:nvPr/>
        </p:nvSpPr>
        <p:spPr bwMode="auto">
          <a:xfrm>
            <a:off x="8186740" y="1804988"/>
            <a:ext cx="319087"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5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Sep.</a:t>
            </a:r>
          </a:p>
        </p:txBody>
      </p:sp>
      <p:sp>
        <p:nvSpPr>
          <p:cNvPr id="6188" name="TextBox 67">
            <a:extLst>
              <a:ext uri="{FF2B5EF4-FFF2-40B4-BE49-F238E27FC236}">
                <a16:creationId xmlns:a16="http://schemas.microsoft.com/office/drawing/2014/main" id="{381D0B12-7755-877F-A0B0-61816C15E2A5}"/>
              </a:ext>
            </a:extLst>
          </p:cNvPr>
          <p:cNvSpPr txBox="1">
            <a:spLocks noChangeArrowheads="1"/>
          </p:cNvSpPr>
          <p:nvPr/>
        </p:nvSpPr>
        <p:spPr bwMode="auto">
          <a:xfrm>
            <a:off x="1633540" y="1825627"/>
            <a:ext cx="320675"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5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Sep.</a:t>
            </a:r>
          </a:p>
        </p:txBody>
      </p:sp>
      <p:sp>
        <p:nvSpPr>
          <p:cNvPr id="6189" name="TextBox 69">
            <a:extLst>
              <a:ext uri="{FF2B5EF4-FFF2-40B4-BE49-F238E27FC236}">
                <a16:creationId xmlns:a16="http://schemas.microsoft.com/office/drawing/2014/main" id="{D18BCBA2-1F13-397F-9693-706C812D8543}"/>
              </a:ext>
            </a:extLst>
          </p:cNvPr>
          <p:cNvSpPr txBox="1">
            <a:spLocks noChangeArrowheads="1"/>
          </p:cNvSpPr>
          <p:nvPr/>
        </p:nvSpPr>
        <p:spPr bwMode="auto">
          <a:xfrm>
            <a:off x="3378200" y="1804990"/>
            <a:ext cx="32543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5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Dec.</a:t>
            </a:r>
          </a:p>
        </p:txBody>
      </p:sp>
      <p:sp>
        <p:nvSpPr>
          <p:cNvPr id="6190" name="TextBox 70">
            <a:extLst>
              <a:ext uri="{FF2B5EF4-FFF2-40B4-BE49-F238E27FC236}">
                <a16:creationId xmlns:a16="http://schemas.microsoft.com/office/drawing/2014/main" id="{296DB56F-D44C-4793-712F-0AC0F20ECEF8}"/>
              </a:ext>
            </a:extLst>
          </p:cNvPr>
          <p:cNvSpPr txBox="1">
            <a:spLocks noChangeArrowheads="1"/>
          </p:cNvSpPr>
          <p:nvPr/>
        </p:nvSpPr>
        <p:spPr bwMode="auto">
          <a:xfrm>
            <a:off x="6129340" y="1804988"/>
            <a:ext cx="325437"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5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Dec.</a:t>
            </a:r>
          </a:p>
        </p:txBody>
      </p:sp>
      <p:sp>
        <p:nvSpPr>
          <p:cNvPr id="6191" name="TextBox 71">
            <a:extLst>
              <a:ext uri="{FF2B5EF4-FFF2-40B4-BE49-F238E27FC236}">
                <a16:creationId xmlns:a16="http://schemas.microsoft.com/office/drawing/2014/main" id="{319A649F-DBD5-8ABF-CF24-4811F9A67F79}"/>
              </a:ext>
            </a:extLst>
          </p:cNvPr>
          <p:cNvSpPr txBox="1">
            <a:spLocks noChangeArrowheads="1"/>
          </p:cNvSpPr>
          <p:nvPr/>
        </p:nvSpPr>
        <p:spPr bwMode="auto">
          <a:xfrm>
            <a:off x="8828090" y="1804988"/>
            <a:ext cx="325437"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5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Dec.</a:t>
            </a:r>
          </a:p>
        </p:txBody>
      </p:sp>
      <p:sp>
        <p:nvSpPr>
          <p:cNvPr id="92" name="TextBox 91">
            <a:extLst>
              <a:ext uri="{FF2B5EF4-FFF2-40B4-BE49-F238E27FC236}">
                <a16:creationId xmlns:a16="http://schemas.microsoft.com/office/drawing/2014/main" id="{BF223568-56D7-AF1D-5DE9-90FDF267419F}"/>
              </a:ext>
            </a:extLst>
          </p:cNvPr>
          <p:cNvSpPr txBox="1"/>
          <p:nvPr/>
        </p:nvSpPr>
        <p:spPr>
          <a:xfrm>
            <a:off x="9883777" y="1446213"/>
            <a:ext cx="492125" cy="24606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2026</a:t>
            </a:r>
          </a:p>
        </p:txBody>
      </p:sp>
      <p:sp>
        <p:nvSpPr>
          <p:cNvPr id="6194" name="Diamond 3">
            <a:extLst>
              <a:ext uri="{FF2B5EF4-FFF2-40B4-BE49-F238E27FC236}">
                <a16:creationId xmlns:a16="http://schemas.microsoft.com/office/drawing/2014/main" id="{61606797-96A6-1DC8-99DD-C34766D356A5}"/>
              </a:ext>
            </a:extLst>
          </p:cNvPr>
          <p:cNvSpPr>
            <a:spLocks noChangeArrowheads="1"/>
          </p:cNvSpPr>
          <p:nvPr/>
        </p:nvSpPr>
        <p:spPr bwMode="auto">
          <a:xfrm>
            <a:off x="1960565" y="2341563"/>
            <a:ext cx="896937" cy="392112"/>
          </a:xfrm>
          <a:prstGeom prst="diamond">
            <a:avLst/>
          </a:prstGeom>
          <a:solidFill>
            <a:srgbClr val="92D050"/>
          </a:solidFill>
          <a:ln w="9525" algn="ctr">
            <a:solidFill>
              <a:schemeClr val="tx1"/>
            </a:solidFill>
            <a:round/>
            <a:headEnd/>
            <a:tailEnd/>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95" name="TextBox 6">
            <a:extLst>
              <a:ext uri="{FF2B5EF4-FFF2-40B4-BE49-F238E27FC236}">
                <a16:creationId xmlns:a16="http://schemas.microsoft.com/office/drawing/2014/main" id="{23FC73BB-99D2-C119-6C49-38A37AA98DC3}"/>
              </a:ext>
            </a:extLst>
          </p:cNvPr>
          <p:cNvSpPr txBox="1">
            <a:spLocks noChangeArrowheads="1"/>
          </p:cNvSpPr>
          <p:nvPr/>
        </p:nvSpPr>
        <p:spPr bwMode="auto">
          <a:xfrm>
            <a:off x="2065338" y="2424115"/>
            <a:ext cx="6588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en-US" sz="600" b="1"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 </a:t>
            </a:r>
            <a:r>
              <a:rPr kumimoji="0" lang="fr-FR" altLang="en-US" sz="6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RAN Rel-19 workshop</a:t>
            </a:r>
          </a:p>
        </p:txBody>
      </p:sp>
      <p:sp>
        <p:nvSpPr>
          <p:cNvPr id="6196" name="Diamond 16">
            <a:extLst>
              <a:ext uri="{FF2B5EF4-FFF2-40B4-BE49-F238E27FC236}">
                <a16:creationId xmlns:a16="http://schemas.microsoft.com/office/drawing/2014/main" id="{D159AFE1-BF82-497A-4E5D-E6BE09FCF62D}"/>
              </a:ext>
            </a:extLst>
          </p:cNvPr>
          <p:cNvSpPr>
            <a:spLocks noChangeArrowheads="1"/>
          </p:cNvSpPr>
          <p:nvPr/>
        </p:nvSpPr>
        <p:spPr bwMode="auto">
          <a:xfrm>
            <a:off x="1944690" y="2824163"/>
            <a:ext cx="866775" cy="368300"/>
          </a:xfrm>
          <a:prstGeom prst="diamond">
            <a:avLst/>
          </a:prstGeom>
          <a:solidFill>
            <a:srgbClr val="31859C">
              <a:alpha val="50195"/>
            </a:srgbClr>
          </a:solidFill>
          <a:ln w="9525" algn="ctr">
            <a:solidFill>
              <a:schemeClr val="tx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97" name="Chevron 79">
            <a:extLst>
              <a:ext uri="{FF2B5EF4-FFF2-40B4-BE49-F238E27FC236}">
                <a16:creationId xmlns:a16="http://schemas.microsoft.com/office/drawing/2014/main" id="{3594B3F7-E244-A991-751D-8C21ABF07749}"/>
              </a:ext>
            </a:extLst>
          </p:cNvPr>
          <p:cNvSpPr>
            <a:spLocks noChangeArrowheads="1"/>
          </p:cNvSpPr>
          <p:nvPr/>
        </p:nvSpPr>
        <p:spPr bwMode="auto">
          <a:xfrm>
            <a:off x="8207377" y="3790950"/>
            <a:ext cx="746125" cy="209550"/>
          </a:xfrm>
          <a:prstGeom prst="chevron">
            <a:avLst>
              <a:gd name="adj" fmla="val 50046"/>
            </a:avLst>
          </a:prstGeom>
          <a:solidFill>
            <a:srgbClr val="006600">
              <a:alpha val="29019"/>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lIns="0" rIns="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en-US" sz="7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RAN4_Perf </a:t>
            </a:r>
            <a:endParaRPr kumimoji="0" lang="fr-FR" altLang="en-US" sz="5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endParaRPr>
          </a:p>
        </p:txBody>
      </p:sp>
      <p:sp>
        <p:nvSpPr>
          <p:cNvPr id="16" name="Chevron 58">
            <a:extLst>
              <a:ext uri="{FF2B5EF4-FFF2-40B4-BE49-F238E27FC236}">
                <a16:creationId xmlns:a16="http://schemas.microsoft.com/office/drawing/2014/main" id="{55C3C310-6B65-1BF9-3A9B-6F269AC80136}"/>
              </a:ext>
            </a:extLst>
          </p:cNvPr>
          <p:cNvSpPr/>
          <p:nvPr/>
        </p:nvSpPr>
        <p:spPr bwMode="auto">
          <a:xfrm>
            <a:off x="4533902" y="4040190"/>
            <a:ext cx="3819525" cy="225425"/>
          </a:xfrm>
          <a:prstGeom prst="chevron">
            <a:avLst/>
          </a:prstGeom>
          <a:gradFill>
            <a:gsLst>
              <a:gs pos="1770">
                <a:schemeClr val="bg1"/>
              </a:gs>
              <a:gs pos="22000">
                <a:schemeClr val="accent5">
                  <a:lumMod val="60000"/>
                  <a:lumOff val="40000"/>
                </a:schemeClr>
              </a:gs>
              <a:gs pos="100000">
                <a:schemeClr val="accent5">
                  <a:lumMod val="75000"/>
                </a:schemeClr>
              </a:gs>
            </a:gsLst>
            <a:lin ang="1800000" scaled="0"/>
          </a:gradFill>
          <a:ln w="9525" cap="flat" cmpd="sng" algn="ctr">
            <a:noFill/>
            <a:prstDash val="solid"/>
            <a:round/>
            <a:headEnd type="none" w="med" len="med"/>
            <a:tailEnd type="none" w="med" len="med"/>
          </a:ln>
          <a:effectLst/>
        </p:spPr>
        <p:txBody>
          <a:bodyPr lIns="0" rIns="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1200" cap="none" spc="0" normalizeH="0" baseline="0" noProof="0" dirty="0">
                <a:ln>
                  <a:noFill/>
                </a:ln>
                <a:solidFill>
                  <a:prstClr val="black"/>
                </a:solidFill>
                <a:effectLst/>
                <a:uLnTx/>
                <a:uFillTx/>
                <a:latin typeface="Montserrat" panose="00000500000000000000" pitchFamily="50" charset="0"/>
                <a:ea typeface="ＭＳ Ｐゴシック" charset="-128"/>
                <a:cs typeface="Arial" panose="020B0604020202020204" pitchFamily="34" charset="0"/>
              </a:rPr>
              <a:t>Stage 3 (CT &amp; SA) </a:t>
            </a:r>
          </a:p>
        </p:txBody>
      </p:sp>
      <p:sp>
        <p:nvSpPr>
          <p:cNvPr id="17" name="Chevron 60">
            <a:extLst>
              <a:ext uri="{FF2B5EF4-FFF2-40B4-BE49-F238E27FC236}">
                <a16:creationId xmlns:a16="http://schemas.microsoft.com/office/drawing/2014/main" id="{802C47A0-46A7-DF5B-EC02-6EDF8065DD55}"/>
              </a:ext>
            </a:extLst>
          </p:cNvPr>
          <p:cNvSpPr/>
          <p:nvPr/>
        </p:nvSpPr>
        <p:spPr bwMode="auto">
          <a:xfrm>
            <a:off x="3630615" y="3517902"/>
            <a:ext cx="4014787" cy="207963"/>
          </a:xfrm>
          <a:prstGeom prst="chevron">
            <a:avLst/>
          </a:prstGeom>
          <a:gradFill>
            <a:gsLst>
              <a:gs pos="12000">
                <a:schemeClr val="accent3">
                  <a:lumMod val="40000"/>
                  <a:lumOff val="60000"/>
                </a:schemeClr>
              </a:gs>
              <a:gs pos="60000">
                <a:srgbClr val="92D050"/>
              </a:gs>
              <a:gs pos="83000">
                <a:srgbClr val="92D050"/>
              </a:gs>
              <a:gs pos="100000">
                <a:srgbClr val="92D050"/>
              </a:gs>
            </a:gsLst>
            <a:lin ang="3600000" scaled="0"/>
          </a:gradFill>
          <a:ln w="9525" cap="flat" cmpd="sng" algn="ctr">
            <a:noFill/>
            <a:prstDash val="solid"/>
            <a:round/>
            <a:headEnd type="none" w="med" len="med"/>
            <a:tailEnd type="none" w="med" len="med"/>
          </a:ln>
          <a:effectLst/>
        </p:spPr>
        <p:txBody>
          <a:bodyPr lIns="0" rIns="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Montserrat" panose="00000500000000000000" pitchFamily="50" charset="0"/>
                <a:ea typeface="ＭＳ Ｐゴシック" charset="-128"/>
                <a:cs typeface="Arial" panose="020B0604020202020204" pitchFamily="34" charset="0"/>
              </a:rPr>
              <a:t>RAN1</a:t>
            </a:r>
          </a:p>
        </p:txBody>
      </p:sp>
      <p:sp>
        <p:nvSpPr>
          <p:cNvPr id="18" name="Chevron 60">
            <a:extLst>
              <a:ext uri="{FF2B5EF4-FFF2-40B4-BE49-F238E27FC236}">
                <a16:creationId xmlns:a16="http://schemas.microsoft.com/office/drawing/2014/main" id="{435381A1-9482-7EEA-3B97-321C5D709D43}"/>
              </a:ext>
            </a:extLst>
          </p:cNvPr>
          <p:cNvSpPr/>
          <p:nvPr/>
        </p:nvSpPr>
        <p:spPr bwMode="auto">
          <a:xfrm>
            <a:off x="3159127" y="3228975"/>
            <a:ext cx="3167063" cy="222250"/>
          </a:xfrm>
          <a:prstGeom prst="chevron">
            <a:avLst/>
          </a:prstGeom>
          <a:gradFill>
            <a:gsLst>
              <a:gs pos="1770">
                <a:schemeClr val="bg1"/>
              </a:gs>
              <a:gs pos="22000">
                <a:schemeClr val="accent5">
                  <a:lumMod val="60000"/>
                  <a:lumOff val="40000"/>
                </a:schemeClr>
              </a:gs>
              <a:gs pos="100000">
                <a:schemeClr val="accent5">
                  <a:lumMod val="75000"/>
                </a:schemeClr>
              </a:gs>
            </a:gsLst>
            <a:lin ang="1800000" scaled="0"/>
          </a:gradFill>
          <a:ln w="9525" cap="flat" cmpd="sng" algn="ctr">
            <a:noFill/>
            <a:prstDash val="solid"/>
            <a:round/>
            <a:headEnd type="none" w="med" len="med"/>
            <a:tailEnd type="none" w="med" len="med"/>
          </a:ln>
          <a:effectLst/>
        </p:spPr>
        <p:txBody>
          <a:bodyPr lIns="0" rIns="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Montserrat" panose="00000500000000000000" pitchFamily="50" charset="0"/>
                <a:ea typeface="ＭＳ Ｐゴシック" charset="-128"/>
                <a:cs typeface="Arial" panose="020B0604020202020204" pitchFamily="34" charset="0"/>
              </a:rPr>
              <a:t>Stage 2 (SA2, SA6,…)</a:t>
            </a:r>
          </a:p>
        </p:txBody>
      </p:sp>
      <p:sp>
        <p:nvSpPr>
          <p:cNvPr id="22" name="Chevron 60">
            <a:extLst>
              <a:ext uri="{FF2B5EF4-FFF2-40B4-BE49-F238E27FC236}">
                <a16:creationId xmlns:a16="http://schemas.microsoft.com/office/drawing/2014/main" id="{6099E5EE-1EC1-FC56-EC39-3EDB3A376C69}"/>
              </a:ext>
            </a:extLst>
          </p:cNvPr>
          <p:cNvSpPr/>
          <p:nvPr/>
        </p:nvSpPr>
        <p:spPr bwMode="auto">
          <a:xfrm>
            <a:off x="4249740" y="3794127"/>
            <a:ext cx="4014787" cy="207963"/>
          </a:xfrm>
          <a:prstGeom prst="chevron">
            <a:avLst/>
          </a:prstGeom>
          <a:gradFill>
            <a:gsLst>
              <a:gs pos="12000">
                <a:schemeClr val="accent3">
                  <a:lumMod val="40000"/>
                  <a:lumOff val="60000"/>
                </a:schemeClr>
              </a:gs>
              <a:gs pos="60000">
                <a:srgbClr val="92D050"/>
              </a:gs>
              <a:gs pos="83000">
                <a:srgbClr val="92D050"/>
              </a:gs>
              <a:gs pos="100000">
                <a:srgbClr val="92D050"/>
              </a:gs>
            </a:gsLst>
            <a:lin ang="3600000" scaled="0"/>
          </a:gradFill>
          <a:ln w="9525" cap="flat" cmpd="sng" algn="ctr">
            <a:noFill/>
            <a:prstDash val="solid"/>
            <a:round/>
            <a:headEnd type="none" w="med" len="med"/>
            <a:tailEnd type="none" w="med" len="med"/>
          </a:ln>
          <a:effectLst/>
        </p:spPr>
        <p:txBody>
          <a:bodyPr lIns="0" rIns="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Montserrat" panose="00000500000000000000" pitchFamily="50" charset="0"/>
                <a:ea typeface="ＭＳ Ｐゴシック" charset="-128"/>
                <a:cs typeface="Arial" panose="020B0604020202020204" pitchFamily="34" charset="0"/>
              </a:rPr>
              <a:t>RAN </a:t>
            </a:r>
            <a:r>
              <a:rPr kumimoji="0" lang="fr-FR" sz="900" b="0" i="0" u="none" strike="noStrike" kern="1200" cap="none" spc="0" normalizeH="0" baseline="0" noProof="0" dirty="0" err="1">
                <a:ln>
                  <a:noFill/>
                </a:ln>
                <a:solidFill>
                  <a:prstClr val="black"/>
                </a:solidFill>
                <a:effectLst/>
                <a:uLnTx/>
                <a:uFillTx/>
                <a:latin typeface="Montserrat" panose="00000500000000000000" pitchFamily="50" charset="0"/>
                <a:ea typeface="ＭＳ Ｐゴシック" charset="-128"/>
                <a:cs typeface="Arial" panose="020B0604020202020204" pitchFamily="34" charset="0"/>
              </a:rPr>
              <a:t>Completion</a:t>
            </a:r>
            <a:r>
              <a:rPr kumimoji="0" lang="fr-FR" sz="900" b="0" i="0" u="none" strike="noStrike" kern="1200" cap="none" spc="0" normalizeH="0" baseline="0" noProof="0" dirty="0">
                <a:ln>
                  <a:noFill/>
                </a:ln>
                <a:solidFill>
                  <a:prstClr val="black"/>
                </a:solidFill>
                <a:effectLst/>
                <a:uLnTx/>
                <a:uFillTx/>
                <a:latin typeface="Montserrat" panose="00000500000000000000" pitchFamily="50" charset="0"/>
                <a:ea typeface="ＭＳ Ｐゴシック" charset="-128"/>
                <a:cs typeface="Arial" panose="020B0604020202020204" pitchFamily="34" charset="0"/>
              </a:rPr>
              <a:t> (RAN2/3/4core)</a:t>
            </a:r>
          </a:p>
        </p:txBody>
      </p:sp>
      <p:sp>
        <p:nvSpPr>
          <p:cNvPr id="25" name="Chevron 58">
            <a:extLst>
              <a:ext uri="{FF2B5EF4-FFF2-40B4-BE49-F238E27FC236}">
                <a16:creationId xmlns:a16="http://schemas.microsoft.com/office/drawing/2014/main" id="{EB9DB462-C1DC-12C6-9F08-8C252CBB2D19}"/>
              </a:ext>
            </a:extLst>
          </p:cNvPr>
          <p:cNvSpPr/>
          <p:nvPr/>
        </p:nvSpPr>
        <p:spPr bwMode="auto">
          <a:xfrm>
            <a:off x="6665913" y="4349752"/>
            <a:ext cx="2386012" cy="239713"/>
          </a:xfrm>
          <a:prstGeom prst="chevron">
            <a:avLst/>
          </a:prstGeom>
          <a:gradFill>
            <a:gsLst>
              <a:gs pos="1770">
                <a:schemeClr val="bg1"/>
              </a:gs>
              <a:gs pos="22000">
                <a:schemeClr val="accent5">
                  <a:lumMod val="60000"/>
                  <a:lumOff val="40000"/>
                </a:schemeClr>
              </a:gs>
              <a:gs pos="100000">
                <a:schemeClr val="accent5">
                  <a:lumMod val="75000"/>
                </a:schemeClr>
              </a:gs>
            </a:gsLst>
            <a:lin ang="1800000" scaled="0"/>
          </a:gradFill>
          <a:ln w="9525" cap="flat" cmpd="sng" algn="ctr">
            <a:noFill/>
            <a:prstDash val="solid"/>
            <a:round/>
            <a:headEnd type="none" w="med" len="med"/>
            <a:tailEnd type="none" w="med" len="med"/>
          </a:ln>
          <a:effectLst/>
        </p:spPr>
        <p:txBody>
          <a:bodyPr lIns="0" rIns="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1200" cap="none" spc="0" normalizeH="0" baseline="0" noProof="0" dirty="0">
                <a:ln>
                  <a:noFill/>
                </a:ln>
                <a:solidFill>
                  <a:prstClr val="black"/>
                </a:solidFill>
                <a:effectLst/>
                <a:uLnTx/>
                <a:uFillTx/>
                <a:latin typeface="Montserrat" panose="00000500000000000000" pitchFamily="50" charset="0"/>
                <a:ea typeface="ＭＳ Ｐゴシック" charset="-128"/>
                <a:cs typeface="Arial" panose="020B0604020202020204" pitchFamily="34" charset="0"/>
              </a:rPr>
              <a:t>ASN.1 &amp; Open APIs </a:t>
            </a:r>
          </a:p>
        </p:txBody>
      </p:sp>
      <p:sp>
        <p:nvSpPr>
          <p:cNvPr id="3" name="Chevron 60">
            <a:extLst>
              <a:ext uri="{FF2B5EF4-FFF2-40B4-BE49-F238E27FC236}">
                <a16:creationId xmlns:a16="http://schemas.microsoft.com/office/drawing/2014/main" id="{5FF73C6F-B5FD-E239-A6B8-FF2F11D6CB68}"/>
              </a:ext>
            </a:extLst>
          </p:cNvPr>
          <p:cNvSpPr>
            <a:spLocks noChangeArrowheads="1"/>
          </p:cNvSpPr>
          <p:nvPr/>
        </p:nvSpPr>
        <p:spPr bwMode="auto">
          <a:xfrm>
            <a:off x="2589213" y="2859090"/>
            <a:ext cx="1047750" cy="280987"/>
          </a:xfrm>
          <a:prstGeom prst="chevron">
            <a:avLst>
              <a:gd name="adj" fmla="val 49975"/>
            </a:avLst>
          </a:prstGeom>
          <a:gradFill flip="none" rotWithShape="1">
            <a:gsLst>
              <a:gs pos="12000">
                <a:schemeClr val="bg1"/>
              </a:gs>
              <a:gs pos="60000">
                <a:srgbClr val="31859C"/>
              </a:gs>
              <a:gs pos="83000">
                <a:srgbClr val="31859C"/>
              </a:gs>
              <a:gs pos="100000">
                <a:srgbClr val="31859C"/>
              </a:gs>
            </a:gsLst>
            <a:lin ang="3600000" scaled="0"/>
            <a:tileRect/>
          </a:gradFill>
          <a:ln>
            <a:noFill/>
          </a:ln>
        </p:spPr>
        <p:txBody>
          <a:bodyPr lIns="0" rIns="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en-US" sz="800" b="0"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anose="020B0604020202020204" pitchFamily="34" charset="0"/>
              </a:rPr>
              <a:t>St.2 Content </a:t>
            </a:r>
            <a:r>
              <a:rPr kumimoji="0" lang="fr-FR" altLang="en-US" sz="800" b="0" i="0" u="none" strike="noStrike" kern="1200" cap="none" spc="0" normalizeH="0" baseline="0" noProof="0" dirty="0" err="1">
                <a:ln>
                  <a:noFill/>
                </a:ln>
                <a:solidFill>
                  <a:prstClr val="black"/>
                </a:solidFill>
                <a:effectLst/>
                <a:uLnTx/>
                <a:uFillTx/>
                <a:latin typeface="Montserrat" panose="00000500000000000000" pitchFamily="50" charset="0"/>
                <a:ea typeface="+mn-ea"/>
                <a:cs typeface="Arial" panose="020B0604020202020204" pitchFamily="34" charset="0"/>
              </a:rPr>
              <a:t>approval</a:t>
            </a:r>
            <a:endParaRPr kumimoji="0" lang="fr-FR" altLang="en-US" sz="800" b="0"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anose="020B0604020202020204" pitchFamily="34" charset="0"/>
            </a:endParaRPr>
          </a:p>
        </p:txBody>
      </p:sp>
      <p:sp>
        <p:nvSpPr>
          <p:cNvPr id="6204" name="TextBox 7">
            <a:extLst>
              <a:ext uri="{FF2B5EF4-FFF2-40B4-BE49-F238E27FC236}">
                <a16:creationId xmlns:a16="http://schemas.microsoft.com/office/drawing/2014/main" id="{314947EC-9D17-2005-9D06-4881E3037E10}"/>
              </a:ext>
            </a:extLst>
          </p:cNvPr>
          <p:cNvSpPr txBox="1">
            <a:spLocks noChangeArrowheads="1"/>
          </p:cNvSpPr>
          <p:nvPr/>
        </p:nvSpPr>
        <p:spPr bwMode="auto">
          <a:xfrm>
            <a:off x="2090738" y="2852740"/>
            <a:ext cx="5826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en-US" sz="6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SA Rel-19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en-US" sz="6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Workshop</a:t>
            </a:r>
          </a:p>
        </p:txBody>
      </p:sp>
      <p:sp>
        <p:nvSpPr>
          <p:cNvPr id="6205" name="TextBox 86">
            <a:extLst>
              <a:ext uri="{FF2B5EF4-FFF2-40B4-BE49-F238E27FC236}">
                <a16:creationId xmlns:a16="http://schemas.microsoft.com/office/drawing/2014/main" id="{994C961A-1AA8-E5D3-DDF8-ACD14588CD87}"/>
              </a:ext>
            </a:extLst>
          </p:cNvPr>
          <p:cNvSpPr txBox="1">
            <a:spLocks noChangeArrowheads="1"/>
          </p:cNvSpPr>
          <p:nvPr/>
        </p:nvSpPr>
        <p:spPr bwMode="auto">
          <a:xfrm>
            <a:off x="2098675" y="1719265"/>
            <a:ext cx="5715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Blip>
                <a:blip r:embed="rId2"/>
              </a:buBlip>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Clr>
                <a:srgbClr val="C00000"/>
              </a:buClr>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rPr>
              <a:t>TSG#100</a:t>
            </a:r>
            <a:endParaRPr kumimoji="0" lang="en-GB" altLang="en-US" sz="400" b="0" i="0" u="none" strike="noStrike" kern="1200" cap="none" spc="0" normalizeH="0" baseline="0" noProof="0">
              <a:ln>
                <a:noFill/>
              </a:ln>
              <a:solidFill>
                <a:prstClr val="black"/>
              </a:solidFill>
              <a:effectLst/>
              <a:uLnTx/>
              <a:uFillTx/>
              <a:latin typeface="Montserrat" panose="00000500000000000000" pitchFamily="2" charset="0"/>
              <a:ea typeface="MS PGothic" panose="020B0600070205080204" pitchFamily="34" charset="-128"/>
              <a:cs typeface="Arial" panose="020B0604020202020204" pitchFamily="34" charset="0"/>
            </a:endParaRPr>
          </a:p>
        </p:txBody>
      </p:sp>
      <p:sp>
        <p:nvSpPr>
          <p:cNvPr id="6206" name="TextBox 60">
            <a:extLst>
              <a:ext uri="{FF2B5EF4-FFF2-40B4-BE49-F238E27FC236}">
                <a16:creationId xmlns:a16="http://schemas.microsoft.com/office/drawing/2014/main" id="{A91F0116-218D-F6E1-00ED-F49942906370}"/>
              </a:ext>
            </a:extLst>
          </p:cNvPr>
          <p:cNvSpPr txBox="1">
            <a:spLocks noChangeArrowheads="1"/>
          </p:cNvSpPr>
          <p:nvPr/>
        </p:nvSpPr>
        <p:spPr bwMode="auto">
          <a:xfrm>
            <a:off x="2273300" y="1822452"/>
            <a:ext cx="3429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500"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rPr>
              <a:t>June</a:t>
            </a:r>
          </a:p>
        </p:txBody>
      </p:sp>
      <p:cxnSp>
        <p:nvCxnSpPr>
          <p:cNvPr id="28" name="Straight Connector 114">
            <a:extLst>
              <a:ext uri="{FF2B5EF4-FFF2-40B4-BE49-F238E27FC236}">
                <a16:creationId xmlns:a16="http://schemas.microsoft.com/office/drawing/2014/main" id="{C6EF3036-DE08-85CE-76E5-5F9EAB20A1BD}"/>
              </a:ext>
            </a:extLst>
          </p:cNvPr>
          <p:cNvCxnSpPr>
            <a:cxnSpLocks noChangeShapeType="1"/>
          </p:cNvCxnSpPr>
          <p:nvPr/>
        </p:nvCxnSpPr>
        <p:spPr bwMode="auto">
          <a:xfrm>
            <a:off x="2389188" y="1935165"/>
            <a:ext cx="0" cy="3806825"/>
          </a:xfrm>
          <a:prstGeom prst="line">
            <a:avLst/>
          </a:prstGeom>
          <a:noFill/>
          <a:ln w="9525" algn="ctr">
            <a:solidFill>
              <a:schemeClr val="accent3"/>
            </a:solidFill>
            <a:prstDash val="dash"/>
            <a:round/>
            <a:headEnd/>
            <a:tailEnd/>
          </a:ln>
        </p:spPr>
      </p:cxnSp>
      <p:sp>
        <p:nvSpPr>
          <p:cNvPr id="29" name="TextBox 28">
            <a:extLst>
              <a:ext uri="{FF2B5EF4-FFF2-40B4-BE49-F238E27FC236}">
                <a16:creationId xmlns:a16="http://schemas.microsoft.com/office/drawing/2014/main" id="{B5EAFEEE-E00B-DDFF-CA20-6488D191A00E}"/>
              </a:ext>
            </a:extLst>
          </p:cNvPr>
          <p:cNvSpPr txBox="1"/>
          <p:nvPr/>
        </p:nvSpPr>
        <p:spPr>
          <a:xfrm>
            <a:off x="2427290" y="1468438"/>
            <a:ext cx="485775" cy="24606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2023</a:t>
            </a:r>
          </a:p>
        </p:txBody>
      </p:sp>
      <p:sp>
        <p:nvSpPr>
          <p:cNvPr id="6209" name="Rectangle 12">
            <a:extLst>
              <a:ext uri="{FF2B5EF4-FFF2-40B4-BE49-F238E27FC236}">
                <a16:creationId xmlns:a16="http://schemas.microsoft.com/office/drawing/2014/main" id="{917CA1D6-9337-CEDF-F4F4-00ADD75AA134}"/>
              </a:ext>
            </a:extLst>
          </p:cNvPr>
          <p:cNvSpPr>
            <a:spLocks noChangeArrowheads="1"/>
          </p:cNvSpPr>
          <p:nvPr/>
        </p:nvSpPr>
        <p:spPr bwMode="auto">
          <a:xfrm>
            <a:off x="1355725" y="5630865"/>
            <a:ext cx="8699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Blip>
                <a:blip r:embed="rId2"/>
              </a:buBlip>
              <a:defRPr sz="2800">
                <a:solidFill>
                  <a:schemeClr val="tx1"/>
                </a:solidFill>
                <a:latin typeface="Calibri" panose="020F0502020204030204" pitchFamily="34" charset="0"/>
                <a:ea typeface="MS PGothic" panose="020B0600070205080204" pitchFamily="34" charset="-128"/>
              </a:defRPr>
            </a:lvl1pPr>
            <a:lvl2pPr marL="742950" indent="-285750">
              <a:spcBef>
                <a:spcPct val="20000"/>
              </a:spcBef>
              <a:buClr>
                <a:srgbClr val="C00000"/>
              </a:buClr>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8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Now</a:t>
            </a:r>
          </a:p>
        </p:txBody>
      </p:sp>
      <p:cxnSp>
        <p:nvCxnSpPr>
          <p:cNvPr id="6" name="Straight Connector 114">
            <a:extLst>
              <a:ext uri="{FF2B5EF4-FFF2-40B4-BE49-F238E27FC236}">
                <a16:creationId xmlns:a16="http://schemas.microsoft.com/office/drawing/2014/main" id="{A54E6831-227B-6506-FFB2-53B7D714B02E}"/>
              </a:ext>
            </a:extLst>
          </p:cNvPr>
          <p:cNvCxnSpPr>
            <a:cxnSpLocks noChangeShapeType="1"/>
          </p:cNvCxnSpPr>
          <p:nvPr/>
        </p:nvCxnSpPr>
        <p:spPr bwMode="auto">
          <a:xfrm>
            <a:off x="1828802" y="1935165"/>
            <a:ext cx="3175" cy="3805237"/>
          </a:xfrm>
          <a:prstGeom prst="line">
            <a:avLst/>
          </a:prstGeom>
          <a:ln>
            <a:headEnd/>
            <a:tailEnd/>
          </a:ln>
        </p:spPr>
        <p:style>
          <a:lnRef idx="3">
            <a:schemeClr val="accent2"/>
          </a:lnRef>
          <a:fillRef idx="0">
            <a:schemeClr val="accent2"/>
          </a:fillRef>
          <a:effectRef idx="2">
            <a:schemeClr val="accent2"/>
          </a:effectRef>
          <a:fontRef idx="minor">
            <a:schemeClr val="tx1"/>
          </a:fontRef>
        </p:style>
      </p:cxnSp>
      <p:sp>
        <p:nvSpPr>
          <p:cNvPr id="4" name="Chevron 60">
            <a:extLst>
              <a:ext uri="{FF2B5EF4-FFF2-40B4-BE49-F238E27FC236}">
                <a16:creationId xmlns:a16="http://schemas.microsoft.com/office/drawing/2014/main" id="{56EBA401-3067-1D96-F24A-7AECEF7FEDF5}"/>
              </a:ext>
            </a:extLst>
          </p:cNvPr>
          <p:cNvSpPr/>
          <p:nvPr/>
        </p:nvSpPr>
        <p:spPr bwMode="auto">
          <a:xfrm>
            <a:off x="2844800" y="2041525"/>
            <a:ext cx="731838" cy="222250"/>
          </a:xfrm>
          <a:prstGeom prst="chevron">
            <a:avLst/>
          </a:prstGeom>
          <a:gradFill>
            <a:gsLst>
              <a:gs pos="1770">
                <a:schemeClr val="bg1"/>
              </a:gs>
              <a:gs pos="22000">
                <a:schemeClr val="accent5">
                  <a:lumMod val="60000"/>
                  <a:lumOff val="40000"/>
                </a:schemeClr>
              </a:gs>
              <a:gs pos="100000">
                <a:schemeClr val="accent5">
                  <a:lumMod val="75000"/>
                </a:schemeClr>
              </a:gs>
            </a:gsLst>
            <a:lin ang="1800000" scaled="0"/>
          </a:gradFill>
          <a:ln w="9525" cap="flat" cmpd="sng" algn="ctr">
            <a:noFill/>
            <a:prstDash val="solid"/>
            <a:round/>
            <a:headEnd type="none" w="med" len="med"/>
            <a:tailEnd type="none" w="med" len="med"/>
          </a:ln>
          <a:effectLst/>
        </p:spPr>
        <p:txBody>
          <a:bodyPr lIns="0" rIns="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Montserrat" panose="00000500000000000000" pitchFamily="50" charset="0"/>
                <a:ea typeface="ＭＳ Ｐゴシック" charset="-128"/>
                <a:cs typeface="Arial" panose="020B0604020202020204" pitchFamily="34" charset="0"/>
              </a:rPr>
              <a:t>100%</a:t>
            </a:r>
          </a:p>
        </p:txBody>
      </p:sp>
      <p:sp>
        <p:nvSpPr>
          <p:cNvPr id="14" name="Chevron 60">
            <a:extLst>
              <a:ext uri="{FF2B5EF4-FFF2-40B4-BE49-F238E27FC236}">
                <a16:creationId xmlns:a16="http://schemas.microsoft.com/office/drawing/2014/main" id="{233509FF-A14F-D021-183D-4E7011F5019B}"/>
              </a:ext>
            </a:extLst>
          </p:cNvPr>
          <p:cNvSpPr/>
          <p:nvPr/>
        </p:nvSpPr>
        <p:spPr bwMode="auto">
          <a:xfrm>
            <a:off x="1577977" y="2038350"/>
            <a:ext cx="1395413" cy="222250"/>
          </a:xfrm>
          <a:prstGeom prst="chevron">
            <a:avLst/>
          </a:prstGeom>
          <a:gradFill>
            <a:gsLst>
              <a:gs pos="1770">
                <a:schemeClr val="bg1"/>
              </a:gs>
              <a:gs pos="22000">
                <a:schemeClr val="accent5">
                  <a:lumMod val="60000"/>
                  <a:lumOff val="40000"/>
                </a:schemeClr>
              </a:gs>
              <a:gs pos="100000">
                <a:schemeClr val="accent5">
                  <a:lumMod val="75000"/>
                </a:schemeClr>
              </a:gs>
            </a:gsLst>
            <a:lin ang="1800000" scaled="0"/>
          </a:gradFill>
          <a:ln w="9525" cap="flat" cmpd="sng" algn="ctr">
            <a:noFill/>
            <a:prstDash val="solid"/>
            <a:round/>
            <a:headEnd type="none" w="med" len="med"/>
            <a:tailEnd type="none" w="med" len="med"/>
          </a:ln>
          <a:effectLst/>
        </p:spPr>
        <p:txBody>
          <a:bodyPr lIns="0" rIns="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Montserrat" panose="00000500000000000000" pitchFamily="50" charset="0"/>
                <a:ea typeface="ＭＳ Ｐゴシック" charset="-128"/>
                <a:cs typeface="Arial" panose="020B0604020202020204" pitchFamily="34" charset="0"/>
              </a:rPr>
              <a:t>SA1 Stage 1        80%</a:t>
            </a:r>
          </a:p>
        </p:txBody>
      </p:sp>
      <p:sp>
        <p:nvSpPr>
          <p:cNvPr id="5" name="Title 1">
            <a:extLst>
              <a:ext uri="{FF2B5EF4-FFF2-40B4-BE49-F238E27FC236}">
                <a16:creationId xmlns:a16="http://schemas.microsoft.com/office/drawing/2014/main" id="{87DFE602-F191-397C-16E4-A6D835120C86}"/>
              </a:ext>
            </a:extLst>
          </p:cNvPr>
          <p:cNvSpPr>
            <a:spLocks noGrp="1"/>
          </p:cNvSpPr>
          <p:nvPr>
            <p:ph type="title"/>
          </p:nvPr>
        </p:nvSpPr>
        <p:spPr>
          <a:xfrm>
            <a:off x="2012950" y="228601"/>
            <a:ext cx="6827838" cy="818147"/>
          </a:xfrm>
        </p:spPr>
        <p:txBody>
          <a:bodyPr/>
          <a:lstStyle/>
          <a:p>
            <a:pPr eaLnBrk="1" hangingPunct="1"/>
            <a:r>
              <a:rPr lang="de-DE" altLang="de-DE" b="1" dirty="0"/>
              <a:t>Rel-19 Timeline</a:t>
            </a:r>
          </a:p>
        </p:txBody>
      </p:sp>
    </p:spTree>
    <p:extLst>
      <p:ext uri="{BB962C8B-B14F-4D97-AF65-F5344CB8AC3E}">
        <p14:creationId xmlns:p14="http://schemas.microsoft.com/office/powerpoint/2010/main" val="1029724123"/>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2012950" y="228601"/>
            <a:ext cx="6827838" cy="552635"/>
          </a:xfrm>
        </p:spPr>
        <p:txBody>
          <a:bodyPr/>
          <a:lstStyle/>
          <a:p>
            <a:pPr eaLnBrk="1" hangingPunct="1"/>
            <a:r>
              <a:rPr lang="de-DE" altLang="de-DE" b="1" dirty="0"/>
              <a:t>WG Input to Rel-19 Workshop - 2</a:t>
            </a:r>
          </a:p>
        </p:txBody>
      </p:sp>
      <p:sp>
        <p:nvSpPr>
          <p:cNvPr id="6147" name="Content Placeholder 2"/>
          <p:cNvSpPr>
            <a:spLocks noGrp="1"/>
          </p:cNvSpPr>
          <p:nvPr>
            <p:ph idx="1"/>
          </p:nvPr>
        </p:nvSpPr>
        <p:spPr>
          <a:xfrm>
            <a:off x="539015" y="1158536"/>
            <a:ext cx="9729729" cy="5171243"/>
          </a:xfrm>
        </p:spPr>
        <p:txBody>
          <a:bodyPr/>
          <a:lstStyle/>
          <a:p>
            <a:r>
              <a:rPr lang="en-US" sz="2000" dirty="0"/>
              <a:t>SA/SA2/RAN2 to let SA4 do stage-3 on media related topics. Early indication of potential impact to SA4 is nice-to-have.</a:t>
            </a:r>
          </a:p>
          <a:p>
            <a:r>
              <a:rPr lang="en-US" altLang="zh-CN" sz="2000" dirty="0"/>
              <a:t>SA4 is currently focused on Rel-18 Work and Rel-17 maintenance </a:t>
            </a:r>
          </a:p>
          <a:p>
            <a:r>
              <a:rPr lang="en-US" altLang="zh-CN" sz="2000" dirty="0"/>
              <a:t>SA4 hasn’t started Rel-19 planning. Several topics mentioned but no detailed discussions and conclusions. </a:t>
            </a:r>
            <a:r>
              <a:rPr lang="de-DE" sz="2000" dirty="0"/>
              <a:t>Example of potential larger work topics for SA4:</a:t>
            </a:r>
          </a:p>
          <a:p>
            <a:pPr lvl="1"/>
            <a:endParaRPr lang="de-DE" altLang="zh-CN" sz="1600" dirty="0"/>
          </a:p>
          <a:p>
            <a:pPr marL="457200" lvl="1" indent="0">
              <a:buNone/>
            </a:pPr>
            <a:endParaRPr lang="de-DE" altLang="zh-CN" sz="1600" dirty="0"/>
          </a:p>
          <a:p>
            <a:pPr lvl="1"/>
            <a:endParaRPr lang="de-DE" altLang="zh-CN" sz="1600" dirty="0"/>
          </a:p>
          <a:p>
            <a:pPr lvl="1"/>
            <a:endParaRPr lang="de-DE" altLang="zh-CN" sz="1600" dirty="0"/>
          </a:p>
          <a:p>
            <a:pPr lvl="1"/>
            <a:endParaRPr lang="en-US" altLang="zh-CN" sz="1600" dirty="0"/>
          </a:p>
          <a:p>
            <a:r>
              <a:rPr lang="en-US" altLang="zh-CN" sz="2000" dirty="0"/>
              <a:t>SA4#124 agreed to start Rel-19 discussions from December 2023:</a:t>
            </a:r>
          </a:p>
          <a:p>
            <a:pPr lvl="1"/>
            <a:r>
              <a:rPr lang="de-DE" sz="1800" dirty="0" err="1"/>
              <a:t>Build</a:t>
            </a:r>
            <a:r>
              <a:rPr lang="de-DE" sz="1800" dirty="0"/>
              <a:t> on </a:t>
            </a:r>
            <a:r>
              <a:rPr lang="de-DE" sz="1800" dirty="0" err="1"/>
              <a:t>leftovers</a:t>
            </a:r>
            <a:r>
              <a:rPr lang="de-DE" sz="1800" dirty="0"/>
              <a:t> </a:t>
            </a:r>
            <a:r>
              <a:rPr lang="de-DE" sz="1800" dirty="0" err="1"/>
              <a:t>from</a:t>
            </a:r>
            <a:r>
              <a:rPr lang="de-DE" sz="1800" dirty="0"/>
              <a:t> Rel-18, </a:t>
            </a:r>
            <a:r>
              <a:rPr lang="de-DE" sz="1800" dirty="0" err="1"/>
              <a:t>studies</a:t>
            </a:r>
            <a:r>
              <a:rPr lang="de-DE" sz="1800" dirty="0"/>
              <a:t> </a:t>
            </a:r>
            <a:r>
              <a:rPr lang="de-DE" sz="1800" dirty="0" err="1"/>
              <a:t>from</a:t>
            </a:r>
            <a:r>
              <a:rPr lang="de-DE" sz="1800" dirty="0"/>
              <a:t> Rel-18, </a:t>
            </a:r>
            <a:r>
              <a:rPr lang="de-DE" sz="1800" dirty="0" err="1"/>
              <a:t>as</a:t>
            </a:r>
            <a:r>
              <a:rPr lang="de-DE" sz="1800" dirty="0"/>
              <a:t> </a:t>
            </a:r>
            <a:r>
              <a:rPr lang="de-DE" sz="1800" dirty="0" err="1"/>
              <a:t>well</a:t>
            </a:r>
            <a:r>
              <a:rPr lang="de-DE" sz="1800" dirty="0"/>
              <a:t> </a:t>
            </a:r>
            <a:r>
              <a:rPr lang="de-DE" sz="1800" dirty="0" err="1"/>
              <a:t>as</a:t>
            </a:r>
            <a:r>
              <a:rPr lang="de-DE" sz="1800" dirty="0"/>
              <a:t> </a:t>
            </a:r>
            <a:r>
              <a:rPr lang="de-DE" sz="1800" dirty="0" err="1"/>
              <a:t>work</a:t>
            </a:r>
            <a:r>
              <a:rPr lang="de-DE" sz="1800" dirty="0"/>
              <a:t> </a:t>
            </a:r>
            <a:r>
              <a:rPr lang="de-DE" sz="1800" dirty="0" err="1"/>
              <a:t>topics</a:t>
            </a:r>
            <a:r>
              <a:rPr lang="de-DE" sz="1800" dirty="0"/>
              <a:t> </a:t>
            </a:r>
            <a:r>
              <a:rPr lang="de-DE" sz="1800" dirty="0" err="1"/>
              <a:t>related</a:t>
            </a:r>
            <a:r>
              <a:rPr lang="de-DE" sz="1800" dirty="0"/>
              <a:t> </a:t>
            </a:r>
            <a:r>
              <a:rPr lang="de-DE" sz="1800" dirty="0" err="1"/>
              <a:t>to</a:t>
            </a:r>
            <a:r>
              <a:rPr lang="de-DE" sz="1800" dirty="0"/>
              <a:t> RAN and SA2 </a:t>
            </a:r>
            <a:r>
              <a:rPr lang="de-DE" sz="1800" dirty="0" err="1"/>
              <a:t>work</a:t>
            </a:r>
            <a:endParaRPr lang="de-DE" sz="1800" dirty="0"/>
          </a:p>
          <a:p>
            <a:pPr lvl="1"/>
            <a:r>
              <a:rPr lang="de-DE" sz="1800" dirty="0" err="1"/>
              <a:t>Identify</a:t>
            </a:r>
            <a:r>
              <a:rPr lang="de-DE" sz="1800" dirty="0"/>
              <a:t> substantial </a:t>
            </a:r>
            <a:r>
              <a:rPr lang="de-DE" sz="1800" dirty="0" err="1"/>
              <a:t>new</a:t>
            </a:r>
            <a:r>
              <a:rPr lang="de-DE" sz="1800" dirty="0"/>
              <a:t> </a:t>
            </a:r>
            <a:r>
              <a:rPr lang="de-DE" sz="1800" dirty="0" err="1"/>
              <a:t>work</a:t>
            </a:r>
            <a:r>
              <a:rPr lang="de-DE" sz="1800" dirty="0"/>
              <a:t> </a:t>
            </a:r>
            <a:r>
              <a:rPr lang="de-DE" sz="1800" dirty="0" err="1"/>
              <a:t>topics</a:t>
            </a:r>
            <a:r>
              <a:rPr lang="de-DE" sz="1800" dirty="0"/>
              <a:t> </a:t>
            </a:r>
            <a:r>
              <a:rPr lang="de-DE" sz="1800" dirty="0" err="1"/>
              <a:t>for</a:t>
            </a:r>
            <a:r>
              <a:rPr lang="de-DE" sz="1800" dirty="0"/>
              <a:t> Rel-19. </a:t>
            </a:r>
          </a:p>
          <a:p>
            <a:pPr lvl="1"/>
            <a:r>
              <a:rPr lang="de-DE" sz="1800" dirty="0"/>
              <a:t>Work </a:t>
            </a:r>
            <a:r>
              <a:rPr lang="de-DE" sz="1800" dirty="0" err="1"/>
              <a:t>with</a:t>
            </a:r>
            <a:r>
              <a:rPr lang="de-DE" sz="1800" dirty="0"/>
              <a:t> </a:t>
            </a:r>
            <a:r>
              <a:rPr lang="de-DE" sz="1800" dirty="0" err="1"/>
              <a:t>requirements</a:t>
            </a:r>
            <a:r>
              <a:rPr lang="de-DE" sz="1800" dirty="0"/>
              <a:t> and </a:t>
            </a:r>
            <a:r>
              <a:rPr lang="de-DE" sz="1800" dirty="0" err="1"/>
              <a:t>inputs</a:t>
            </a:r>
            <a:r>
              <a:rPr lang="de-DE" sz="1800" dirty="0"/>
              <a:t> </a:t>
            </a:r>
            <a:r>
              <a:rPr lang="de-DE" sz="1800" dirty="0" err="1"/>
              <a:t>from</a:t>
            </a:r>
            <a:r>
              <a:rPr lang="de-DE" sz="1800" dirty="0"/>
              <a:t> </a:t>
            </a:r>
            <a:r>
              <a:rPr lang="de-DE" sz="1800" dirty="0" err="1"/>
              <a:t>the</a:t>
            </a:r>
            <a:r>
              <a:rPr lang="de-DE" sz="1800" dirty="0"/>
              <a:t> </a:t>
            </a:r>
            <a:r>
              <a:rPr lang="de-DE" sz="1800" dirty="0" err="1"/>
              <a:t>industry</a:t>
            </a:r>
            <a:r>
              <a:rPr lang="de-DE" sz="1800" dirty="0"/>
              <a:t>: 5G-MAG, Metaverse Standards Forum, etc.</a:t>
            </a:r>
            <a:endParaRPr lang="en-US" altLang="zh-CN" sz="2000" dirty="0"/>
          </a:p>
          <a:p>
            <a:pPr marL="457200" lvl="1" indent="0" eaLnBrk="1" hangingPunct="1">
              <a:buNone/>
              <a:defRPr/>
            </a:pPr>
            <a:endParaRPr lang="en-GB" altLang="ko-KR" sz="2000" dirty="0">
              <a:latin typeface="Arial" panose="020B0604020202020204" pitchFamily="34" charset="0"/>
              <a:cs typeface="Arial" panose="020B0604020202020204" pitchFamily="34" charset="0"/>
            </a:endParaRPr>
          </a:p>
        </p:txBody>
      </p:sp>
      <p:graphicFrame>
        <p:nvGraphicFramePr>
          <p:cNvPr id="2" name="Diagram 1">
            <a:extLst>
              <a:ext uri="{FF2B5EF4-FFF2-40B4-BE49-F238E27FC236}">
                <a16:creationId xmlns:a16="http://schemas.microsoft.com/office/drawing/2014/main" id="{0BF0DA8E-A145-27EB-6B9D-E1603E50D299}"/>
              </a:ext>
            </a:extLst>
          </p:cNvPr>
          <p:cNvGraphicFramePr/>
          <p:nvPr/>
        </p:nvGraphicFramePr>
        <p:xfrm>
          <a:off x="1227859" y="2474558"/>
          <a:ext cx="8119342" cy="23337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649357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1A7F279-630F-BE11-FDAB-F0E4473E099A}"/>
              </a:ext>
            </a:extLst>
          </p:cNvPr>
          <p:cNvSpPr>
            <a:spLocks noGrp="1"/>
          </p:cNvSpPr>
          <p:nvPr>
            <p:ph type="ftr" sz="quarter" idx="10"/>
          </p:nvPr>
        </p:nvSpPr>
        <p:spPr/>
        <p:txBody>
          <a:bodyPr/>
          <a:lstStyle/>
          <a:p>
            <a:pPr marL="0" marR="0" lvl="0" indent="0" algn="l" defTabSz="685800" rtl="0" eaLnBrk="1" fontAlgn="auto" latinLnBrk="0" hangingPunct="1">
              <a:lnSpc>
                <a:spcPct val="96000"/>
              </a:lnSpc>
              <a:spcBef>
                <a:spcPts val="0"/>
              </a:spcBef>
              <a:spcAft>
                <a:spcPts val="225"/>
              </a:spcAft>
              <a:buClr>
                <a:srgbClr val="3253DC"/>
              </a:buClr>
              <a:buSzTx/>
              <a:buFont typeface="Arial" panose="020B0604020202020204" pitchFamily="34" charset="0"/>
              <a:buNone/>
              <a:tabLst/>
              <a:defRPr/>
            </a:pPr>
            <a:r>
              <a:rPr kumimoji="0" lang="en-US" sz="800" b="0" i="0" u="none" strike="noStrike" kern="1200" cap="none" spc="0" normalizeH="0" baseline="0" noProof="0">
                <a:ln>
                  <a:noFill/>
                </a:ln>
                <a:solidFill>
                  <a:srgbClr val="4A5A75">
                    <a:lumMod val="60000"/>
                    <a:lumOff val="40000"/>
                  </a:srgbClr>
                </a:solidFill>
                <a:effectLst/>
                <a:uLnTx/>
                <a:uFillTx/>
                <a:latin typeface="Microsoft Sans Serif"/>
                <a:ea typeface="+mn-ea"/>
                <a:cs typeface="+mn-cs"/>
              </a:rPr>
              <a:t>Media Web Symposium 2023</a:t>
            </a:r>
            <a:endParaRPr kumimoji="0" lang="en-US" sz="800" b="0" i="0" u="none" strike="noStrike" kern="1200" cap="none" spc="0" normalizeH="0" baseline="0" noProof="0" dirty="0">
              <a:ln>
                <a:noFill/>
              </a:ln>
              <a:solidFill>
                <a:srgbClr val="4A5A75">
                  <a:lumMod val="60000"/>
                  <a:lumOff val="40000"/>
                </a:srgbClr>
              </a:solidFill>
              <a:effectLst/>
              <a:uLnTx/>
              <a:uFillTx/>
              <a:latin typeface="Microsoft Sans Serif"/>
              <a:ea typeface="+mn-ea"/>
              <a:cs typeface="+mn-cs"/>
            </a:endParaRPr>
          </a:p>
        </p:txBody>
      </p:sp>
      <p:sp>
        <p:nvSpPr>
          <p:cNvPr id="3" name="Title 2">
            <a:extLst>
              <a:ext uri="{FF2B5EF4-FFF2-40B4-BE49-F238E27FC236}">
                <a16:creationId xmlns:a16="http://schemas.microsoft.com/office/drawing/2014/main" id="{4B6B8E68-F04C-CD7C-39A4-B0246B1DC7D0}"/>
              </a:ext>
            </a:extLst>
          </p:cNvPr>
          <p:cNvSpPr>
            <a:spLocks noGrp="1"/>
          </p:cNvSpPr>
          <p:nvPr>
            <p:ph type="title"/>
          </p:nvPr>
        </p:nvSpPr>
        <p:spPr>
          <a:xfrm>
            <a:off x="495300" y="642644"/>
            <a:ext cx="11187112" cy="361959"/>
          </a:xfrm>
        </p:spPr>
        <p:txBody>
          <a:bodyPr/>
          <a:lstStyle/>
          <a:p>
            <a:r>
              <a:rPr lang="de-DE" dirty="0"/>
              <a:t>Trends &amp; News</a:t>
            </a:r>
            <a:endParaRPr lang="en-US" dirty="0"/>
          </a:p>
        </p:txBody>
      </p:sp>
      <p:sp>
        <p:nvSpPr>
          <p:cNvPr id="5" name="Subtitle 4">
            <a:extLst>
              <a:ext uri="{FF2B5EF4-FFF2-40B4-BE49-F238E27FC236}">
                <a16:creationId xmlns:a16="http://schemas.microsoft.com/office/drawing/2014/main" id="{DC97C319-0A29-5B2D-9EE0-83410A2878C6}"/>
              </a:ext>
            </a:extLst>
          </p:cNvPr>
          <p:cNvSpPr>
            <a:spLocks noGrp="1"/>
          </p:cNvSpPr>
          <p:nvPr>
            <p:ph type="subTitle" idx="1"/>
          </p:nvPr>
        </p:nvSpPr>
        <p:spPr/>
        <p:txBody>
          <a:bodyPr/>
          <a:lstStyle/>
          <a:p>
            <a:r>
              <a:rPr lang="de-DE" dirty="0"/>
              <a:t>Collected from Sandvine report, Bitmovin Developer report and Will Law from Akamai</a:t>
            </a:r>
            <a:endParaRPr lang="en-US" dirty="0"/>
          </a:p>
        </p:txBody>
      </p:sp>
      <p:pic>
        <p:nvPicPr>
          <p:cNvPr id="7" name="Picture 6">
            <a:extLst>
              <a:ext uri="{FF2B5EF4-FFF2-40B4-BE49-F238E27FC236}">
                <a16:creationId xmlns:a16="http://schemas.microsoft.com/office/drawing/2014/main" id="{D2595AE3-7EF0-15C2-5C73-E16B9373D6B8}"/>
              </a:ext>
            </a:extLst>
          </p:cNvPr>
          <p:cNvPicPr>
            <a:picLocks noChangeAspect="1"/>
          </p:cNvPicPr>
          <p:nvPr/>
        </p:nvPicPr>
        <p:blipFill>
          <a:blip r:embed="rId2"/>
          <a:stretch>
            <a:fillRect/>
          </a:stretch>
        </p:blipFill>
        <p:spPr>
          <a:xfrm>
            <a:off x="269060" y="1408014"/>
            <a:ext cx="5298205" cy="2430692"/>
          </a:xfrm>
          <a:prstGeom prst="rect">
            <a:avLst/>
          </a:prstGeom>
        </p:spPr>
      </p:pic>
      <p:pic>
        <p:nvPicPr>
          <p:cNvPr id="9" name="Picture 8">
            <a:hlinkClick r:id="rId3"/>
            <a:extLst>
              <a:ext uri="{FF2B5EF4-FFF2-40B4-BE49-F238E27FC236}">
                <a16:creationId xmlns:a16="http://schemas.microsoft.com/office/drawing/2014/main" id="{C7B7429F-D803-5E14-CC18-1502FCE306B6}"/>
              </a:ext>
            </a:extLst>
          </p:cNvPr>
          <p:cNvPicPr>
            <a:picLocks noChangeAspect="1"/>
          </p:cNvPicPr>
          <p:nvPr/>
        </p:nvPicPr>
        <p:blipFill>
          <a:blip r:embed="rId4"/>
          <a:stretch>
            <a:fillRect/>
          </a:stretch>
        </p:blipFill>
        <p:spPr>
          <a:xfrm>
            <a:off x="3402669" y="150044"/>
            <a:ext cx="2437153" cy="880381"/>
          </a:xfrm>
          <a:prstGeom prst="rect">
            <a:avLst/>
          </a:prstGeom>
        </p:spPr>
      </p:pic>
      <p:pic>
        <p:nvPicPr>
          <p:cNvPr id="11" name="Picture 10">
            <a:hlinkClick r:id="rId5"/>
            <a:extLst>
              <a:ext uri="{FF2B5EF4-FFF2-40B4-BE49-F238E27FC236}">
                <a16:creationId xmlns:a16="http://schemas.microsoft.com/office/drawing/2014/main" id="{02CBDBCB-1B98-614A-B0A0-D0C0FA1CAC40}"/>
              </a:ext>
            </a:extLst>
          </p:cNvPr>
          <p:cNvPicPr>
            <a:picLocks noChangeAspect="1"/>
          </p:cNvPicPr>
          <p:nvPr/>
        </p:nvPicPr>
        <p:blipFill>
          <a:blip r:embed="rId6"/>
          <a:stretch>
            <a:fillRect/>
          </a:stretch>
        </p:blipFill>
        <p:spPr>
          <a:xfrm>
            <a:off x="5976005" y="150044"/>
            <a:ext cx="1007505" cy="896333"/>
          </a:xfrm>
          <a:prstGeom prst="rect">
            <a:avLst/>
          </a:prstGeom>
        </p:spPr>
      </p:pic>
      <p:pic>
        <p:nvPicPr>
          <p:cNvPr id="17" name="Picture 16">
            <a:extLst>
              <a:ext uri="{FF2B5EF4-FFF2-40B4-BE49-F238E27FC236}">
                <a16:creationId xmlns:a16="http://schemas.microsoft.com/office/drawing/2014/main" id="{E5FDD642-5638-EEB6-FEAF-F05A82C58F08}"/>
              </a:ext>
            </a:extLst>
          </p:cNvPr>
          <p:cNvPicPr>
            <a:picLocks noChangeAspect="1"/>
          </p:cNvPicPr>
          <p:nvPr/>
        </p:nvPicPr>
        <p:blipFill>
          <a:blip r:embed="rId7"/>
          <a:stretch>
            <a:fillRect/>
          </a:stretch>
        </p:blipFill>
        <p:spPr>
          <a:xfrm>
            <a:off x="269060" y="3880489"/>
            <a:ext cx="1306279" cy="2926568"/>
          </a:xfrm>
          <a:prstGeom prst="rect">
            <a:avLst/>
          </a:prstGeom>
        </p:spPr>
      </p:pic>
      <p:pic>
        <p:nvPicPr>
          <p:cNvPr id="19" name="Picture 18">
            <a:extLst>
              <a:ext uri="{FF2B5EF4-FFF2-40B4-BE49-F238E27FC236}">
                <a16:creationId xmlns:a16="http://schemas.microsoft.com/office/drawing/2014/main" id="{4CB6661B-816F-8A30-7B87-ADA687C8A49F}"/>
              </a:ext>
            </a:extLst>
          </p:cNvPr>
          <p:cNvPicPr>
            <a:picLocks noChangeAspect="1"/>
          </p:cNvPicPr>
          <p:nvPr/>
        </p:nvPicPr>
        <p:blipFill>
          <a:blip r:embed="rId8"/>
          <a:stretch>
            <a:fillRect/>
          </a:stretch>
        </p:blipFill>
        <p:spPr>
          <a:xfrm>
            <a:off x="1670516" y="3873357"/>
            <a:ext cx="1876425" cy="2933700"/>
          </a:xfrm>
          <a:prstGeom prst="rect">
            <a:avLst/>
          </a:prstGeom>
        </p:spPr>
      </p:pic>
      <p:pic>
        <p:nvPicPr>
          <p:cNvPr id="21" name="Picture 20">
            <a:extLst>
              <a:ext uri="{FF2B5EF4-FFF2-40B4-BE49-F238E27FC236}">
                <a16:creationId xmlns:a16="http://schemas.microsoft.com/office/drawing/2014/main" id="{38AAF56E-0D61-DBB0-0456-7E67A21F7AE4}"/>
              </a:ext>
            </a:extLst>
          </p:cNvPr>
          <p:cNvPicPr>
            <a:picLocks noChangeAspect="1"/>
          </p:cNvPicPr>
          <p:nvPr/>
        </p:nvPicPr>
        <p:blipFill>
          <a:blip r:embed="rId9"/>
          <a:stretch>
            <a:fillRect/>
          </a:stretch>
        </p:blipFill>
        <p:spPr>
          <a:xfrm>
            <a:off x="3613896" y="3866638"/>
            <a:ext cx="2057305" cy="2937308"/>
          </a:xfrm>
          <a:prstGeom prst="rect">
            <a:avLst/>
          </a:prstGeom>
        </p:spPr>
      </p:pic>
      <p:pic>
        <p:nvPicPr>
          <p:cNvPr id="23" name="Picture 22">
            <a:extLst>
              <a:ext uri="{FF2B5EF4-FFF2-40B4-BE49-F238E27FC236}">
                <a16:creationId xmlns:a16="http://schemas.microsoft.com/office/drawing/2014/main" id="{47434C88-532E-1BBD-738C-25D854A935AD}"/>
              </a:ext>
            </a:extLst>
          </p:cNvPr>
          <p:cNvPicPr>
            <a:picLocks noChangeAspect="1"/>
          </p:cNvPicPr>
          <p:nvPr/>
        </p:nvPicPr>
        <p:blipFill>
          <a:blip r:embed="rId10"/>
          <a:stretch>
            <a:fillRect/>
          </a:stretch>
        </p:blipFill>
        <p:spPr>
          <a:xfrm>
            <a:off x="5671201" y="1497202"/>
            <a:ext cx="3418321" cy="1882592"/>
          </a:xfrm>
          <a:prstGeom prst="rect">
            <a:avLst/>
          </a:prstGeom>
        </p:spPr>
      </p:pic>
      <p:pic>
        <p:nvPicPr>
          <p:cNvPr id="25" name="Picture 24">
            <a:extLst>
              <a:ext uri="{FF2B5EF4-FFF2-40B4-BE49-F238E27FC236}">
                <a16:creationId xmlns:a16="http://schemas.microsoft.com/office/drawing/2014/main" id="{964CCF8B-08AA-938D-1988-C1D062127767}"/>
              </a:ext>
            </a:extLst>
          </p:cNvPr>
          <p:cNvPicPr>
            <a:picLocks noChangeAspect="1"/>
          </p:cNvPicPr>
          <p:nvPr/>
        </p:nvPicPr>
        <p:blipFill>
          <a:blip r:embed="rId11"/>
          <a:stretch>
            <a:fillRect/>
          </a:stretch>
        </p:blipFill>
        <p:spPr>
          <a:xfrm>
            <a:off x="7119693" y="143293"/>
            <a:ext cx="1613469" cy="923963"/>
          </a:xfrm>
          <a:prstGeom prst="rect">
            <a:avLst/>
          </a:prstGeom>
        </p:spPr>
      </p:pic>
      <p:pic>
        <p:nvPicPr>
          <p:cNvPr id="27" name="Picture 26">
            <a:extLst>
              <a:ext uri="{FF2B5EF4-FFF2-40B4-BE49-F238E27FC236}">
                <a16:creationId xmlns:a16="http://schemas.microsoft.com/office/drawing/2014/main" id="{8145BEE2-D730-6F4D-557A-213DEAA77EFF}"/>
              </a:ext>
            </a:extLst>
          </p:cNvPr>
          <p:cNvPicPr>
            <a:picLocks noChangeAspect="1"/>
          </p:cNvPicPr>
          <p:nvPr/>
        </p:nvPicPr>
        <p:blipFill>
          <a:blip r:embed="rId12"/>
          <a:stretch>
            <a:fillRect/>
          </a:stretch>
        </p:blipFill>
        <p:spPr>
          <a:xfrm>
            <a:off x="9156175" y="544636"/>
            <a:ext cx="2950346" cy="1045240"/>
          </a:xfrm>
          <a:prstGeom prst="rect">
            <a:avLst/>
          </a:prstGeom>
        </p:spPr>
      </p:pic>
      <p:pic>
        <p:nvPicPr>
          <p:cNvPr id="29" name="Picture 28">
            <a:extLst>
              <a:ext uri="{FF2B5EF4-FFF2-40B4-BE49-F238E27FC236}">
                <a16:creationId xmlns:a16="http://schemas.microsoft.com/office/drawing/2014/main" id="{9873992F-891A-E35C-BACC-7E76A1D5BE33}"/>
              </a:ext>
            </a:extLst>
          </p:cNvPr>
          <p:cNvPicPr>
            <a:picLocks noChangeAspect="1"/>
          </p:cNvPicPr>
          <p:nvPr/>
        </p:nvPicPr>
        <p:blipFill>
          <a:blip r:embed="rId13"/>
          <a:stretch>
            <a:fillRect/>
          </a:stretch>
        </p:blipFill>
        <p:spPr>
          <a:xfrm>
            <a:off x="9156175" y="1687884"/>
            <a:ext cx="2928249" cy="1855801"/>
          </a:xfrm>
          <a:prstGeom prst="rect">
            <a:avLst/>
          </a:prstGeom>
        </p:spPr>
      </p:pic>
      <p:pic>
        <p:nvPicPr>
          <p:cNvPr id="31" name="Picture 30">
            <a:extLst>
              <a:ext uri="{FF2B5EF4-FFF2-40B4-BE49-F238E27FC236}">
                <a16:creationId xmlns:a16="http://schemas.microsoft.com/office/drawing/2014/main" id="{2A3617D6-A89C-2147-D1C0-C54079665097}"/>
              </a:ext>
            </a:extLst>
          </p:cNvPr>
          <p:cNvPicPr>
            <a:picLocks noChangeAspect="1"/>
          </p:cNvPicPr>
          <p:nvPr/>
        </p:nvPicPr>
        <p:blipFill>
          <a:blip r:embed="rId14"/>
          <a:stretch>
            <a:fillRect/>
          </a:stretch>
        </p:blipFill>
        <p:spPr>
          <a:xfrm>
            <a:off x="5704527" y="3380108"/>
            <a:ext cx="3418321" cy="1713882"/>
          </a:xfrm>
          <a:prstGeom prst="rect">
            <a:avLst/>
          </a:prstGeom>
        </p:spPr>
      </p:pic>
      <p:pic>
        <p:nvPicPr>
          <p:cNvPr id="2050" name="Picture 2" descr="No alternative text description for this image">
            <a:extLst>
              <a:ext uri="{FF2B5EF4-FFF2-40B4-BE49-F238E27FC236}">
                <a16:creationId xmlns:a16="http://schemas.microsoft.com/office/drawing/2014/main" id="{54BEEFF8-1296-9111-AE2E-B0D5310B978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839895" y="4886046"/>
            <a:ext cx="2244529" cy="117276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Google Finally has HEVC Support for Chrome 104 and 105">
            <a:extLst>
              <a:ext uri="{FF2B5EF4-FFF2-40B4-BE49-F238E27FC236}">
                <a16:creationId xmlns:a16="http://schemas.microsoft.com/office/drawing/2014/main" id="{2955406F-F9AE-D4AA-F4A5-EEE97CBD880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122848" y="3522898"/>
            <a:ext cx="2841276" cy="1488118"/>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C31BC043-DEDC-CBCF-01DD-10A3410F07A3}"/>
              </a:ext>
            </a:extLst>
          </p:cNvPr>
          <p:cNvSpPr/>
          <p:nvPr/>
        </p:nvSpPr>
        <p:spPr>
          <a:xfrm>
            <a:off x="833025" y="2480508"/>
            <a:ext cx="2157963" cy="92333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50" normalizeH="0" baseline="0" noProof="0" dirty="0">
                <a:ln w="0"/>
                <a:solidFill>
                  <a:srgbClr val="E71324"/>
                </a:solidFill>
                <a:effectLst>
                  <a:innerShdw blurRad="63500" dist="50800" dir="13500000">
                    <a:srgbClr val="000000">
                      <a:alpha val="50000"/>
                    </a:srgbClr>
                  </a:innerShdw>
                </a:effectLst>
                <a:uLnTx/>
                <a:uFillTx/>
                <a:latin typeface="Microsoft Sans Serif"/>
                <a:ea typeface="+mn-ea"/>
                <a:cs typeface="+mn-cs"/>
              </a:rPr>
              <a:t>Traffic</a:t>
            </a:r>
          </a:p>
        </p:txBody>
      </p:sp>
      <p:sp>
        <p:nvSpPr>
          <p:cNvPr id="35" name="Rectangle 34">
            <a:extLst>
              <a:ext uri="{FF2B5EF4-FFF2-40B4-BE49-F238E27FC236}">
                <a16:creationId xmlns:a16="http://schemas.microsoft.com/office/drawing/2014/main" id="{31A1ED80-8E42-FD9B-9D32-B41989928692}"/>
              </a:ext>
            </a:extLst>
          </p:cNvPr>
          <p:cNvSpPr/>
          <p:nvPr/>
        </p:nvSpPr>
        <p:spPr>
          <a:xfrm>
            <a:off x="3391337" y="5010764"/>
            <a:ext cx="2271776" cy="92333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50" normalizeH="0" baseline="0" noProof="0" dirty="0">
                <a:ln w="0"/>
                <a:solidFill>
                  <a:srgbClr val="E71324"/>
                </a:solidFill>
                <a:effectLst>
                  <a:innerShdw blurRad="63500" dist="50800" dir="13500000">
                    <a:srgbClr val="000000">
                      <a:alpha val="50000"/>
                    </a:srgbClr>
                  </a:innerShdw>
                </a:effectLst>
                <a:uLnTx/>
                <a:uFillTx/>
                <a:latin typeface="Microsoft Sans Serif"/>
                <a:ea typeface="+mn-ea"/>
                <a:cs typeface="+mn-cs"/>
              </a:rPr>
              <a:t>Mobile</a:t>
            </a:r>
          </a:p>
        </p:txBody>
      </p:sp>
      <p:sp>
        <p:nvSpPr>
          <p:cNvPr id="36" name="Rectangle 35">
            <a:extLst>
              <a:ext uri="{FF2B5EF4-FFF2-40B4-BE49-F238E27FC236}">
                <a16:creationId xmlns:a16="http://schemas.microsoft.com/office/drawing/2014/main" id="{DBE24D34-2B2F-25EB-AC64-D36D12A176E9}"/>
              </a:ext>
            </a:extLst>
          </p:cNvPr>
          <p:cNvSpPr/>
          <p:nvPr/>
        </p:nvSpPr>
        <p:spPr>
          <a:xfrm>
            <a:off x="9625945" y="1976833"/>
            <a:ext cx="2223686" cy="92333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5400" b="1" i="0" u="none" strike="noStrike" kern="1200" cap="none" spc="50" normalizeH="0" baseline="0" noProof="0" dirty="0">
                <a:ln w="0"/>
                <a:solidFill>
                  <a:srgbClr val="E71324"/>
                </a:solidFill>
                <a:effectLst>
                  <a:innerShdw blurRad="63500" dist="50800" dir="13500000">
                    <a:srgbClr val="000000">
                      <a:alpha val="50000"/>
                    </a:srgbClr>
                  </a:innerShdw>
                </a:effectLst>
                <a:uLnTx/>
                <a:uFillTx/>
                <a:latin typeface="Microsoft Sans Serif"/>
                <a:ea typeface="+mn-ea"/>
                <a:cs typeface="+mn-cs"/>
              </a:rPr>
              <a:t>S</a:t>
            </a:r>
            <a:r>
              <a:rPr kumimoji="0" lang="en-US" sz="5400" b="1" i="0" u="none" strike="noStrike" kern="1200" cap="none" spc="50" normalizeH="0" baseline="0" noProof="0" dirty="0">
                <a:ln w="0"/>
                <a:solidFill>
                  <a:srgbClr val="E71324"/>
                </a:solidFill>
                <a:effectLst>
                  <a:innerShdw blurRad="63500" dist="50800" dir="13500000">
                    <a:srgbClr val="000000">
                      <a:alpha val="50000"/>
                    </a:srgbClr>
                  </a:innerShdw>
                </a:effectLst>
                <a:uLnTx/>
                <a:uFillTx/>
                <a:latin typeface="Microsoft Sans Serif"/>
                <a:ea typeface="+mn-ea"/>
                <a:cs typeface="+mn-cs"/>
              </a:rPr>
              <a:t>ports</a:t>
            </a:r>
          </a:p>
        </p:txBody>
      </p:sp>
      <p:sp>
        <p:nvSpPr>
          <p:cNvPr id="37" name="Rectangle 36">
            <a:extLst>
              <a:ext uri="{FF2B5EF4-FFF2-40B4-BE49-F238E27FC236}">
                <a16:creationId xmlns:a16="http://schemas.microsoft.com/office/drawing/2014/main" id="{C41212A9-6AD4-D535-CD72-7C9C8AC1A679}"/>
              </a:ext>
            </a:extLst>
          </p:cNvPr>
          <p:cNvSpPr/>
          <p:nvPr/>
        </p:nvSpPr>
        <p:spPr>
          <a:xfrm>
            <a:off x="6235160" y="3708614"/>
            <a:ext cx="2569935" cy="92333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5400" b="1" i="0" u="none" strike="noStrike" kern="1200" cap="none" spc="50" normalizeH="0" baseline="0" noProof="0" dirty="0">
                <a:ln w="0"/>
                <a:solidFill>
                  <a:srgbClr val="E71324"/>
                </a:solidFill>
                <a:effectLst>
                  <a:innerShdw blurRad="63500" dist="50800" dir="13500000">
                    <a:srgbClr val="000000">
                      <a:alpha val="50000"/>
                    </a:srgbClr>
                  </a:innerShdw>
                </a:effectLst>
                <a:uLnTx/>
                <a:uFillTx/>
                <a:latin typeface="Microsoft Sans Serif"/>
                <a:ea typeface="+mn-ea"/>
                <a:cs typeface="+mn-cs"/>
              </a:rPr>
              <a:t>Codecs</a:t>
            </a:r>
            <a:endParaRPr kumimoji="0" lang="en-US" sz="5400" b="1" i="0" u="none" strike="noStrike" kern="1200" cap="none" spc="50" normalizeH="0" baseline="0" noProof="0" dirty="0">
              <a:ln w="0"/>
              <a:solidFill>
                <a:srgbClr val="E71324"/>
              </a:solidFill>
              <a:effectLst>
                <a:innerShdw blurRad="63500" dist="50800" dir="13500000">
                  <a:srgbClr val="000000">
                    <a:alpha val="50000"/>
                  </a:srgbClr>
                </a:innerShdw>
              </a:effectLst>
              <a:uLnTx/>
              <a:uFillTx/>
              <a:latin typeface="Microsoft Sans Serif"/>
              <a:ea typeface="+mn-ea"/>
              <a:cs typeface="+mn-cs"/>
            </a:endParaRPr>
          </a:p>
        </p:txBody>
      </p:sp>
      <p:pic>
        <p:nvPicPr>
          <p:cNvPr id="6" name="Picture 5">
            <a:extLst>
              <a:ext uri="{FF2B5EF4-FFF2-40B4-BE49-F238E27FC236}">
                <a16:creationId xmlns:a16="http://schemas.microsoft.com/office/drawing/2014/main" id="{4F8C6C5E-E8A3-0777-31BC-2C5780D3D0DE}"/>
              </a:ext>
            </a:extLst>
          </p:cNvPr>
          <p:cNvPicPr>
            <a:picLocks noChangeAspect="1"/>
          </p:cNvPicPr>
          <p:nvPr/>
        </p:nvPicPr>
        <p:blipFill>
          <a:blip r:embed="rId17"/>
          <a:stretch>
            <a:fillRect/>
          </a:stretch>
        </p:blipFill>
        <p:spPr>
          <a:xfrm>
            <a:off x="5712013" y="4959340"/>
            <a:ext cx="4274475" cy="1880280"/>
          </a:xfrm>
          <a:prstGeom prst="rect">
            <a:avLst/>
          </a:prstGeom>
        </p:spPr>
      </p:pic>
      <p:sp>
        <p:nvSpPr>
          <p:cNvPr id="38" name="Rectangle 37">
            <a:extLst>
              <a:ext uri="{FF2B5EF4-FFF2-40B4-BE49-F238E27FC236}">
                <a16:creationId xmlns:a16="http://schemas.microsoft.com/office/drawing/2014/main" id="{B77748FC-9229-1D73-5C22-BB161F4822FB}"/>
              </a:ext>
            </a:extLst>
          </p:cNvPr>
          <p:cNvSpPr/>
          <p:nvPr/>
        </p:nvSpPr>
        <p:spPr>
          <a:xfrm>
            <a:off x="5839822" y="5851699"/>
            <a:ext cx="4195379" cy="92333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5400" b="1" i="0" u="none" strike="noStrike" kern="1200" cap="none" spc="50" normalizeH="0" baseline="0" noProof="0" dirty="0">
                <a:ln w="0"/>
                <a:solidFill>
                  <a:srgbClr val="E71324"/>
                </a:solidFill>
                <a:effectLst>
                  <a:innerShdw blurRad="63500" dist="50800" dir="13500000">
                    <a:srgbClr val="000000">
                      <a:alpha val="50000"/>
                    </a:srgbClr>
                  </a:innerShdw>
                </a:effectLst>
                <a:uLnTx/>
                <a:uFillTx/>
                <a:latin typeface="Microsoft Sans Serif"/>
                <a:ea typeface="+mn-ea"/>
                <a:cs typeface="+mn-cs"/>
              </a:rPr>
              <a:t>Monetization</a:t>
            </a:r>
            <a:endParaRPr kumimoji="0" lang="en-US" sz="5400" b="1" i="0" u="none" strike="noStrike" kern="1200" cap="none" spc="50" normalizeH="0" baseline="0" noProof="0" dirty="0">
              <a:ln w="0"/>
              <a:solidFill>
                <a:srgbClr val="E71324"/>
              </a:solidFill>
              <a:effectLst>
                <a:innerShdw blurRad="63500" dist="50800" dir="13500000">
                  <a:srgbClr val="000000">
                    <a:alpha val="50000"/>
                  </a:srgbClr>
                </a:innerShdw>
              </a:effectLst>
              <a:uLnTx/>
              <a:uFillTx/>
              <a:latin typeface="Microsoft Sans Serif"/>
              <a:ea typeface="+mn-ea"/>
              <a:cs typeface="+mn-cs"/>
            </a:endParaRPr>
          </a:p>
        </p:txBody>
      </p:sp>
    </p:spTree>
    <p:extLst>
      <p:ext uri="{BB962C8B-B14F-4D97-AF65-F5344CB8AC3E}">
        <p14:creationId xmlns:p14="http://schemas.microsoft.com/office/powerpoint/2010/main" val="434215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36" grpId="0"/>
      <p:bldP spid="37" grpId="0"/>
      <p:bldP spid="3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A7E84CD-2034-ACE4-63D3-04C22C8FE11D}"/>
              </a:ext>
            </a:extLst>
          </p:cNvPr>
          <p:cNvSpPr>
            <a:spLocks noGrp="1"/>
          </p:cNvSpPr>
          <p:nvPr>
            <p:ph type="ftr" sz="quarter" idx="10"/>
          </p:nvPr>
        </p:nvSpPr>
        <p:spPr>
          <a:xfrm>
            <a:off x="495299" y="6534114"/>
            <a:ext cx="10489691" cy="116955"/>
          </a:xfrm>
        </p:spPr>
        <p:txBody>
          <a:bodyPr wrap="square" anchor="b">
            <a:normAutofit/>
          </a:bodyPr>
          <a:lstStyle/>
          <a:p>
            <a:r>
              <a:rPr lang="en-US" sz="700"/>
              <a:t>Media Web Symposium 2023</a:t>
            </a:r>
          </a:p>
        </p:txBody>
      </p:sp>
      <p:sp>
        <p:nvSpPr>
          <p:cNvPr id="7" name="Title 6">
            <a:extLst>
              <a:ext uri="{FF2B5EF4-FFF2-40B4-BE49-F238E27FC236}">
                <a16:creationId xmlns:a16="http://schemas.microsoft.com/office/drawing/2014/main" id="{E69B89B4-8763-61FA-DD13-168DBD97E403}"/>
              </a:ext>
            </a:extLst>
          </p:cNvPr>
          <p:cNvSpPr>
            <a:spLocks noGrp="1"/>
          </p:cNvSpPr>
          <p:nvPr>
            <p:ph type="title"/>
          </p:nvPr>
        </p:nvSpPr>
        <p:spPr>
          <a:xfrm>
            <a:off x="495300" y="575576"/>
            <a:ext cx="11187112" cy="429028"/>
          </a:xfrm>
        </p:spPr>
        <p:txBody>
          <a:bodyPr wrap="square" anchor="b">
            <a:normAutofit/>
          </a:bodyPr>
          <a:lstStyle/>
          <a:p>
            <a:r>
              <a:rPr lang="de-DE" sz="3100" dirty="0"/>
              <a:t>Summary &amp; Next Steps</a:t>
            </a:r>
            <a:endParaRPr lang="en-US" sz="3100" dirty="0"/>
          </a:p>
        </p:txBody>
      </p:sp>
      <p:sp>
        <p:nvSpPr>
          <p:cNvPr id="11" name="Text Placeholder 10">
            <a:extLst>
              <a:ext uri="{FF2B5EF4-FFF2-40B4-BE49-F238E27FC236}">
                <a16:creationId xmlns:a16="http://schemas.microsoft.com/office/drawing/2014/main" id="{E2398CF6-560E-2A07-0120-0869AE393F0F}"/>
              </a:ext>
            </a:extLst>
          </p:cNvPr>
          <p:cNvSpPr>
            <a:spLocks noGrp="1"/>
          </p:cNvSpPr>
          <p:nvPr>
            <p:ph type="subTitle" idx="1"/>
          </p:nvPr>
        </p:nvSpPr>
        <p:spPr>
          <a:xfrm>
            <a:off x="494189" y="1088135"/>
            <a:ext cx="11188223" cy="274320"/>
          </a:xfrm>
        </p:spPr>
        <p:txBody>
          <a:bodyPr>
            <a:normAutofit/>
          </a:bodyPr>
          <a:lstStyle/>
          <a:p>
            <a:r>
              <a:rPr lang="de-DE"/>
              <a:t>Join the community of open standards and developments</a:t>
            </a:r>
            <a:endParaRPr lang="en-US"/>
          </a:p>
        </p:txBody>
      </p:sp>
      <p:graphicFrame>
        <p:nvGraphicFramePr>
          <p:cNvPr id="13" name="Content Placeholder 9">
            <a:extLst>
              <a:ext uri="{FF2B5EF4-FFF2-40B4-BE49-F238E27FC236}">
                <a16:creationId xmlns:a16="http://schemas.microsoft.com/office/drawing/2014/main" id="{EC14AF31-EE74-8B07-7EBF-7FC86D0D142D}"/>
              </a:ext>
            </a:extLst>
          </p:cNvPr>
          <p:cNvGraphicFramePr>
            <a:graphicFrameLocks noGrp="1"/>
          </p:cNvGraphicFramePr>
          <p:nvPr>
            <p:ph sz="quarter" idx="14"/>
            <p:extLst>
              <p:ext uri="{D42A27DB-BD31-4B8C-83A1-F6EECF244321}">
                <p14:modId xmlns:p14="http://schemas.microsoft.com/office/powerpoint/2010/main" val="2222908254"/>
              </p:ext>
            </p:extLst>
          </p:nvPr>
        </p:nvGraphicFramePr>
        <p:xfrm>
          <a:off x="495300" y="1719072"/>
          <a:ext cx="11187112" cy="46817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934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242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2CF2FAB-EA79-A156-2AF8-65CDFD988D06}"/>
              </a:ext>
            </a:extLst>
          </p:cNvPr>
          <p:cNvSpPr>
            <a:spLocks noGrp="1"/>
          </p:cNvSpPr>
          <p:nvPr>
            <p:ph type="ftr" sz="quarter" idx="10"/>
          </p:nvPr>
        </p:nvSpPr>
        <p:spPr/>
        <p:txBody>
          <a:bodyPr/>
          <a:lstStyle/>
          <a:p>
            <a:r>
              <a:rPr lang="en-US"/>
              <a:t>Media Web Symposium 2023</a:t>
            </a:r>
            <a:endParaRPr lang="en-US" dirty="0"/>
          </a:p>
        </p:txBody>
      </p:sp>
      <p:sp>
        <p:nvSpPr>
          <p:cNvPr id="3" name="Title 2">
            <a:extLst>
              <a:ext uri="{FF2B5EF4-FFF2-40B4-BE49-F238E27FC236}">
                <a16:creationId xmlns:a16="http://schemas.microsoft.com/office/drawing/2014/main" id="{88AB56E3-EED9-7E84-F034-D5B24943BF52}"/>
              </a:ext>
            </a:extLst>
          </p:cNvPr>
          <p:cNvSpPr>
            <a:spLocks noGrp="1"/>
          </p:cNvSpPr>
          <p:nvPr>
            <p:ph type="title"/>
          </p:nvPr>
        </p:nvSpPr>
        <p:spPr>
          <a:xfrm>
            <a:off x="495300" y="642644"/>
            <a:ext cx="11187112" cy="361959"/>
          </a:xfrm>
        </p:spPr>
        <p:txBody>
          <a:bodyPr/>
          <a:lstStyle/>
          <a:p>
            <a:r>
              <a:rPr lang="de-DE" dirty="0"/>
              <a:t>Rel-16 5G Media Streaming – The Idea</a:t>
            </a:r>
            <a:endParaRPr lang="en-US" dirty="0"/>
          </a:p>
        </p:txBody>
      </p:sp>
      <p:sp>
        <p:nvSpPr>
          <p:cNvPr id="5" name="Subtitle 4">
            <a:extLst>
              <a:ext uri="{FF2B5EF4-FFF2-40B4-BE49-F238E27FC236}">
                <a16:creationId xmlns:a16="http://schemas.microsoft.com/office/drawing/2014/main" id="{D283FFAC-7389-3520-A63E-E23416B5F6E6}"/>
              </a:ext>
            </a:extLst>
          </p:cNvPr>
          <p:cNvSpPr>
            <a:spLocks noGrp="1"/>
          </p:cNvSpPr>
          <p:nvPr>
            <p:ph type="subTitle" idx="1"/>
          </p:nvPr>
        </p:nvSpPr>
        <p:spPr/>
        <p:txBody>
          <a:bodyPr/>
          <a:lstStyle/>
          <a:p>
            <a:endParaRPr lang="en-US"/>
          </a:p>
        </p:txBody>
      </p:sp>
      <p:sp>
        <p:nvSpPr>
          <p:cNvPr id="6" name="Content Placeholder 1">
            <a:extLst>
              <a:ext uri="{FF2B5EF4-FFF2-40B4-BE49-F238E27FC236}">
                <a16:creationId xmlns:a16="http://schemas.microsoft.com/office/drawing/2014/main" id="{64FDE822-26B9-A11F-01A6-866B639EA03C}"/>
              </a:ext>
            </a:extLst>
          </p:cNvPr>
          <p:cNvSpPr txBox="1">
            <a:spLocks/>
          </p:cNvSpPr>
          <p:nvPr/>
        </p:nvSpPr>
        <p:spPr>
          <a:xfrm>
            <a:off x="417513" y="1664996"/>
            <a:ext cx="11774487" cy="4366441"/>
          </a:xfrm>
          <a:prstGeom prst="rect">
            <a:avLst/>
          </a:prstGeom>
        </p:spPr>
        <p:txBody>
          <a:bodyPr vert="horz" lIns="0" tIns="0" rIns="0" bIns="0" rtlCol="0">
            <a:normAutofit/>
          </a:bodyPr>
          <a:lstStyle>
            <a:lvl1pPr marL="171450" indent="-171450" algn="l" defTabSz="914400" rtl="0" eaLnBrk="1" latinLnBrk="0" hangingPunct="1">
              <a:lnSpc>
                <a:spcPct val="95000"/>
              </a:lnSpc>
              <a:spcBef>
                <a:spcPts val="900"/>
              </a:spcBef>
              <a:spcAft>
                <a:spcPts val="300"/>
              </a:spcAft>
              <a:buClrTx/>
              <a:buFont typeface="Arial" panose="020B0604020202020204" pitchFamily="34" charset="0"/>
              <a:buChar char="•"/>
              <a:defRPr sz="2000" kern="1200" baseline="0">
                <a:solidFill>
                  <a:schemeClr val="tx2"/>
                </a:solidFill>
                <a:latin typeface="+mn-lt"/>
                <a:ea typeface="+mn-ea"/>
                <a:cs typeface="+mn-cs"/>
              </a:defRPr>
            </a:lvl1pPr>
            <a:lvl2pPr marL="342900" indent="-152400" algn="l" defTabSz="914400" rtl="0" eaLnBrk="1" latinLnBrk="0" hangingPunct="1">
              <a:lnSpc>
                <a:spcPct val="100000"/>
              </a:lnSpc>
              <a:spcBef>
                <a:spcPts val="225"/>
              </a:spcBef>
              <a:spcAft>
                <a:spcPts val="225"/>
              </a:spcAft>
              <a:buClrTx/>
              <a:buFont typeface="Arial" panose="020B0604020202020204" pitchFamily="34" charset="0"/>
              <a:buChar char="•"/>
              <a:tabLst>
                <a:tab pos="2003425" algn="l"/>
              </a:tabLst>
              <a:defRPr sz="1600" kern="1200" baseline="0">
                <a:solidFill>
                  <a:schemeClr val="tx2"/>
                </a:solidFill>
                <a:latin typeface="+mn-lt"/>
                <a:ea typeface="+mn-ea"/>
                <a:cs typeface="+mn-cs"/>
              </a:defRPr>
            </a:lvl2pPr>
            <a:lvl3pPr marL="457200" indent="-101600" algn="l" defTabSz="914400" rtl="0" eaLnBrk="1" latinLnBrk="0" hangingPunct="1">
              <a:lnSpc>
                <a:spcPct val="105000"/>
              </a:lnSpc>
              <a:spcBef>
                <a:spcPts val="150"/>
              </a:spcBef>
              <a:spcAft>
                <a:spcPts val="150"/>
              </a:spcAft>
              <a:buClrTx/>
              <a:buFont typeface="Arial" panose="020B0604020202020204" pitchFamily="34" charset="0"/>
              <a:buChar char="•"/>
              <a:defRPr lang="en-US" sz="1200" kern="1200" dirty="0" smtClean="0">
                <a:solidFill>
                  <a:schemeClr val="tx2"/>
                </a:solidFill>
                <a:latin typeface="+mn-lt"/>
                <a:ea typeface="+mn-ea"/>
                <a:cs typeface="+mn-cs"/>
              </a:defRPr>
            </a:lvl3pPr>
            <a:lvl4pPr marL="571500" indent="-100584" algn="l" defTabSz="914400" rtl="0" eaLnBrk="1" latinLnBrk="0" hangingPunct="1">
              <a:lnSpc>
                <a:spcPct val="105000"/>
              </a:lnSpc>
              <a:spcBef>
                <a:spcPts val="75"/>
              </a:spcBef>
              <a:spcAft>
                <a:spcPts val="75"/>
              </a:spcAft>
              <a:buClrTx/>
              <a:buFont typeface="Arial" panose="020B0604020202020204" pitchFamily="34" charset="0"/>
              <a:buChar char="•"/>
              <a:tabLst/>
              <a:defRPr sz="800" kern="1200">
                <a:solidFill>
                  <a:schemeClr val="tx2"/>
                </a:solidFill>
                <a:latin typeface="+mn-lt"/>
                <a:ea typeface="+mn-ea"/>
                <a:cs typeface="+mn-cs"/>
              </a:defRPr>
            </a:lvl4pPr>
            <a:lvl5pPr marL="174625" indent="-174625" algn="l" defTabSz="914400" rtl="0" eaLnBrk="1" latinLnBrk="0" hangingPunct="1">
              <a:lnSpc>
                <a:spcPct val="95000"/>
              </a:lnSpc>
              <a:spcBef>
                <a:spcPts val="900"/>
              </a:spcBef>
              <a:spcAft>
                <a:spcPts val="300"/>
              </a:spcAft>
              <a:buClrTx/>
              <a:buFont typeface="Arial" panose="020B0604020202020204" pitchFamily="34" charset="0"/>
              <a:buChar char="•"/>
              <a:tabLst/>
              <a:defRPr sz="2000" b="1" kern="1200" spc="60" baseline="0">
                <a:solidFill>
                  <a:schemeClr val="tx2"/>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a:lstStyle>
          <a:p>
            <a:r>
              <a:rPr lang="de-DE" sz="1867" dirty="0"/>
              <a:t>Approach: </a:t>
            </a:r>
          </a:p>
          <a:p>
            <a:pPr lvl="1"/>
            <a:r>
              <a:rPr lang="de-DE" sz="1867" dirty="0">
                <a:solidFill>
                  <a:srgbClr val="00A0D2"/>
                </a:solidFill>
              </a:rPr>
              <a:t>Framework</a:t>
            </a:r>
            <a:r>
              <a:rPr lang="de-DE" sz="1867" dirty="0"/>
              <a:t> aligned with today‘s OTTmedia distribution practices</a:t>
            </a:r>
          </a:p>
          <a:p>
            <a:pPr lvl="1"/>
            <a:r>
              <a:rPr lang="de-DE" sz="1867" dirty="0">
                <a:solidFill>
                  <a:srgbClr val="00A0D2"/>
                </a:solidFill>
              </a:rPr>
              <a:t>Supplementing</a:t>
            </a:r>
            <a:r>
              <a:rPr lang="de-DE" sz="1867" dirty="0"/>
              <a:t> MNO and third-party media services to </a:t>
            </a:r>
            <a:r>
              <a:rPr lang="de-DE" sz="1867" dirty="0">
                <a:solidFill>
                  <a:srgbClr val="00A0D2"/>
                </a:solidFill>
              </a:rPr>
              <a:t>easily access </a:t>
            </a:r>
            <a:r>
              <a:rPr lang="de-DE" sz="1867" dirty="0"/>
              <a:t>5GS and 5GMS features</a:t>
            </a:r>
          </a:p>
          <a:p>
            <a:pPr lvl="1"/>
            <a:r>
              <a:rPr lang="en-US" sz="1867" dirty="0"/>
              <a:t>Concrete </a:t>
            </a:r>
            <a:r>
              <a:rPr lang="en-US" sz="1867" dirty="0">
                <a:solidFill>
                  <a:srgbClr val="00A0D2"/>
                </a:solidFill>
              </a:rPr>
              <a:t>instantiation</a:t>
            </a:r>
            <a:r>
              <a:rPr lang="en-US" sz="1867" dirty="0"/>
              <a:t> for one or a small subset of recommended technologies</a:t>
            </a:r>
            <a:br>
              <a:rPr lang="en-US" sz="1867" dirty="0"/>
            </a:br>
            <a:r>
              <a:rPr lang="en-US" sz="1867" dirty="0"/>
              <a:t>(e.g. codecs, formats, etc.)</a:t>
            </a:r>
          </a:p>
          <a:p>
            <a:endParaRPr lang="en-DE" sz="1867" dirty="0"/>
          </a:p>
        </p:txBody>
      </p:sp>
      <p:graphicFrame>
        <p:nvGraphicFramePr>
          <p:cNvPr id="7" name="Object 6">
            <a:extLst>
              <a:ext uri="{FF2B5EF4-FFF2-40B4-BE49-F238E27FC236}">
                <a16:creationId xmlns:a16="http://schemas.microsoft.com/office/drawing/2014/main" id="{FEA0ED4C-CFB6-307D-16F5-53A82444CFF5}"/>
              </a:ext>
            </a:extLst>
          </p:cNvPr>
          <p:cNvGraphicFramePr>
            <a:graphicFrameLocks noChangeAspect="1"/>
          </p:cNvGraphicFramePr>
          <p:nvPr/>
        </p:nvGraphicFramePr>
        <p:xfrm>
          <a:off x="193836" y="3528338"/>
          <a:ext cx="6082504" cy="2590521"/>
        </p:xfrm>
        <a:graphic>
          <a:graphicData uri="http://schemas.openxmlformats.org/presentationml/2006/ole">
            <mc:AlternateContent xmlns:mc="http://schemas.openxmlformats.org/markup-compatibility/2006">
              <mc:Choice xmlns:v="urn:schemas-microsoft-com:vml" Requires="v">
                <p:oleObj name="Visio" r:id="rId2" imgW="14973078" imgH="6362480" progId="Visio.Drawing.15">
                  <p:embed/>
                </p:oleObj>
              </mc:Choice>
              <mc:Fallback>
                <p:oleObj name="Visio" r:id="rId2" imgW="14973078" imgH="6362480" progId="Visio.Drawing.15">
                  <p:embed/>
                  <p:pic>
                    <p:nvPicPr>
                      <p:cNvPr id="7" name="Object 6">
                        <a:extLst>
                          <a:ext uri="{FF2B5EF4-FFF2-40B4-BE49-F238E27FC236}">
                            <a16:creationId xmlns:a16="http://schemas.microsoft.com/office/drawing/2014/main" id="{FEA0ED4C-CFB6-307D-16F5-53A82444CF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836" y="3528338"/>
                        <a:ext cx="6082504" cy="2590521"/>
                      </a:xfrm>
                      <a:prstGeom prst="rect">
                        <a:avLst/>
                      </a:prstGeom>
                      <a:noFill/>
                    </p:spPr>
                  </p:pic>
                </p:oleObj>
              </mc:Fallback>
            </mc:AlternateContent>
          </a:graphicData>
        </a:graphic>
      </p:graphicFrame>
      <p:graphicFrame>
        <p:nvGraphicFramePr>
          <p:cNvPr id="8" name="Object 7">
            <a:extLst>
              <a:ext uri="{FF2B5EF4-FFF2-40B4-BE49-F238E27FC236}">
                <a16:creationId xmlns:a16="http://schemas.microsoft.com/office/drawing/2014/main" id="{77702358-E692-E73C-BC15-513B4BD2F864}"/>
              </a:ext>
            </a:extLst>
          </p:cNvPr>
          <p:cNvGraphicFramePr>
            <a:graphicFrameLocks/>
          </p:cNvGraphicFramePr>
          <p:nvPr/>
        </p:nvGraphicFramePr>
        <p:xfrm>
          <a:off x="6575625" y="3306233"/>
          <a:ext cx="5353911" cy="3109808"/>
        </p:xfrm>
        <a:graphic>
          <a:graphicData uri="http://schemas.openxmlformats.org/presentationml/2006/ole">
            <mc:AlternateContent xmlns:mc="http://schemas.openxmlformats.org/markup-compatibility/2006">
              <mc:Choice xmlns:v="urn:schemas-microsoft-com:vml" Requires="v">
                <p:oleObj name="Signalling Chart" r:id="rId4" imgW="7028215" imgH="4282818" progId="Mscgen.Chart">
                  <p:embed/>
                </p:oleObj>
              </mc:Choice>
              <mc:Fallback>
                <p:oleObj name="Signalling Chart" r:id="rId4" imgW="7028215" imgH="4282818" progId="Mscgen.Chart">
                  <p:embed/>
                  <p:pic>
                    <p:nvPicPr>
                      <p:cNvPr id="8" name="Object 7">
                        <a:extLst>
                          <a:ext uri="{FF2B5EF4-FFF2-40B4-BE49-F238E27FC236}">
                            <a16:creationId xmlns:a16="http://schemas.microsoft.com/office/drawing/2014/main" id="{77702358-E692-E73C-BC15-513B4BD2F864}"/>
                          </a:ext>
                        </a:extLst>
                      </p:cNvPr>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75625" y="3306233"/>
                        <a:ext cx="5353911" cy="3109808"/>
                      </a:xfrm>
                      <a:prstGeom prst="rect">
                        <a:avLst/>
                      </a:prstGeom>
                      <a:solidFill>
                        <a:srgbClr val="FFFFFF"/>
                      </a:solidFill>
                    </p:spPr>
                  </p:pic>
                </p:oleObj>
              </mc:Fallback>
            </mc:AlternateContent>
          </a:graphicData>
        </a:graphic>
      </p:graphicFrame>
    </p:spTree>
    <p:extLst>
      <p:ext uri="{BB962C8B-B14F-4D97-AF65-F5344CB8AC3E}">
        <p14:creationId xmlns:p14="http://schemas.microsoft.com/office/powerpoint/2010/main" val="2468286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AD8A5D5-0F50-A4D8-F1ED-67A3D8993C09}"/>
              </a:ext>
            </a:extLst>
          </p:cNvPr>
          <p:cNvSpPr>
            <a:spLocks noGrp="1"/>
          </p:cNvSpPr>
          <p:nvPr>
            <p:ph type="ftr" sz="quarter" idx="3"/>
          </p:nvPr>
        </p:nvSpPr>
        <p:spPr/>
        <p:txBody>
          <a:bodyPr/>
          <a:lstStyle/>
          <a:p>
            <a:r>
              <a:rPr lang="en-US"/>
              <a:t>Media Web Symposium 2023</a:t>
            </a:r>
            <a:endParaRPr lang="en-US" dirty="0"/>
          </a:p>
        </p:txBody>
      </p:sp>
      <p:pic>
        <p:nvPicPr>
          <p:cNvPr id="4" name="Picture 3">
            <a:extLst>
              <a:ext uri="{FF2B5EF4-FFF2-40B4-BE49-F238E27FC236}">
                <a16:creationId xmlns:a16="http://schemas.microsoft.com/office/drawing/2014/main" id="{BE4AE145-19C4-8F02-40D9-6D427AFB12A8}"/>
              </a:ext>
            </a:extLst>
          </p:cNvPr>
          <p:cNvPicPr>
            <a:picLocks noChangeAspect="1"/>
          </p:cNvPicPr>
          <p:nvPr/>
        </p:nvPicPr>
        <p:blipFill>
          <a:blip r:embed="rId3"/>
          <a:stretch>
            <a:fillRect/>
          </a:stretch>
        </p:blipFill>
        <p:spPr>
          <a:xfrm>
            <a:off x="-1" y="0"/>
            <a:ext cx="12061371" cy="6861460"/>
          </a:xfrm>
          <a:prstGeom prst="rect">
            <a:avLst/>
          </a:prstGeom>
        </p:spPr>
      </p:pic>
    </p:spTree>
    <p:extLst>
      <p:ext uri="{BB962C8B-B14F-4D97-AF65-F5344CB8AC3E}">
        <p14:creationId xmlns:p14="http://schemas.microsoft.com/office/powerpoint/2010/main" val="535335478"/>
      </p:ext>
    </p:extLst>
  </p:cSld>
  <p:clrMapOvr>
    <a:masterClrMapping/>
  </p:clrMapOvr>
  <mc:AlternateContent xmlns:mc="http://schemas.openxmlformats.org/markup-compatibility/2006" xmlns:p14="http://schemas.microsoft.com/office/powerpoint/2010/main">
    <mc:Choice Requires="p14">
      <p:transition spd="med" p14:dur="700" advTm="33930">
        <p:fade/>
      </p:transition>
    </mc:Choice>
    <mc:Fallback xmlns="">
      <p:transition spd="med" advTm="33930">
        <p:fade/>
      </p:transition>
    </mc:Fallback>
  </mc:AlternateContent>
  <p:extLst>
    <p:ext uri="{3A86A75C-4F4B-4683-9AE1-C65F6400EC91}">
      <p14:laserTraceLst xmlns:p14="http://schemas.microsoft.com/office/powerpoint/2010/main">
        <p14:tracePtLst>
          <p14:tracePt t="732" x="1501775" y="4306888"/>
          <p14:tracePt t="22339" x="1501775" y="4297363"/>
          <p14:tracePt t="22346" x="1535113" y="4289425"/>
          <p14:tracePt t="22381" x="1593850" y="4271963"/>
          <p14:tracePt t="22407" x="1677988" y="4271963"/>
          <p14:tracePt t="22419" x="1695450" y="4271963"/>
          <p14:tracePt t="22440" x="1770063" y="4271963"/>
          <p14:tracePt t="22451" x="1787525" y="4271963"/>
          <p14:tracePt t="22464" x="1820863" y="4281488"/>
          <p14:tracePt t="22477" x="1846263" y="4289425"/>
          <p14:tracePt t="22499" x="1854200" y="4297363"/>
          <p14:tracePt t="22512" x="1854200" y="4340225"/>
          <p14:tracePt t="22527" x="1846263" y="4389438"/>
          <p14:tracePt t="22540" x="1803400" y="4424363"/>
          <p14:tracePt t="22554" x="1744663" y="4465638"/>
          <p14:tracePt t="22568" x="1670050" y="4491038"/>
          <p14:tracePt t="22582" x="1519238" y="4541838"/>
          <p14:tracePt t="22586" x="1427163" y="4549775"/>
          <p14:tracePt t="22597" x="1325563" y="4557713"/>
          <p14:tracePt t="22613" x="1141413" y="4557713"/>
          <p14:tracePt t="22629" x="1039813" y="4557713"/>
          <p14:tracePt t="22641" x="847725" y="4541838"/>
          <p14:tracePt t="22654" x="730250" y="4491038"/>
          <p14:tracePt t="22667" x="704850" y="4473575"/>
          <p14:tracePt t="22683" x="687388" y="4432300"/>
          <p14:tracePt t="22696" x="696913" y="4406900"/>
          <p14:tracePt t="22708" x="696913" y="4389438"/>
          <p14:tracePt t="22727" x="738188" y="4365625"/>
          <p14:tracePt t="22741" x="755650" y="4348163"/>
          <p14:tracePt t="22757" x="771525" y="4330700"/>
          <p14:tracePt t="22782" x="898525" y="4281488"/>
          <p14:tracePt t="22807" x="990600" y="4271963"/>
          <p14:tracePt t="22822" x="1166813" y="4271963"/>
          <p14:tracePt t="22836" x="1368425" y="4271963"/>
          <p14:tracePt t="22843" x="1485900" y="4271963"/>
          <p14:tracePt t="22857" x="1644650" y="4306888"/>
          <p14:tracePt t="22869" x="1685925" y="4322763"/>
          <p14:tracePt t="22881" x="1736725" y="4356100"/>
          <p14:tracePt t="22894" x="1736725" y="4373563"/>
          <p14:tracePt t="22906" x="1736725" y="4381500"/>
          <p14:tracePt t="22919" x="1720850" y="4389438"/>
          <p14:tracePt t="22930" x="1670050" y="4414838"/>
          <p14:tracePt t="22945" x="1619250" y="4424363"/>
          <p14:tracePt t="22957" x="1427163" y="4432300"/>
          <p14:tracePt t="22971" x="1225550" y="4432300"/>
          <p14:tracePt t="22988" x="1016000" y="4432300"/>
          <p14:tracePt t="23011" x="855663" y="4398963"/>
          <p14:tracePt t="23024" x="804863" y="4381500"/>
          <p14:tracePt t="23039" x="804863" y="4373563"/>
          <p14:tracePt t="23051" x="822325" y="4365625"/>
          <p14:tracePt t="23066" x="847725" y="4356100"/>
          <p14:tracePt t="23081" x="881063" y="4356100"/>
          <p14:tracePt t="23112" x="889000" y="4356100"/>
          <p14:tracePt t="23939" x="889000" y="4398963"/>
          <p14:tracePt t="23952" x="889000" y="4448175"/>
          <p14:tracePt t="23965" x="898525" y="4465638"/>
          <p14:tracePt t="23971" x="898525" y="4491038"/>
          <p14:tracePt t="23998" x="906463" y="4633913"/>
          <p14:tracePt t="24021" x="914400" y="4826000"/>
          <p14:tracePt t="24035" x="922338" y="4968875"/>
          <p14:tracePt t="24049" x="939800" y="5103813"/>
          <p14:tracePt t="24063" x="939800" y="5213350"/>
          <p14:tracePt t="24077" x="939800" y="5262563"/>
          <p14:tracePt t="24088" x="939800" y="5295900"/>
          <p14:tracePt t="24102" x="939800" y="5364163"/>
          <p14:tracePt t="24115" x="931863" y="5414963"/>
          <p14:tracePt t="24130" x="922338" y="5438775"/>
          <p14:tracePt t="24144" x="914400" y="5456238"/>
          <p14:tracePt t="24155" x="914400" y="5473700"/>
          <p14:tracePt t="24170" x="914400" y="5481638"/>
          <p14:tracePt t="24180" x="906463" y="5514975"/>
          <p14:tracePt t="24200" x="906463" y="5573713"/>
          <p14:tracePt t="24214" x="898525" y="5624513"/>
          <p14:tracePt t="24227" x="881063" y="5683250"/>
          <p14:tracePt t="24233" x="873125" y="5716588"/>
          <p14:tracePt t="24248" x="839788" y="5767388"/>
          <p14:tracePt t="24287" x="822325" y="5826125"/>
          <p14:tracePt t="24308" x="814388" y="5826125"/>
          <p14:tracePt t="24403" x="804863" y="5826125"/>
          <p14:tracePt t="24415" x="796925" y="5826125"/>
          <p14:tracePt t="24443" x="788988" y="5826125"/>
          <p14:tracePt t="24476" x="781050" y="5816600"/>
          <p14:tracePt t="24487" x="781050" y="5808663"/>
          <p14:tracePt t="24505" x="781050" y="5800725"/>
          <p14:tracePt t="24518" x="771525" y="5800725"/>
          <p14:tracePt t="24561" x="763588" y="5800725"/>
          <p14:tracePt t="25818" x="781050" y="5800725"/>
          <p14:tracePt t="25832" x="814388" y="5791200"/>
          <p14:tracePt t="25860" x="957263" y="5783263"/>
          <p14:tracePt t="25881" x="1090613" y="5767388"/>
          <p14:tracePt t="25904" x="1838325" y="5657850"/>
          <p14:tracePt t="25916" x="2147888" y="5599113"/>
          <p14:tracePt t="25931" x="2811463" y="5481638"/>
          <p14:tracePt t="25944" x="3146425" y="5422900"/>
          <p14:tracePt t="25957" x="3759200" y="5330825"/>
          <p14:tracePt t="25973" x="4287838" y="5262563"/>
          <p14:tracePt t="25984" x="4665663" y="5237163"/>
          <p14:tracePt t="25998" x="4808538" y="5229225"/>
          <p14:tracePt t="26009" x="4916488" y="5229225"/>
          <p14:tracePt t="26024" x="5118100" y="5221288"/>
          <p14:tracePt t="26038" x="5386388" y="5187950"/>
          <p14:tracePt t="26050" x="5822950" y="5129213"/>
          <p14:tracePt t="26063" x="6310313" y="5045075"/>
          <p14:tracePt t="26086" x="6704013" y="4968875"/>
          <p14:tracePt t="26100" x="6972300" y="4919663"/>
          <p14:tracePt t="26113" x="7123113" y="4884738"/>
          <p14:tracePt t="26124" x="7158038" y="4876800"/>
          <p14:tracePt t="26137" x="7165975" y="4876800"/>
          <p14:tracePt t="26152" x="7181850" y="4868863"/>
          <p14:tracePt t="26172" x="7240588" y="4860925"/>
          <p14:tracePt t="26190" x="7308850" y="4843463"/>
          <p14:tracePt t="26207" x="7451725" y="4818063"/>
          <p14:tracePt t="26218" x="7585075" y="4792663"/>
          <p14:tracePt t="26232" x="7651750" y="4776788"/>
          <p14:tracePt t="26267" x="7896225" y="4759325"/>
          <p14:tracePt t="26288" x="8156575" y="4743450"/>
          <p14:tracePt t="26300" x="8239125" y="4733925"/>
          <p14:tracePt t="26316" x="8315325" y="4718050"/>
          <p14:tracePt t="26332" x="8483600" y="4684713"/>
          <p14:tracePt t="26352" x="8802688" y="4675188"/>
          <p14:tracePt t="26367" x="8986838" y="4675188"/>
          <p14:tracePt t="26381" x="9078913" y="4675188"/>
          <p14:tracePt t="26398" x="9255125" y="4675188"/>
          <p14:tracePt t="26412" x="9339263" y="4675188"/>
          <p14:tracePt t="26430" x="9556750" y="4675188"/>
          <p14:tracePt t="26447" x="9658350" y="4675188"/>
          <p14:tracePt t="26462" x="9742488" y="4675188"/>
          <p14:tracePt t="26470" x="9766300" y="4675188"/>
          <p14:tracePt t="26491" x="9809163" y="4675188"/>
          <p14:tracePt t="26506" x="9883775" y="4675188"/>
          <p14:tracePt t="26517" x="10026650" y="4684713"/>
          <p14:tracePt t="26533" x="10161588" y="4700588"/>
          <p14:tracePt t="26548" x="10287000" y="4708525"/>
          <p14:tracePt t="26561" x="10329863" y="4708525"/>
          <p14:tracePt t="26611" x="10337800" y="4700588"/>
          <p14:tracePt t="26626" x="10345738" y="4692650"/>
          <p14:tracePt t="26641" x="10345738" y="4684713"/>
          <p14:tracePt t="26654" x="10353675" y="4684713"/>
          <p14:tracePt t="26669" x="10379075" y="4684713"/>
          <p14:tracePt t="26691" x="10412413" y="4675188"/>
          <p14:tracePt t="26704" x="10455275" y="4667250"/>
          <p14:tracePt t="26715" x="10471150" y="4667250"/>
          <p14:tracePt t="26727" x="10496550" y="4667250"/>
          <p14:tracePt t="26737" x="10506075" y="4667250"/>
          <p14:tracePt t="26751" x="10514013" y="4659313"/>
          <p14:tracePt t="26766" x="10529888" y="4649788"/>
          <p14:tracePt t="26778" x="10539413" y="4649788"/>
          <p14:tracePt t="26789" x="10572750" y="4641850"/>
          <p14:tracePt t="26803" x="10614025" y="4624388"/>
          <p14:tracePt t="26817" x="10682288" y="4608513"/>
          <p14:tracePt t="26829" x="10706100" y="4600575"/>
          <p14:tracePt t="26842" x="10731500" y="4583113"/>
          <p14:tracePt t="26857" x="10756900" y="4575175"/>
          <p14:tracePt t="26868" x="10774363" y="4575175"/>
          <p14:tracePt t="26878" x="10790238" y="4565650"/>
          <p14:tracePt t="26898" x="10833100" y="4557713"/>
          <p14:tracePt t="26911" x="10858500" y="4549775"/>
          <p14:tracePt t="26925" x="10891838" y="4532313"/>
          <p14:tracePt t="26937" x="10933113" y="4524375"/>
          <p14:tracePt t="26952" x="10983913" y="4516438"/>
          <p14:tracePt t="26965" x="11042650" y="4498975"/>
          <p14:tracePt t="26979" x="11075988" y="4498975"/>
          <p14:tracePt t="26992" x="11083925" y="4498975"/>
          <p14:tracePt t="27027" x="11101388" y="4491038"/>
          <p14:tracePt t="27040" x="11109325" y="4483100"/>
          <p14:tracePt t="27052" x="11126788" y="4473575"/>
          <p14:tracePt t="27068" x="11134725" y="4473575"/>
          <p14:tracePt t="27084" x="11160125" y="4465638"/>
          <p14:tracePt t="27099" x="11176000" y="4465638"/>
          <p14:tracePt t="27112" x="11176000" y="4457700"/>
          <p14:tracePt t="32971" x="11152188" y="4414838"/>
          <p14:tracePt t="32986" x="10941050" y="4264025"/>
          <p14:tracePt t="32999" x="10698163" y="4046538"/>
          <p14:tracePt t="33025" x="10437813" y="3776663"/>
          <p14:tracePt t="33042" x="10118725" y="3433763"/>
          <p14:tracePt t="33057" x="9750425" y="3030538"/>
          <p14:tracePt t="33089" x="9137650" y="2233613"/>
          <p14:tracePt t="33106" x="8902700" y="1889125"/>
          <p14:tracePt t="33122" x="8743950" y="1603375"/>
          <p14:tracePt t="33136" x="8650288" y="1401763"/>
          <p14:tracePt t="33145" x="8567738" y="1250950"/>
          <p14:tracePt t="33159" x="8542338" y="1192213"/>
          <p14:tracePt t="33172" x="8499475" y="1090613"/>
          <p14:tracePt t="33185" x="8499475" y="1066800"/>
          <p14:tracePt t="33198" x="8474075" y="1008063"/>
          <p14:tracePt t="33208" x="8450263" y="973138"/>
          <p14:tracePt t="33220" x="8450263" y="957263"/>
          <p14:tracePt t="33232" x="8432800" y="939800"/>
          <p14:tracePt t="33246" x="8407400" y="889000"/>
          <p14:tracePt t="33257" x="8391525" y="865188"/>
          <p14:tracePt t="33271" x="8374063" y="814388"/>
          <p14:tracePt t="33284" x="8356600" y="781050"/>
          <p14:tracePt t="33296" x="8332788" y="722313"/>
          <p14:tracePt t="33308" x="8274050" y="612775"/>
          <p14:tracePt t="33324" x="8223250" y="503238"/>
          <p14:tracePt t="33338" x="8180388" y="403225"/>
          <p14:tracePt t="33352" x="8164513" y="285750"/>
          <p14:tracePt t="33368" x="8164513" y="252413"/>
          <p14:tracePt t="33382" x="8164513" y="184150"/>
          <p14:tracePt t="33396" x="8156575" y="92075"/>
          <p14:tracePt t="33411" x="8147050" y="41275"/>
        </p14:tracePtLst>
      </p14:laserTraceLst>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1135E6FB-F56D-336A-238F-38FB341EFD5F}"/>
              </a:ext>
            </a:extLst>
          </p:cNvPr>
          <p:cNvSpPr/>
          <p:nvPr/>
        </p:nvSpPr>
        <p:spPr>
          <a:xfrm>
            <a:off x="4476752" y="10826"/>
            <a:ext cx="2664278" cy="6488811"/>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a:lnSpc>
                <a:spcPct val="96000"/>
              </a:lnSpc>
            </a:pPr>
            <a:r>
              <a:rPr lang="de-DE" dirty="0">
                <a:solidFill>
                  <a:schemeClr val="bg1"/>
                </a:solidFill>
                <a:latin typeface="Microsoft Sans Serif"/>
                <a:cs typeface="Microsoft Sans Serif" panose="020B0604020202020204" pitchFamily="34" charset="0"/>
              </a:rPr>
              <a:t>5G Content Provider UK</a:t>
            </a:r>
            <a:endParaRPr lang="en-US" dirty="0" err="1">
              <a:solidFill>
                <a:schemeClr val="bg1"/>
              </a:solidFill>
              <a:latin typeface="Microsoft Sans Serif"/>
              <a:cs typeface="Microsoft Sans Serif" panose="020B0604020202020204" pitchFamily="34" charset="0"/>
            </a:endParaRPr>
          </a:p>
        </p:txBody>
      </p:sp>
      <p:sp>
        <p:nvSpPr>
          <p:cNvPr id="30" name="Rectangle 29">
            <a:extLst>
              <a:ext uri="{FF2B5EF4-FFF2-40B4-BE49-F238E27FC236}">
                <a16:creationId xmlns:a16="http://schemas.microsoft.com/office/drawing/2014/main" id="{6E1CC291-6E16-55D3-0D5D-5D9425465322}"/>
              </a:ext>
            </a:extLst>
          </p:cNvPr>
          <p:cNvSpPr/>
          <p:nvPr/>
        </p:nvSpPr>
        <p:spPr>
          <a:xfrm>
            <a:off x="156754" y="10826"/>
            <a:ext cx="4035880" cy="6438677"/>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a:lnSpc>
                <a:spcPct val="96000"/>
              </a:lnSpc>
            </a:pPr>
            <a:r>
              <a:rPr lang="de-DE" dirty="0">
                <a:solidFill>
                  <a:schemeClr val="bg1"/>
                </a:solidFill>
                <a:latin typeface="Microsoft Sans Serif"/>
                <a:cs typeface="Microsoft Sans Serif" panose="020B0604020202020204" pitchFamily="34" charset="0"/>
              </a:rPr>
              <a:t>5G UE in China</a:t>
            </a:r>
            <a:endParaRPr lang="en-US" dirty="0" err="1">
              <a:solidFill>
                <a:schemeClr val="bg1"/>
              </a:solidFill>
              <a:latin typeface="Microsoft Sans Serif"/>
              <a:cs typeface="Microsoft Sans Serif" panose="020B0604020202020204" pitchFamily="34" charset="0"/>
            </a:endParaRPr>
          </a:p>
        </p:txBody>
      </p:sp>
      <p:sp>
        <p:nvSpPr>
          <p:cNvPr id="2" name="Footer Placeholder 1">
            <a:extLst>
              <a:ext uri="{FF2B5EF4-FFF2-40B4-BE49-F238E27FC236}">
                <a16:creationId xmlns:a16="http://schemas.microsoft.com/office/drawing/2014/main" id="{980B7A59-AF0D-4809-3FBD-F0F9A6D67666}"/>
              </a:ext>
            </a:extLst>
          </p:cNvPr>
          <p:cNvSpPr>
            <a:spLocks noGrp="1"/>
          </p:cNvSpPr>
          <p:nvPr>
            <p:ph type="ftr" sz="quarter" idx="3"/>
          </p:nvPr>
        </p:nvSpPr>
        <p:spPr/>
        <p:txBody>
          <a:bodyPr/>
          <a:lstStyle/>
          <a:p>
            <a:r>
              <a:rPr lang="en-US"/>
              <a:t>Media Web Symposium 2023</a:t>
            </a:r>
            <a:endParaRPr lang="en-US" dirty="0"/>
          </a:p>
        </p:txBody>
      </p:sp>
      <p:pic>
        <p:nvPicPr>
          <p:cNvPr id="3" name="Screen Recording 3">
            <a:hlinkClick r:id="" action="ppaction://media"/>
            <a:extLst>
              <a:ext uri="{FF2B5EF4-FFF2-40B4-BE49-F238E27FC236}">
                <a16:creationId xmlns:a16="http://schemas.microsoft.com/office/drawing/2014/main" id="{0C65979D-BE46-8B46-0DC1-C89FB0B037C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141029" y="0"/>
            <a:ext cx="5050972" cy="6801613"/>
          </a:xfrm>
          <a:prstGeom prst="rect">
            <a:avLst/>
          </a:prstGeom>
        </p:spPr>
      </p:pic>
      <p:sp>
        <p:nvSpPr>
          <p:cNvPr id="15" name="Rectangle 14">
            <a:extLst>
              <a:ext uri="{FF2B5EF4-FFF2-40B4-BE49-F238E27FC236}">
                <a16:creationId xmlns:a16="http://schemas.microsoft.com/office/drawing/2014/main" id="{557C8431-4B5D-C26E-92C1-40E67257A7C7}"/>
              </a:ext>
            </a:extLst>
          </p:cNvPr>
          <p:cNvSpPr/>
          <p:nvPr/>
        </p:nvSpPr>
        <p:spPr>
          <a:xfrm>
            <a:off x="277585" y="574761"/>
            <a:ext cx="1220289" cy="77506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r>
              <a:rPr lang="de-DE" sz="1600" dirty="0">
                <a:solidFill>
                  <a:schemeClr val="bg1"/>
                </a:solidFill>
                <a:latin typeface="Microsoft Sans Serif"/>
                <a:cs typeface="Microsoft Sans Serif" panose="020B0604020202020204" pitchFamily="34" charset="0"/>
              </a:rPr>
              <a:t>5GMS-aware Application</a:t>
            </a:r>
            <a:endParaRPr lang="en-US" sz="1600" dirty="0" err="1">
              <a:solidFill>
                <a:schemeClr val="bg1"/>
              </a:solidFill>
              <a:latin typeface="Microsoft Sans Serif"/>
              <a:cs typeface="Microsoft Sans Serif" panose="020B0604020202020204" pitchFamily="34" charset="0"/>
            </a:endParaRPr>
          </a:p>
        </p:txBody>
      </p:sp>
      <p:sp>
        <p:nvSpPr>
          <p:cNvPr id="16" name="Rectangle 15">
            <a:extLst>
              <a:ext uri="{FF2B5EF4-FFF2-40B4-BE49-F238E27FC236}">
                <a16:creationId xmlns:a16="http://schemas.microsoft.com/office/drawing/2014/main" id="{0B737771-687A-A862-8D48-199A9EDA57E7}"/>
              </a:ext>
            </a:extLst>
          </p:cNvPr>
          <p:cNvSpPr/>
          <p:nvPr/>
        </p:nvSpPr>
        <p:spPr>
          <a:xfrm>
            <a:off x="1692729" y="583468"/>
            <a:ext cx="1033055" cy="775061"/>
          </a:xfrm>
          <a:prstGeom prst="rect">
            <a:avLst/>
          </a:prstGeom>
          <a:solidFill>
            <a:srgbClr val="FFFF00"/>
          </a:solidFill>
          <a:ln w="38100">
            <a:solidFill>
              <a:schemeClr val="bg2"/>
            </a:solid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r>
              <a:rPr lang="de-DE" sz="1600" dirty="0">
                <a:solidFill>
                  <a:schemeClr val="tx1"/>
                </a:solidFill>
                <a:latin typeface="Microsoft Sans Serif"/>
                <a:cs typeface="Microsoft Sans Serif" panose="020B0604020202020204" pitchFamily="34" charset="0"/>
              </a:rPr>
              <a:t>Media Session Handler</a:t>
            </a:r>
            <a:endParaRPr lang="en-US" sz="1600" dirty="0" err="1">
              <a:solidFill>
                <a:schemeClr val="tx1"/>
              </a:solidFill>
              <a:latin typeface="Microsoft Sans Serif"/>
              <a:cs typeface="Microsoft Sans Serif" panose="020B0604020202020204" pitchFamily="34" charset="0"/>
            </a:endParaRPr>
          </a:p>
        </p:txBody>
      </p:sp>
      <p:sp>
        <p:nvSpPr>
          <p:cNvPr id="17" name="Rectangle 16">
            <a:extLst>
              <a:ext uri="{FF2B5EF4-FFF2-40B4-BE49-F238E27FC236}">
                <a16:creationId xmlns:a16="http://schemas.microsoft.com/office/drawing/2014/main" id="{1BED46F9-09F8-A503-05CC-619964C9C021}"/>
              </a:ext>
            </a:extLst>
          </p:cNvPr>
          <p:cNvSpPr/>
          <p:nvPr/>
        </p:nvSpPr>
        <p:spPr>
          <a:xfrm>
            <a:off x="2920639" y="583468"/>
            <a:ext cx="1033055" cy="775061"/>
          </a:xfrm>
          <a:prstGeom prst="rect">
            <a:avLst/>
          </a:prstGeom>
          <a:solidFill>
            <a:srgbClr val="FFFF00"/>
          </a:solidFill>
          <a:ln w="38100">
            <a:solidFill>
              <a:schemeClr val="bg2"/>
            </a:solid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r>
              <a:rPr lang="de-DE" sz="1600" dirty="0">
                <a:solidFill>
                  <a:schemeClr val="tx1"/>
                </a:solidFill>
                <a:latin typeface="Microsoft Sans Serif"/>
                <a:cs typeface="Microsoft Sans Serif" panose="020B0604020202020204" pitchFamily="34" charset="0"/>
              </a:rPr>
              <a:t>Media Player</a:t>
            </a:r>
            <a:endParaRPr lang="en-US" sz="1600" dirty="0" err="1">
              <a:solidFill>
                <a:schemeClr val="tx1"/>
              </a:solidFill>
              <a:latin typeface="Microsoft Sans Serif"/>
              <a:cs typeface="Microsoft Sans Serif" panose="020B0604020202020204" pitchFamily="34" charset="0"/>
            </a:endParaRPr>
          </a:p>
        </p:txBody>
      </p:sp>
      <p:sp>
        <p:nvSpPr>
          <p:cNvPr id="18" name="Rectangle 17">
            <a:extLst>
              <a:ext uri="{FF2B5EF4-FFF2-40B4-BE49-F238E27FC236}">
                <a16:creationId xmlns:a16="http://schemas.microsoft.com/office/drawing/2014/main" id="{78A2ADF0-4C0E-2987-D733-A5F01B1AE9F4}"/>
              </a:ext>
            </a:extLst>
          </p:cNvPr>
          <p:cNvSpPr/>
          <p:nvPr/>
        </p:nvSpPr>
        <p:spPr>
          <a:xfrm>
            <a:off x="4802776" y="583468"/>
            <a:ext cx="1033055" cy="775061"/>
          </a:xfrm>
          <a:prstGeom prst="rect">
            <a:avLst/>
          </a:prstGeom>
          <a:solidFill>
            <a:srgbClr val="FFFF00"/>
          </a:solidFill>
          <a:ln w="38100">
            <a:solidFill>
              <a:schemeClr val="bg2"/>
            </a:solid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r>
              <a:rPr lang="de-DE" sz="1600" dirty="0">
                <a:solidFill>
                  <a:schemeClr val="tx1"/>
                </a:solidFill>
                <a:latin typeface="Microsoft Sans Serif"/>
                <a:cs typeface="Microsoft Sans Serif" panose="020B0604020202020204" pitchFamily="34" charset="0"/>
              </a:rPr>
              <a:t>5GMS</a:t>
            </a:r>
            <a:br>
              <a:rPr lang="de-DE" sz="1600" dirty="0">
                <a:solidFill>
                  <a:schemeClr val="tx1"/>
                </a:solidFill>
                <a:latin typeface="Microsoft Sans Serif"/>
                <a:cs typeface="Microsoft Sans Serif" panose="020B0604020202020204" pitchFamily="34" charset="0"/>
              </a:rPr>
            </a:br>
            <a:r>
              <a:rPr lang="de-DE" sz="1600" dirty="0">
                <a:solidFill>
                  <a:schemeClr val="tx1"/>
                </a:solidFill>
                <a:latin typeface="Microsoft Sans Serif"/>
                <a:cs typeface="Microsoft Sans Serif" panose="020B0604020202020204" pitchFamily="34" charset="0"/>
              </a:rPr>
              <a:t>AS</a:t>
            </a:r>
            <a:endParaRPr lang="en-US" sz="1600" dirty="0" err="1">
              <a:solidFill>
                <a:schemeClr val="tx1"/>
              </a:solidFill>
              <a:latin typeface="Microsoft Sans Serif"/>
              <a:cs typeface="Microsoft Sans Serif" panose="020B0604020202020204" pitchFamily="34" charset="0"/>
            </a:endParaRPr>
          </a:p>
        </p:txBody>
      </p:sp>
      <p:sp>
        <p:nvSpPr>
          <p:cNvPr id="19" name="Rectangle 18">
            <a:extLst>
              <a:ext uri="{FF2B5EF4-FFF2-40B4-BE49-F238E27FC236}">
                <a16:creationId xmlns:a16="http://schemas.microsoft.com/office/drawing/2014/main" id="{3517A28C-DA1F-1C96-876C-83B0065B803C}"/>
              </a:ext>
            </a:extLst>
          </p:cNvPr>
          <p:cNvSpPr/>
          <p:nvPr/>
        </p:nvSpPr>
        <p:spPr>
          <a:xfrm>
            <a:off x="6030686" y="583468"/>
            <a:ext cx="1033055" cy="775061"/>
          </a:xfrm>
          <a:prstGeom prst="rect">
            <a:avLst/>
          </a:prstGeom>
          <a:solidFill>
            <a:srgbClr val="FFFF00"/>
          </a:solidFill>
          <a:ln w="38100">
            <a:solidFill>
              <a:schemeClr val="bg2"/>
            </a:solid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r>
              <a:rPr lang="de-DE" sz="1600" dirty="0">
                <a:solidFill>
                  <a:schemeClr val="tx1"/>
                </a:solidFill>
                <a:latin typeface="Microsoft Sans Serif"/>
                <a:cs typeface="Microsoft Sans Serif" panose="020B0604020202020204" pitchFamily="34" charset="0"/>
              </a:rPr>
              <a:t>5GMS AF</a:t>
            </a:r>
            <a:endParaRPr lang="en-US" sz="1600" dirty="0" err="1">
              <a:solidFill>
                <a:schemeClr val="tx1"/>
              </a:solidFill>
              <a:latin typeface="Microsoft Sans Serif"/>
              <a:cs typeface="Microsoft Sans Serif" panose="020B0604020202020204" pitchFamily="34" charset="0"/>
            </a:endParaRPr>
          </a:p>
        </p:txBody>
      </p:sp>
      <p:cxnSp>
        <p:nvCxnSpPr>
          <p:cNvPr id="21" name="Straight Connector 20">
            <a:extLst>
              <a:ext uri="{FF2B5EF4-FFF2-40B4-BE49-F238E27FC236}">
                <a16:creationId xmlns:a16="http://schemas.microsoft.com/office/drawing/2014/main" id="{399C33C2-D1F6-0105-B83A-7564075763AF}"/>
              </a:ext>
            </a:extLst>
          </p:cNvPr>
          <p:cNvCxnSpPr>
            <a:cxnSpLocks/>
            <a:stCxn id="15" idx="2"/>
          </p:cNvCxnSpPr>
          <p:nvPr/>
        </p:nvCxnSpPr>
        <p:spPr>
          <a:xfrm>
            <a:off x="887730" y="1349823"/>
            <a:ext cx="0" cy="4946469"/>
          </a:xfrm>
          <a:prstGeom prst="line">
            <a:avLst/>
          </a:prstGeom>
          <a:ln w="28575">
            <a:prstDash val="dash"/>
            <a:headEnd type="none" w="med" len="sm"/>
            <a:tailEnd type="none" w="sm" len="sm"/>
          </a:ln>
        </p:spPr>
        <p:style>
          <a:lnRef idx="1">
            <a:schemeClr val="accent5"/>
          </a:lnRef>
          <a:fillRef idx="0">
            <a:schemeClr val="accent5"/>
          </a:fillRef>
          <a:effectRef idx="0">
            <a:schemeClr val="accent5"/>
          </a:effectRef>
          <a:fontRef idx="minor">
            <a:schemeClr val="tx1"/>
          </a:fontRef>
        </p:style>
      </p:cxnSp>
      <p:cxnSp>
        <p:nvCxnSpPr>
          <p:cNvPr id="23" name="Straight Connector 22">
            <a:extLst>
              <a:ext uri="{FF2B5EF4-FFF2-40B4-BE49-F238E27FC236}">
                <a16:creationId xmlns:a16="http://schemas.microsoft.com/office/drawing/2014/main" id="{6ECAB8CB-FEAF-8BEB-F3D9-0DD898B79E55}"/>
              </a:ext>
            </a:extLst>
          </p:cNvPr>
          <p:cNvCxnSpPr>
            <a:cxnSpLocks/>
          </p:cNvCxnSpPr>
          <p:nvPr/>
        </p:nvCxnSpPr>
        <p:spPr>
          <a:xfrm>
            <a:off x="2224495" y="1358529"/>
            <a:ext cx="0" cy="4946469"/>
          </a:xfrm>
          <a:prstGeom prst="line">
            <a:avLst/>
          </a:prstGeom>
          <a:ln w="28575">
            <a:prstDash val="dash"/>
            <a:headEnd type="none" w="med" len="sm"/>
            <a:tailEnd type="none" w="sm" len="sm"/>
          </a:ln>
        </p:spPr>
        <p:style>
          <a:lnRef idx="1">
            <a:schemeClr val="accent5"/>
          </a:lnRef>
          <a:fillRef idx="0">
            <a:schemeClr val="accent5"/>
          </a:fillRef>
          <a:effectRef idx="0">
            <a:schemeClr val="accent5"/>
          </a:effectRef>
          <a:fontRef idx="minor">
            <a:schemeClr val="tx1"/>
          </a:fontRef>
        </p:style>
      </p:cxnSp>
      <p:cxnSp>
        <p:nvCxnSpPr>
          <p:cNvPr id="24" name="Straight Connector 23">
            <a:extLst>
              <a:ext uri="{FF2B5EF4-FFF2-40B4-BE49-F238E27FC236}">
                <a16:creationId xmlns:a16="http://schemas.microsoft.com/office/drawing/2014/main" id="{36489752-3A35-B4C3-FE81-C820E6593970}"/>
              </a:ext>
            </a:extLst>
          </p:cNvPr>
          <p:cNvCxnSpPr>
            <a:cxnSpLocks/>
          </p:cNvCxnSpPr>
          <p:nvPr/>
        </p:nvCxnSpPr>
        <p:spPr>
          <a:xfrm>
            <a:off x="3443696" y="1358529"/>
            <a:ext cx="0" cy="4946469"/>
          </a:xfrm>
          <a:prstGeom prst="line">
            <a:avLst/>
          </a:prstGeom>
          <a:ln w="28575">
            <a:prstDash val="dash"/>
            <a:headEnd type="none" w="med" len="sm"/>
            <a:tailEnd type="none" w="sm" len="sm"/>
          </a:ln>
        </p:spPr>
        <p:style>
          <a:lnRef idx="1">
            <a:schemeClr val="accent5"/>
          </a:lnRef>
          <a:fillRef idx="0">
            <a:schemeClr val="accent5"/>
          </a:fillRef>
          <a:effectRef idx="0">
            <a:schemeClr val="accent5"/>
          </a:effectRef>
          <a:fontRef idx="minor">
            <a:schemeClr val="tx1"/>
          </a:fontRef>
        </p:style>
      </p:cxnSp>
      <p:cxnSp>
        <p:nvCxnSpPr>
          <p:cNvPr id="25" name="Straight Connector 24">
            <a:extLst>
              <a:ext uri="{FF2B5EF4-FFF2-40B4-BE49-F238E27FC236}">
                <a16:creationId xmlns:a16="http://schemas.microsoft.com/office/drawing/2014/main" id="{D34E8231-459C-26A0-AAD9-37DCFEB1F2A9}"/>
              </a:ext>
            </a:extLst>
          </p:cNvPr>
          <p:cNvCxnSpPr>
            <a:cxnSpLocks/>
          </p:cNvCxnSpPr>
          <p:nvPr/>
        </p:nvCxnSpPr>
        <p:spPr>
          <a:xfrm>
            <a:off x="5381354" y="1358529"/>
            <a:ext cx="0" cy="4946469"/>
          </a:xfrm>
          <a:prstGeom prst="line">
            <a:avLst/>
          </a:prstGeom>
          <a:ln w="28575">
            <a:prstDash val="dash"/>
            <a:headEnd type="none" w="med" len="sm"/>
            <a:tailEnd type="none" w="sm" len="sm"/>
          </a:ln>
        </p:spPr>
        <p:style>
          <a:lnRef idx="1">
            <a:schemeClr val="accent5"/>
          </a:lnRef>
          <a:fillRef idx="0">
            <a:schemeClr val="accent5"/>
          </a:fillRef>
          <a:effectRef idx="0">
            <a:schemeClr val="accent5"/>
          </a:effectRef>
          <a:fontRef idx="minor">
            <a:schemeClr val="tx1"/>
          </a:fontRef>
        </p:style>
      </p:cxnSp>
      <p:cxnSp>
        <p:nvCxnSpPr>
          <p:cNvPr id="26" name="Straight Connector 25">
            <a:extLst>
              <a:ext uri="{FF2B5EF4-FFF2-40B4-BE49-F238E27FC236}">
                <a16:creationId xmlns:a16="http://schemas.microsoft.com/office/drawing/2014/main" id="{89DB1910-BE80-15DE-E4A7-FC83FC2DC6AA}"/>
              </a:ext>
            </a:extLst>
          </p:cNvPr>
          <p:cNvCxnSpPr>
            <a:cxnSpLocks/>
          </p:cNvCxnSpPr>
          <p:nvPr/>
        </p:nvCxnSpPr>
        <p:spPr>
          <a:xfrm>
            <a:off x="6530886" y="1349823"/>
            <a:ext cx="0" cy="4946469"/>
          </a:xfrm>
          <a:prstGeom prst="line">
            <a:avLst/>
          </a:prstGeom>
          <a:ln w="28575">
            <a:prstDash val="dash"/>
            <a:headEnd type="none" w="med" len="sm"/>
            <a:tailEnd type="none" w="sm" len="sm"/>
          </a:ln>
        </p:spPr>
        <p:style>
          <a:lnRef idx="1">
            <a:schemeClr val="accent5"/>
          </a:lnRef>
          <a:fillRef idx="0">
            <a:schemeClr val="accent5"/>
          </a:fillRef>
          <a:effectRef idx="0">
            <a:schemeClr val="accent5"/>
          </a:effectRef>
          <a:fontRef idx="minor">
            <a:schemeClr val="tx1"/>
          </a:fontRef>
        </p:style>
      </p:cxnSp>
      <p:sp>
        <p:nvSpPr>
          <p:cNvPr id="32" name="Arrow: Right 31">
            <a:extLst>
              <a:ext uri="{FF2B5EF4-FFF2-40B4-BE49-F238E27FC236}">
                <a16:creationId xmlns:a16="http://schemas.microsoft.com/office/drawing/2014/main" id="{D8791100-AA3E-9A37-B8B8-8EFD15141120}"/>
              </a:ext>
            </a:extLst>
          </p:cNvPr>
          <p:cNvSpPr/>
          <p:nvPr/>
        </p:nvSpPr>
        <p:spPr>
          <a:xfrm>
            <a:off x="887730" y="1663337"/>
            <a:ext cx="1336761" cy="374469"/>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lnSpc>
                <a:spcPct val="96000"/>
              </a:lnSpc>
            </a:pPr>
            <a:r>
              <a:rPr lang="de-DE" sz="1600" dirty="0">
                <a:solidFill>
                  <a:schemeClr val="bg1"/>
                </a:solidFill>
                <a:latin typeface="Microsoft Sans Serif"/>
                <a:cs typeface="Microsoft Sans Serif" panose="020B0604020202020204" pitchFamily="34" charset="0"/>
              </a:rPr>
              <a:t>Select BBC</a:t>
            </a:r>
            <a:endParaRPr lang="en-US" sz="1600" dirty="0" err="1">
              <a:solidFill>
                <a:schemeClr val="bg1"/>
              </a:solidFill>
              <a:latin typeface="Microsoft Sans Serif"/>
              <a:cs typeface="Microsoft Sans Serif" panose="020B0604020202020204" pitchFamily="34" charset="0"/>
            </a:endParaRPr>
          </a:p>
        </p:txBody>
      </p:sp>
      <p:sp>
        <p:nvSpPr>
          <p:cNvPr id="34" name="Arrow: Right 33">
            <a:extLst>
              <a:ext uri="{FF2B5EF4-FFF2-40B4-BE49-F238E27FC236}">
                <a16:creationId xmlns:a16="http://schemas.microsoft.com/office/drawing/2014/main" id="{1585F248-376C-97ED-BF30-CD9753072E8C}"/>
              </a:ext>
            </a:extLst>
          </p:cNvPr>
          <p:cNvSpPr/>
          <p:nvPr/>
        </p:nvSpPr>
        <p:spPr>
          <a:xfrm>
            <a:off x="2240819" y="1924580"/>
            <a:ext cx="4306394" cy="775061"/>
          </a:xfrm>
          <a:prstGeom prst="rightArrow">
            <a:avLst>
              <a:gd name="adj1" fmla="val 73790"/>
              <a:gd name="adj2" fmla="val 42752"/>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lnSpc>
                <a:spcPct val="96000"/>
              </a:lnSpc>
            </a:pPr>
            <a:r>
              <a:rPr lang="de-DE" sz="1600" dirty="0">
                <a:solidFill>
                  <a:schemeClr val="bg1"/>
                </a:solidFill>
                <a:latin typeface="Microsoft Sans Serif"/>
                <a:cs typeface="Microsoft Sans Serif" panose="020B0604020202020204" pitchFamily="34" charset="0"/>
              </a:rPr>
              <a:t>Access: </a:t>
            </a:r>
            <a:br>
              <a:rPr lang="de-DE" sz="1600" dirty="0">
                <a:solidFill>
                  <a:schemeClr val="bg1"/>
                </a:solidFill>
                <a:latin typeface="Microsoft Sans Serif"/>
                <a:cs typeface="Microsoft Sans Serif" panose="020B0604020202020204" pitchFamily="34" charset="0"/>
              </a:rPr>
            </a:br>
            <a:r>
              <a:rPr lang="de-DE" sz="1050" dirty="0">
                <a:solidFill>
                  <a:schemeClr val="bg1"/>
                </a:solidFill>
                <a:latin typeface="Courier New" panose="02070309020205020404" pitchFamily="49" charset="0"/>
                <a:cs typeface="Courier New" panose="02070309020205020404" pitchFamily="49" charset="0"/>
              </a:rPr>
              <a:t>http://5gms.bbc.uk/3gpp-m5/v2/service-access-information/d54a1fcc-d411-4e32-807b-2c60dbaeaf5f</a:t>
            </a:r>
            <a:endParaRPr lang="de-DE" sz="1600" dirty="0">
              <a:solidFill>
                <a:schemeClr val="bg1"/>
              </a:solidFill>
              <a:latin typeface="Courier New" panose="02070309020205020404" pitchFamily="49" charset="0"/>
              <a:cs typeface="Courier New" panose="02070309020205020404" pitchFamily="49" charset="0"/>
            </a:endParaRPr>
          </a:p>
        </p:txBody>
      </p:sp>
      <p:sp>
        <p:nvSpPr>
          <p:cNvPr id="35" name="Arrow: Right 34">
            <a:extLst>
              <a:ext uri="{FF2B5EF4-FFF2-40B4-BE49-F238E27FC236}">
                <a16:creationId xmlns:a16="http://schemas.microsoft.com/office/drawing/2014/main" id="{B697C507-C829-E64B-92D0-D39F4CCB0986}"/>
              </a:ext>
            </a:extLst>
          </p:cNvPr>
          <p:cNvSpPr/>
          <p:nvPr/>
        </p:nvSpPr>
        <p:spPr>
          <a:xfrm flipH="1">
            <a:off x="2240818" y="2950011"/>
            <a:ext cx="4273741" cy="494211"/>
          </a:xfrm>
          <a:prstGeom prst="rightArrow">
            <a:avLst>
              <a:gd name="adj1" fmla="val 73790"/>
              <a:gd name="adj2" fmla="val 42752"/>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de-DE" sz="1600" dirty="0">
                <a:solidFill>
                  <a:schemeClr val="bg1"/>
                </a:solidFill>
                <a:latin typeface="Microsoft Sans Serif"/>
                <a:cs typeface="Microsoft Sans Serif" panose="020B0604020202020204" pitchFamily="34" charset="0"/>
              </a:rPr>
              <a:t>JSON Response</a:t>
            </a:r>
            <a:endParaRPr lang="de-DE" sz="700" dirty="0">
              <a:solidFill>
                <a:schemeClr val="bg1"/>
              </a:solidFill>
              <a:latin typeface="Courier New" panose="02070309020205020404" pitchFamily="49" charset="0"/>
              <a:cs typeface="Courier New" panose="02070309020205020404" pitchFamily="49" charset="0"/>
            </a:endParaRPr>
          </a:p>
        </p:txBody>
      </p:sp>
      <p:sp>
        <p:nvSpPr>
          <p:cNvPr id="36" name="Rectangle: Folded Corner 35">
            <a:extLst>
              <a:ext uri="{FF2B5EF4-FFF2-40B4-BE49-F238E27FC236}">
                <a16:creationId xmlns:a16="http://schemas.microsoft.com/office/drawing/2014/main" id="{3A0AEB2A-A4C2-CFF9-AD40-6D0F986E3512}"/>
              </a:ext>
            </a:extLst>
          </p:cNvPr>
          <p:cNvSpPr/>
          <p:nvPr/>
        </p:nvSpPr>
        <p:spPr>
          <a:xfrm>
            <a:off x="533944" y="3474702"/>
            <a:ext cx="6568441" cy="1138693"/>
          </a:xfrm>
          <a:prstGeom prst="foldedCorner">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r>
              <a:rPr lang="en-US" sz="800" dirty="0">
                <a:solidFill>
                  <a:srgbClr val="000000"/>
                </a:solidFill>
                <a:highlight>
                  <a:srgbClr val="FFFFFF"/>
                </a:highlight>
              </a:rPr>
              <a:t>{</a:t>
            </a:r>
            <a:endParaRPr lang="en-US" sz="800" dirty="0">
              <a:solidFill>
                <a:srgbClr val="000000"/>
              </a:solidFill>
              <a:highlight>
                <a:srgbClr val="FFFFFF"/>
              </a:highlight>
              <a:latin typeface="Consolas" panose="020B0609020204030204" pitchFamily="49" charset="0"/>
            </a:endParaRPr>
          </a:p>
          <a:p>
            <a:r>
              <a:rPr lang="en-US" sz="800" dirty="0">
                <a:solidFill>
                  <a:srgbClr val="0000FF"/>
                </a:solidFill>
                <a:highlight>
                  <a:srgbClr val="FFFFFF"/>
                </a:highlight>
                <a:latin typeface="Consolas" panose="020B0609020204030204" pitchFamily="49" charset="0"/>
              </a:rPr>
              <a:t>"</a:t>
            </a:r>
            <a:r>
              <a:rPr lang="en-US" sz="800" dirty="0" err="1">
                <a:solidFill>
                  <a:srgbClr val="0000FF"/>
                </a:solidFill>
                <a:highlight>
                  <a:srgbClr val="FFFFFF"/>
                </a:highlight>
                <a:latin typeface="Consolas" panose="020B0609020204030204" pitchFamily="49" charset="0"/>
              </a:rPr>
              <a:t>provisioningSessionId</a:t>
            </a:r>
            <a:r>
              <a:rPr lang="en-US" sz="800" dirty="0">
                <a:solidFill>
                  <a:srgbClr val="0000FF"/>
                </a:solidFill>
                <a:highlight>
                  <a:srgbClr val="FFFFFF"/>
                </a:highlight>
                <a:latin typeface="Consolas" panose="020B0609020204030204" pitchFamily="49" charset="0"/>
              </a:rPr>
              <a:t>"</a:t>
            </a:r>
            <a:r>
              <a:rPr lang="en-US" sz="800" dirty="0">
                <a:solidFill>
                  <a:srgbClr val="000000"/>
                </a:solidFill>
                <a:highlight>
                  <a:srgbClr val="FFFFFF"/>
                </a:highlight>
                <a:latin typeface="Consolas" panose="020B0609020204030204" pitchFamily="49" charset="0"/>
              </a:rPr>
              <a:t>:	</a:t>
            </a:r>
            <a:r>
              <a:rPr lang="en-US" sz="800" dirty="0">
                <a:solidFill>
                  <a:srgbClr val="008040"/>
                </a:solidFill>
                <a:highlight>
                  <a:srgbClr val="FFFFFF"/>
                </a:highlight>
                <a:latin typeface="Consolas" panose="020B0609020204030204" pitchFamily="49" charset="0"/>
              </a:rPr>
              <a:t>"d54a1fcc-d411-4e32-807b-2c60dbaeaf5f"</a:t>
            </a:r>
            <a:r>
              <a:rPr lang="en-US" sz="800" dirty="0">
                <a:solidFill>
                  <a:srgbClr val="000000"/>
                </a:solidFill>
                <a:highlight>
                  <a:srgbClr val="FFFFFF"/>
                </a:highlight>
                <a:latin typeface="Consolas" panose="020B0609020204030204" pitchFamily="49" charset="0"/>
              </a:rPr>
              <a:t>,</a:t>
            </a:r>
          </a:p>
          <a:p>
            <a:r>
              <a:rPr lang="en-US" sz="800" dirty="0">
                <a:solidFill>
                  <a:srgbClr val="0000FF"/>
                </a:solidFill>
                <a:highlight>
                  <a:srgbClr val="FFFFFF"/>
                </a:highlight>
                <a:latin typeface="Consolas" panose="020B0609020204030204" pitchFamily="49" charset="0"/>
              </a:rPr>
              <a:t>"</a:t>
            </a:r>
            <a:r>
              <a:rPr lang="en-US" sz="800" dirty="0" err="1">
                <a:solidFill>
                  <a:srgbClr val="0000FF"/>
                </a:solidFill>
                <a:highlight>
                  <a:srgbClr val="FFFFFF"/>
                </a:highlight>
                <a:latin typeface="Consolas" panose="020B0609020204030204" pitchFamily="49" charset="0"/>
              </a:rPr>
              <a:t>provisioningSessionType</a:t>
            </a:r>
            <a:r>
              <a:rPr lang="en-US" sz="800" dirty="0">
                <a:solidFill>
                  <a:srgbClr val="0000FF"/>
                </a:solidFill>
                <a:highlight>
                  <a:srgbClr val="FFFFFF"/>
                </a:highlight>
                <a:latin typeface="Consolas" panose="020B0609020204030204" pitchFamily="49" charset="0"/>
              </a:rPr>
              <a:t>"</a:t>
            </a:r>
            <a:r>
              <a:rPr lang="en-US" sz="800" dirty="0">
                <a:solidFill>
                  <a:srgbClr val="000000"/>
                </a:solidFill>
                <a:highlight>
                  <a:srgbClr val="FFFFFF"/>
                </a:highlight>
                <a:latin typeface="Consolas" panose="020B0609020204030204" pitchFamily="49" charset="0"/>
              </a:rPr>
              <a:t>:	</a:t>
            </a:r>
            <a:r>
              <a:rPr lang="en-US" sz="800" dirty="0">
                <a:solidFill>
                  <a:srgbClr val="008040"/>
                </a:solidFill>
                <a:highlight>
                  <a:srgbClr val="FFFFFF"/>
                </a:highlight>
                <a:latin typeface="Consolas" panose="020B0609020204030204" pitchFamily="49" charset="0"/>
              </a:rPr>
              <a:t>"DOWNLINK"</a:t>
            </a:r>
            <a:r>
              <a:rPr lang="en-US" sz="800" dirty="0">
                <a:solidFill>
                  <a:srgbClr val="000000"/>
                </a:solidFill>
                <a:highlight>
                  <a:srgbClr val="FFFFFF"/>
                </a:highlight>
                <a:latin typeface="Consolas" panose="020B0609020204030204" pitchFamily="49" charset="0"/>
              </a:rPr>
              <a:t>,</a:t>
            </a:r>
          </a:p>
          <a:p>
            <a:r>
              <a:rPr lang="en-US" sz="800" dirty="0">
                <a:solidFill>
                  <a:srgbClr val="0000FF"/>
                </a:solidFill>
                <a:highlight>
                  <a:srgbClr val="FFFFFF"/>
                </a:highlight>
                <a:latin typeface="Consolas" panose="020B0609020204030204" pitchFamily="49" charset="0"/>
              </a:rPr>
              <a:t>"</a:t>
            </a:r>
            <a:r>
              <a:rPr lang="en-US" sz="800" dirty="0" err="1">
                <a:solidFill>
                  <a:srgbClr val="0000FF"/>
                </a:solidFill>
                <a:highlight>
                  <a:srgbClr val="FFFFFF"/>
                </a:highlight>
                <a:latin typeface="Consolas" panose="020B0609020204030204" pitchFamily="49" charset="0"/>
              </a:rPr>
              <a:t>streamingAccess</a:t>
            </a:r>
            <a:r>
              <a:rPr lang="en-US" sz="800" dirty="0">
                <a:solidFill>
                  <a:srgbClr val="0000FF"/>
                </a:solidFill>
                <a:highlight>
                  <a:srgbClr val="FFFFFF"/>
                </a:highlight>
                <a:latin typeface="Consolas" panose="020B0609020204030204" pitchFamily="49" charset="0"/>
              </a:rPr>
              <a:t>"</a:t>
            </a:r>
            <a:r>
              <a:rPr lang="en-US" sz="800" dirty="0">
                <a:solidFill>
                  <a:srgbClr val="000000"/>
                </a:solidFill>
                <a:highlight>
                  <a:srgbClr val="FFFFFF"/>
                </a:highlight>
                <a:latin typeface="Consolas" panose="020B0609020204030204" pitchFamily="49" charset="0"/>
              </a:rPr>
              <a:t>:	{</a:t>
            </a:r>
          </a:p>
          <a:p>
            <a:r>
              <a:rPr lang="en-US" sz="800" dirty="0">
                <a:solidFill>
                  <a:srgbClr val="000000"/>
                </a:solidFill>
                <a:highlight>
                  <a:srgbClr val="FFFFFF"/>
                </a:highlight>
                <a:latin typeface="Consolas" panose="020B0609020204030204" pitchFamily="49" charset="0"/>
              </a:rPr>
              <a:t>	</a:t>
            </a:r>
            <a:r>
              <a:rPr lang="en-US" sz="800" dirty="0">
                <a:solidFill>
                  <a:srgbClr val="0000FF"/>
                </a:solidFill>
                <a:highlight>
                  <a:srgbClr val="FFFFFF"/>
                </a:highlight>
                <a:latin typeface="Consolas" panose="020B0609020204030204" pitchFamily="49" charset="0"/>
              </a:rPr>
              <a:t>"</a:t>
            </a:r>
            <a:r>
              <a:rPr lang="en-US" sz="800" dirty="0" err="1">
                <a:solidFill>
                  <a:srgbClr val="0000FF"/>
                </a:solidFill>
                <a:highlight>
                  <a:srgbClr val="FFFFFF"/>
                </a:highlight>
                <a:latin typeface="Consolas" panose="020B0609020204030204" pitchFamily="49" charset="0"/>
              </a:rPr>
              <a:t>mediaPlayerEntry</a:t>
            </a:r>
            <a:r>
              <a:rPr lang="en-US" sz="800" dirty="0">
                <a:solidFill>
                  <a:srgbClr val="0000FF"/>
                </a:solidFill>
                <a:highlight>
                  <a:srgbClr val="FFFFFF"/>
                </a:highlight>
                <a:latin typeface="Consolas" panose="020B0609020204030204" pitchFamily="49" charset="0"/>
              </a:rPr>
              <a:t>"</a:t>
            </a:r>
            <a:r>
              <a:rPr lang="en-US" sz="800" dirty="0">
                <a:solidFill>
                  <a:srgbClr val="000000"/>
                </a:solidFill>
                <a:highlight>
                  <a:srgbClr val="FFFFFF"/>
                </a:highlight>
                <a:latin typeface="Consolas" panose="020B0609020204030204" pitchFamily="49" charset="0"/>
              </a:rPr>
              <a:t>: </a:t>
            </a:r>
            <a:r>
              <a:rPr lang="en-US" sz="800" dirty="0">
                <a:solidFill>
                  <a:srgbClr val="008040"/>
                </a:solidFill>
                <a:highlight>
                  <a:srgbClr val="FFFFFF"/>
                </a:highlight>
                <a:latin typeface="Consolas" panose="020B0609020204030204" pitchFamily="49" charset="0"/>
              </a:rPr>
              <a:t>"</a:t>
            </a:r>
            <a:r>
              <a:rPr lang="en-US" sz="800" dirty="0">
                <a:solidFill>
                  <a:srgbClr val="0000FF"/>
                </a:solidFill>
                <a:highlight>
                  <a:srgbClr val="FFFFFF"/>
                </a:highlight>
                <a:latin typeface="Consolas" panose="020B0609020204030204" pitchFamily="49" charset="0"/>
              </a:rPr>
              <a:t>http://5gms.bbc.uk/m4d/provisioning-session-d54a1fcc-d411-4e32-807b-</a:t>
            </a:r>
          </a:p>
          <a:p>
            <a:r>
              <a:rPr lang="en-US" sz="800" dirty="0">
                <a:solidFill>
                  <a:srgbClr val="0000FF"/>
                </a:solidFill>
                <a:highlight>
                  <a:srgbClr val="FFFFFF"/>
                </a:highlight>
                <a:latin typeface="Consolas" panose="020B0609020204030204" pitchFamily="49" charset="0"/>
              </a:rPr>
              <a:t>		     2c60dbaeaf5f/Christmas-Greetings-to-5G-MAG.mpd</a:t>
            </a:r>
            <a:r>
              <a:rPr lang="en-US" sz="800" dirty="0">
                <a:solidFill>
                  <a:srgbClr val="008040"/>
                </a:solidFill>
                <a:highlight>
                  <a:srgbClr val="FFFFFF"/>
                </a:highlight>
                <a:latin typeface="Consolas" panose="020B0609020204030204" pitchFamily="49" charset="0"/>
              </a:rPr>
              <a:t>"</a:t>
            </a:r>
            <a:endParaRPr lang="en-US" sz="800" dirty="0">
              <a:solidFill>
                <a:srgbClr val="000000"/>
              </a:solidFill>
              <a:highlight>
                <a:srgbClr val="FFFFFF"/>
              </a:highlight>
              <a:latin typeface="Consolas" panose="020B0609020204030204" pitchFamily="49" charset="0"/>
            </a:endParaRPr>
          </a:p>
          <a:p>
            <a:r>
              <a:rPr lang="en-US" sz="800" dirty="0">
                <a:solidFill>
                  <a:srgbClr val="000000"/>
                </a:solidFill>
                <a:highlight>
                  <a:srgbClr val="FFFFFF"/>
                </a:highlight>
                <a:latin typeface="Consolas" panose="020B0609020204030204" pitchFamily="49" charset="0"/>
              </a:rPr>
              <a:t>	}</a:t>
            </a:r>
          </a:p>
          <a:p>
            <a:r>
              <a:rPr lang="en-US" sz="800" dirty="0">
                <a:solidFill>
                  <a:srgbClr val="000000"/>
                </a:solidFill>
                <a:highlight>
                  <a:srgbClr val="FFFFFF"/>
                </a:highlight>
                <a:latin typeface="Consolas" panose="020B0609020204030204" pitchFamily="49" charset="0"/>
              </a:rPr>
              <a:t>}</a:t>
            </a:r>
            <a:endParaRPr lang="de-DE" sz="800" dirty="0">
              <a:solidFill>
                <a:schemeClr val="bg1"/>
              </a:solidFill>
              <a:latin typeface="Courier New" panose="02070309020205020404" pitchFamily="49" charset="0"/>
              <a:cs typeface="Courier New" panose="02070309020205020404" pitchFamily="49" charset="0"/>
            </a:endParaRPr>
          </a:p>
        </p:txBody>
      </p:sp>
      <p:sp>
        <p:nvSpPr>
          <p:cNvPr id="37" name="Arrow: Right 36">
            <a:extLst>
              <a:ext uri="{FF2B5EF4-FFF2-40B4-BE49-F238E27FC236}">
                <a16:creationId xmlns:a16="http://schemas.microsoft.com/office/drawing/2014/main" id="{68322561-23BB-AF1E-CB28-4CB1D935AAE4}"/>
              </a:ext>
            </a:extLst>
          </p:cNvPr>
          <p:cNvSpPr/>
          <p:nvPr/>
        </p:nvSpPr>
        <p:spPr>
          <a:xfrm>
            <a:off x="2224491" y="4750498"/>
            <a:ext cx="1219205" cy="374469"/>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lnSpc>
                <a:spcPct val="96000"/>
              </a:lnSpc>
            </a:pPr>
            <a:r>
              <a:rPr lang="de-DE" sz="1600" dirty="0">
                <a:solidFill>
                  <a:schemeClr val="bg1"/>
                </a:solidFill>
                <a:latin typeface="Microsoft Sans Serif"/>
                <a:cs typeface="Microsoft Sans Serif" panose="020B0604020202020204" pitchFamily="34" charset="0"/>
              </a:rPr>
              <a:t>Play BBC</a:t>
            </a:r>
            <a:endParaRPr lang="en-US" sz="1600" dirty="0" err="1">
              <a:solidFill>
                <a:schemeClr val="bg1"/>
              </a:solidFill>
              <a:latin typeface="Microsoft Sans Serif"/>
              <a:cs typeface="Microsoft Sans Serif" panose="020B0604020202020204" pitchFamily="34" charset="0"/>
            </a:endParaRPr>
          </a:p>
        </p:txBody>
      </p:sp>
      <p:sp>
        <p:nvSpPr>
          <p:cNvPr id="38" name="Arrow: Right 37">
            <a:extLst>
              <a:ext uri="{FF2B5EF4-FFF2-40B4-BE49-F238E27FC236}">
                <a16:creationId xmlns:a16="http://schemas.microsoft.com/office/drawing/2014/main" id="{FD5650AB-4EF5-4213-BCA6-19927E86D708}"/>
              </a:ext>
            </a:extLst>
          </p:cNvPr>
          <p:cNvSpPr/>
          <p:nvPr/>
        </p:nvSpPr>
        <p:spPr>
          <a:xfrm>
            <a:off x="3447787" y="5177177"/>
            <a:ext cx="1917241" cy="555223"/>
          </a:xfrm>
          <a:prstGeom prst="rightArrow">
            <a:avLst>
              <a:gd name="adj1" fmla="val 73790"/>
              <a:gd name="adj2" fmla="val 42752"/>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lnSpc>
                <a:spcPct val="96000"/>
              </a:lnSpc>
            </a:pPr>
            <a:r>
              <a:rPr lang="de-DE" sz="1600" dirty="0">
                <a:solidFill>
                  <a:schemeClr val="bg1"/>
                </a:solidFill>
                <a:latin typeface="Courier New" panose="02070309020205020404" pitchFamily="49" charset="0"/>
                <a:cs typeface="Courier New" panose="02070309020205020404" pitchFamily="49" charset="0"/>
              </a:rPr>
              <a:t>GET X-MAS MPD</a:t>
            </a:r>
          </a:p>
        </p:txBody>
      </p:sp>
      <p:sp>
        <p:nvSpPr>
          <p:cNvPr id="39" name="Arrow: Right 38">
            <a:extLst>
              <a:ext uri="{FF2B5EF4-FFF2-40B4-BE49-F238E27FC236}">
                <a16:creationId xmlns:a16="http://schemas.microsoft.com/office/drawing/2014/main" id="{D280E9D4-8116-6665-5EAF-62ECA2EBBFB9}"/>
              </a:ext>
            </a:extLst>
          </p:cNvPr>
          <p:cNvSpPr/>
          <p:nvPr/>
        </p:nvSpPr>
        <p:spPr>
          <a:xfrm flipH="1">
            <a:off x="3460023" y="5852996"/>
            <a:ext cx="1906776" cy="555223"/>
          </a:xfrm>
          <a:prstGeom prst="rightArrow">
            <a:avLst>
              <a:gd name="adj1" fmla="val 73790"/>
              <a:gd name="adj2" fmla="val 42752"/>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lnSpc>
                <a:spcPct val="96000"/>
              </a:lnSpc>
            </a:pPr>
            <a:r>
              <a:rPr lang="de-DE" sz="1600" dirty="0">
                <a:solidFill>
                  <a:schemeClr val="bg1"/>
                </a:solidFill>
                <a:latin typeface="Courier New" panose="02070309020205020404" pitchFamily="49" charset="0"/>
                <a:cs typeface="Courier New" panose="02070309020205020404" pitchFamily="49" charset="0"/>
              </a:rPr>
              <a:t>MPD Response</a:t>
            </a:r>
          </a:p>
        </p:txBody>
      </p:sp>
    </p:spTree>
    <p:extLst>
      <p:ext uri="{BB962C8B-B14F-4D97-AF65-F5344CB8AC3E}">
        <p14:creationId xmlns:p14="http://schemas.microsoft.com/office/powerpoint/2010/main" val="2605373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886" fill="hold"/>
                                        <p:tgtEl>
                                          <p:spTgt spid="3"/>
                                        </p:tgtEl>
                                      </p:cBhvr>
                                    </p:cmd>
                                  </p:childTnLst>
                                </p:cTn>
                              </p:par>
                              <p:par>
                                <p:cTn id="7" presetID="17" presetClass="entr" presetSubtype="8"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anim calcmode="lin" valueType="num">
                                      <p:cBhvr>
                                        <p:cTn id="9" dur="1500" fill="hold"/>
                                        <p:tgtEl>
                                          <p:spTgt spid="32"/>
                                        </p:tgtEl>
                                        <p:attrNameLst>
                                          <p:attrName>ppt_x</p:attrName>
                                        </p:attrNameLst>
                                      </p:cBhvr>
                                      <p:tavLst>
                                        <p:tav tm="0">
                                          <p:val>
                                            <p:strVal val="#ppt_x-#ppt_w/2"/>
                                          </p:val>
                                        </p:tav>
                                        <p:tav tm="100000">
                                          <p:val>
                                            <p:strVal val="#ppt_x"/>
                                          </p:val>
                                        </p:tav>
                                      </p:tavLst>
                                    </p:anim>
                                    <p:anim calcmode="lin" valueType="num">
                                      <p:cBhvr>
                                        <p:cTn id="10" dur="1500" fill="hold"/>
                                        <p:tgtEl>
                                          <p:spTgt spid="32"/>
                                        </p:tgtEl>
                                        <p:attrNameLst>
                                          <p:attrName>ppt_y</p:attrName>
                                        </p:attrNameLst>
                                      </p:cBhvr>
                                      <p:tavLst>
                                        <p:tav tm="0">
                                          <p:val>
                                            <p:strVal val="#ppt_y"/>
                                          </p:val>
                                        </p:tav>
                                        <p:tav tm="100000">
                                          <p:val>
                                            <p:strVal val="#ppt_y"/>
                                          </p:val>
                                        </p:tav>
                                      </p:tavLst>
                                    </p:anim>
                                    <p:anim calcmode="lin" valueType="num">
                                      <p:cBhvr>
                                        <p:cTn id="11" dur="1500" fill="hold"/>
                                        <p:tgtEl>
                                          <p:spTgt spid="32"/>
                                        </p:tgtEl>
                                        <p:attrNameLst>
                                          <p:attrName>ppt_w</p:attrName>
                                        </p:attrNameLst>
                                      </p:cBhvr>
                                      <p:tavLst>
                                        <p:tav tm="0">
                                          <p:val>
                                            <p:fltVal val="0"/>
                                          </p:val>
                                        </p:tav>
                                        <p:tav tm="100000">
                                          <p:val>
                                            <p:strVal val="#ppt_w"/>
                                          </p:val>
                                        </p:tav>
                                      </p:tavLst>
                                    </p:anim>
                                    <p:anim calcmode="lin" valueType="num">
                                      <p:cBhvr>
                                        <p:cTn id="12" dur="1500" fill="hold"/>
                                        <p:tgtEl>
                                          <p:spTgt spid="32"/>
                                        </p:tgtEl>
                                        <p:attrNameLst>
                                          <p:attrName>ppt_h</p:attrName>
                                        </p:attrNameLst>
                                      </p:cBhvr>
                                      <p:tavLst>
                                        <p:tav tm="0">
                                          <p:val>
                                            <p:strVal val="#ppt_h"/>
                                          </p:val>
                                        </p:tav>
                                        <p:tav tm="100000">
                                          <p:val>
                                            <p:strVal val="#ppt_h"/>
                                          </p:val>
                                        </p:tav>
                                      </p:tavLst>
                                    </p:anim>
                                  </p:childTnLst>
                                </p:cTn>
                              </p:par>
                              <p:par>
                                <p:cTn id="13" presetID="17" presetClass="entr" presetSubtype="8" fill="hold" grpId="0" nodeType="withEffect">
                                  <p:stCondLst>
                                    <p:cond delay="1000"/>
                                  </p:stCondLst>
                                  <p:childTnLst>
                                    <p:set>
                                      <p:cBhvr>
                                        <p:cTn id="14" dur="1" fill="hold">
                                          <p:stCondLst>
                                            <p:cond delay="0"/>
                                          </p:stCondLst>
                                        </p:cTn>
                                        <p:tgtEl>
                                          <p:spTgt spid="34"/>
                                        </p:tgtEl>
                                        <p:attrNameLst>
                                          <p:attrName>style.visibility</p:attrName>
                                        </p:attrNameLst>
                                      </p:cBhvr>
                                      <p:to>
                                        <p:strVal val="visible"/>
                                      </p:to>
                                    </p:set>
                                    <p:anim calcmode="lin" valueType="num">
                                      <p:cBhvr>
                                        <p:cTn id="15" dur="3000" fill="hold"/>
                                        <p:tgtEl>
                                          <p:spTgt spid="34"/>
                                        </p:tgtEl>
                                        <p:attrNameLst>
                                          <p:attrName>ppt_x</p:attrName>
                                        </p:attrNameLst>
                                      </p:cBhvr>
                                      <p:tavLst>
                                        <p:tav tm="0">
                                          <p:val>
                                            <p:strVal val="#ppt_x-#ppt_w/2"/>
                                          </p:val>
                                        </p:tav>
                                        <p:tav tm="100000">
                                          <p:val>
                                            <p:strVal val="#ppt_x"/>
                                          </p:val>
                                        </p:tav>
                                      </p:tavLst>
                                    </p:anim>
                                    <p:anim calcmode="lin" valueType="num">
                                      <p:cBhvr>
                                        <p:cTn id="16" dur="3000" fill="hold"/>
                                        <p:tgtEl>
                                          <p:spTgt spid="34"/>
                                        </p:tgtEl>
                                        <p:attrNameLst>
                                          <p:attrName>ppt_y</p:attrName>
                                        </p:attrNameLst>
                                      </p:cBhvr>
                                      <p:tavLst>
                                        <p:tav tm="0">
                                          <p:val>
                                            <p:strVal val="#ppt_y"/>
                                          </p:val>
                                        </p:tav>
                                        <p:tav tm="100000">
                                          <p:val>
                                            <p:strVal val="#ppt_y"/>
                                          </p:val>
                                        </p:tav>
                                      </p:tavLst>
                                    </p:anim>
                                    <p:anim calcmode="lin" valueType="num">
                                      <p:cBhvr>
                                        <p:cTn id="17" dur="3000" fill="hold"/>
                                        <p:tgtEl>
                                          <p:spTgt spid="34"/>
                                        </p:tgtEl>
                                        <p:attrNameLst>
                                          <p:attrName>ppt_w</p:attrName>
                                        </p:attrNameLst>
                                      </p:cBhvr>
                                      <p:tavLst>
                                        <p:tav tm="0">
                                          <p:val>
                                            <p:fltVal val="0"/>
                                          </p:val>
                                        </p:tav>
                                        <p:tav tm="100000">
                                          <p:val>
                                            <p:strVal val="#ppt_w"/>
                                          </p:val>
                                        </p:tav>
                                      </p:tavLst>
                                    </p:anim>
                                    <p:anim calcmode="lin" valueType="num">
                                      <p:cBhvr>
                                        <p:cTn id="18" dur="3000" fill="hold"/>
                                        <p:tgtEl>
                                          <p:spTgt spid="34"/>
                                        </p:tgtEl>
                                        <p:attrNameLst>
                                          <p:attrName>ppt_h</p:attrName>
                                        </p:attrNameLst>
                                      </p:cBhvr>
                                      <p:tavLst>
                                        <p:tav tm="0">
                                          <p:val>
                                            <p:strVal val="#ppt_h"/>
                                          </p:val>
                                        </p:tav>
                                        <p:tav tm="100000">
                                          <p:val>
                                            <p:strVal val="#ppt_h"/>
                                          </p:val>
                                        </p:tav>
                                      </p:tavLst>
                                    </p:anim>
                                  </p:childTnLst>
                                </p:cTn>
                              </p:par>
                              <p:par>
                                <p:cTn id="19" presetID="17" presetClass="entr" presetSubtype="2" fill="hold" grpId="0" nodeType="withEffect">
                                  <p:stCondLst>
                                    <p:cond delay="4000"/>
                                  </p:stCondLst>
                                  <p:childTnLst>
                                    <p:set>
                                      <p:cBhvr>
                                        <p:cTn id="20" dur="1" fill="hold">
                                          <p:stCondLst>
                                            <p:cond delay="0"/>
                                          </p:stCondLst>
                                        </p:cTn>
                                        <p:tgtEl>
                                          <p:spTgt spid="35"/>
                                        </p:tgtEl>
                                        <p:attrNameLst>
                                          <p:attrName>style.visibility</p:attrName>
                                        </p:attrNameLst>
                                      </p:cBhvr>
                                      <p:to>
                                        <p:strVal val="visible"/>
                                      </p:to>
                                    </p:set>
                                    <p:anim calcmode="lin" valueType="num">
                                      <p:cBhvr>
                                        <p:cTn id="21" dur="3000" fill="hold"/>
                                        <p:tgtEl>
                                          <p:spTgt spid="35"/>
                                        </p:tgtEl>
                                        <p:attrNameLst>
                                          <p:attrName>ppt_x</p:attrName>
                                        </p:attrNameLst>
                                      </p:cBhvr>
                                      <p:tavLst>
                                        <p:tav tm="0">
                                          <p:val>
                                            <p:strVal val="#ppt_x+#ppt_w/2"/>
                                          </p:val>
                                        </p:tav>
                                        <p:tav tm="100000">
                                          <p:val>
                                            <p:strVal val="#ppt_x"/>
                                          </p:val>
                                        </p:tav>
                                      </p:tavLst>
                                    </p:anim>
                                    <p:anim calcmode="lin" valueType="num">
                                      <p:cBhvr>
                                        <p:cTn id="22" dur="3000" fill="hold"/>
                                        <p:tgtEl>
                                          <p:spTgt spid="35"/>
                                        </p:tgtEl>
                                        <p:attrNameLst>
                                          <p:attrName>ppt_y</p:attrName>
                                        </p:attrNameLst>
                                      </p:cBhvr>
                                      <p:tavLst>
                                        <p:tav tm="0">
                                          <p:val>
                                            <p:strVal val="#ppt_y"/>
                                          </p:val>
                                        </p:tav>
                                        <p:tav tm="100000">
                                          <p:val>
                                            <p:strVal val="#ppt_y"/>
                                          </p:val>
                                        </p:tav>
                                      </p:tavLst>
                                    </p:anim>
                                    <p:anim calcmode="lin" valueType="num">
                                      <p:cBhvr>
                                        <p:cTn id="23" dur="3000" fill="hold"/>
                                        <p:tgtEl>
                                          <p:spTgt spid="35"/>
                                        </p:tgtEl>
                                        <p:attrNameLst>
                                          <p:attrName>ppt_w</p:attrName>
                                        </p:attrNameLst>
                                      </p:cBhvr>
                                      <p:tavLst>
                                        <p:tav tm="0">
                                          <p:val>
                                            <p:fltVal val="0"/>
                                          </p:val>
                                        </p:tav>
                                        <p:tav tm="100000">
                                          <p:val>
                                            <p:strVal val="#ppt_w"/>
                                          </p:val>
                                        </p:tav>
                                      </p:tavLst>
                                    </p:anim>
                                    <p:anim calcmode="lin" valueType="num">
                                      <p:cBhvr>
                                        <p:cTn id="24" dur="3000" fill="hold"/>
                                        <p:tgtEl>
                                          <p:spTgt spid="35"/>
                                        </p:tgtEl>
                                        <p:attrNameLst>
                                          <p:attrName>ppt_h</p:attrName>
                                        </p:attrNameLst>
                                      </p:cBhvr>
                                      <p:tavLst>
                                        <p:tav tm="0">
                                          <p:val>
                                            <p:strVal val="#ppt_h"/>
                                          </p:val>
                                        </p:tav>
                                        <p:tav tm="100000">
                                          <p:val>
                                            <p:strVal val="#ppt_h"/>
                                          </p:val>
                                        </p:tav>
                                      </p:tavLst>
                                    </p:anim>
                                  </p:childTnLst>
                                </p:cTn>
                              </p:par>
                              <p:par>
                                <p:cTn id="25" presetID="47" presetClass="entr" presetSubtype="0" fill="hold" grpId="0" nodeType="withEffect">
                                  <p:stCondLst>
                                    <p:cond delay="700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2000"/>
                                        <p:tgtEl>
                                          <p:spTgt spid="36"/>
                                        </p:tgtEl>
                                      </p:cBhvr>
                                    </p:animEffect>
                                    <p:anim calcmode="lin" valueType="num">
                                      <p:cBhvr>
                                        <p:cTn id="28" dur="2000" fill="hold"/>
                                        <p:tgtEl>
                                          <p:spTgt spid="36"/>
                                        </p:tgtEl>
                                        <p:attrNameLst>
                                          <p:attrName>ppt_x</p:attrName>
                                        </p:attrNameLst>
                                      </p:cBhvr>
                                      <p:tavLst>
                                        <p:tav tm="0">
                                          <p:val>
                                            <p:strVal val="#ppt_x"/>
                                          </p:val>
                                        </p:tav>
                                        <p:tav tm="100000">
                                          <p:val>
                                            <p:strVal val="#ppt_x"/>
                                          </p:val>
                                        </p:tav>
                                      </p:tavLst>
                                    </p:anim>
                                    <p:anim calcmode="lin" valueType="num">
                                      <p:cBhvr>
                                        <p:cTn id="29" dur="2000" fill="hold"/>
                                        <p:tgtEl>
                                          <p:spTgt spid="36"/>
                                        </p:tgtEl>
                                        <p:attrNameLst>
                                          <p:attrName>ppt_y</p:attrName>
                                        </p:attrNameLst>
                                      </p:cBhvr>
                                      <p:tavLst>
                                        <p:tav tm="0">
                                          <p:val>
                                            <p:strVal val="#ppt_y-.1"/>
                                          </p:val>
                                        </p:tav>
                                        <p:tav tm="100000">
                                          <p:val>
                                            <p:strVal val="#ppt_y"/>
                                          </p:val>
                                        </p:tav>
                                      </p:tavLst>
                                    </p:anim>
                                  </p:childTnLst>
                                </p:cTn>
                              </p:par>
                              <p:par>
                                <p:cTn id="30" presetID="17" presetClass="entr" presetSubtype="8" fill="hold" grpId="0" nodeType="withEffect">
                                  <p:stCondLst>
                                    <p:cond delay="9000"/>
                                  </p:stCondLst>
                                  <p:childTnLst>
                                    <p:set>
                                      <p:cBhvr>
                                        <p:cTn id="31" dur="1" fill="hold">
                                          <p:stCondLst>
                                            <p:cond delay="0"/>
                                          </p:stCondLst>
                                        </p:cTn>
                                        <p:tgtEl>
                                          <p:spTgt spid="37"/>
                                        </p:tgtEl>
                                        <p:attrNameLst>
                                          <p:attrName>style.visibility</p:attrName>
                                        </p:attrNameLst>
                                      </p:cBhvr>
                                      <p:to>
                                        <p:strVal val="visible"/>
                                      </p:to>
                                    </p:set>
                                    <p:anim calcmode="lin" valueType="num">
                                      <p:cBhvr>
                                        <p:cTn id="32" dur="2000" fill="hold"/>
                                        <p:tgtEl>
                                          <p:spTgt spid="37"/>
                                        </p:tgtEl>
                                        <p:attrNameLst>
                                          <p:attrName>ppt_x</p:attrName>
                                        </p:attrNameLst>
                                      </p:cBhvr>
                                      <p:tavLst>
                                        <p:tav tm="0">
                                          <p:val>
                                            <p:strVal val="#ppt_x-#ppt_w/2"/>
                                          </p:val>
                                        </p:tav>
                                        <p:tav tm="100000">
                                          <p:val>
                                            <p:strVal val="#ppt_x"/>
                                          </p:val>
                                        </p:tav>
                                      </p:tavLst>
                                    </p:anim>
                                    <p:anim calcmode="lin" valueType="num">
                                      <p:cBhvr>
                                        <p:cTn id="33" dur="2000" fill="hold"/>
                                        <p:tgtEl>
                                          <p:spTgt spid="37"/>
                                        </p:tgtEl>
                                        <p:attrNameLst>
                                          <p:attrName>ppt_y</p:attrName>
                                        </p:attrNameLst>
                                      </p:cBhvr>
                                      <p:tavLst>
                                        <p:tav tm="0">
                                          <p:val>
                                            <p:strVal val="#ppt_y"/>
                                          </p:val>
                                        </p:tav>
                                        <p:tav tm="100000">
                                          <p:val>
                                            <p:strVal val="#ppt_y"/>
                                          </p:val>
                                        </p:tav>
                                      </p:tavLst>
                                    </p:anim>
                                    <p:anim calcmode="lin" valueType="num">
                                      <p:cBhvr>
                                        <p:cTn id="34" dur="2000" fill="hold"/>
                                        <p:tgtEl>
                                          <p:spTgt spid="37"/>
                                        </p:tgtEl>
                                        <p:attrNameLst>
                                          <p:attrName>ppt_w</p:attrName>
                                        </p:attrNameLst>
                                      </p:cBhvr>
                                      <p:tavLst>
                                        <p:tav tm="0">
                                          <p:val>
                                            <p:fltVal val="0"/>
                                          </p:val>
                                        </p:tav>
                                        <p:tav tm="100000">
                                          <p:val>
                                            <p:strVal val="#ppt_w"/>
                                          </p:val>
                                        </p:tav>
                                      </p:tavLst>
                                    </p:anim>
                                    <p:anim calcmode="lin" valueType="num">
                                      <p:cBhvr>
                                        <p:cTn id="35" dur="2000" fill="hold"/>
                                        <p:tgtEl>
                                          <p:spTgt spid="37"/>
                                        </p:tgtEl>
                                        <p:attrNameLst>
                                          <p:attrName>ppt_h</p:attrName>
                                        </p:attrNameLst>
                                      </p:cBhvr>
                                      <p:tavLst>
                                        <p:tav tm="0">
                                          <p:val>
                                            <p:strVal val="#ppt_h"/>
                                          </p:val>
                                        </p:tav>
                                        <p:tav tm="100000">
                                          <p:val>
                                            <p:strVal val="#ppt_h"/>
                                          </p:val>
                                        </p:tav>
                                      </p:tavLst>
                                    </p:anim>
                                  </p:childTnLst>
                                </p:cTn>
                              </p:par>
                              <p:par>
                                <p:cTn id="36" presetID="17" presetClass="entr" presetSubtype="8" fill="hold" grpId="0" nodeType="withEffect">
                                  <p:stCondLst>
                                    <p:cond delay="11000"/>
                                  </p:stCondLst>
                                  <p:childTnLst>
                                    <p:set>
                                      <p:cBhvr>
                                        <p:cTn id="37" dur="1" fill="hold">
                                          <p:stCondLst>
                                            <p:cond delay="0"/>
                                          </p:stCondLst>
                                        </p:cTn>
                                        <p:tgtEl>
                                          <p:spTgt spid="38"/>
                                        </p:tgtEl>
                                        <p:attrNameLst>
                                          <p:attrName>style.visibility</p:attrName>
                                        </p:attrNameLst>
                                      </p:cBhvr>
                                      <p:to>
                                        <p:strVal val="visible"/>
                                      </p:to>
                                    </p:set>
                                    <p:anim calcmode="lin" valueType="num">
                                      <p:cBhvr>
                                        <p:cTn id="38" dur="2000" fill="hold"/>
                                        <p:tgtEl>
                                          <p:spTgt spid="38"/>
                                        </p:tgtEl>
                                        <p:attrNameLst>
                                          <p:attrName>ppt_x</p:attrName>
                                        </p:attrNameLst>
                                      </p:cBhvr>
                                      <p:tavLst>
                                        <p:tav tm="0">
                                          <p:val>
                                            <p:strVal val="#ppt_x-#ppt_w/2"/>
                                          </p:val>
                                        </p:tav>
                                        <p:tav tm="100000">
                                          <p:val>
                                            <p:strVal val="#ppt_x"/>
                                          </p:val>
                                        </p:tav>
                                      </p:tavLst>
                                    </p:anim>
                                    <p:anim calcmode="lin" valueType="num">
                                      <p:cBhvr>
                                        <p:cTn id="39" dur="2000" fill="hold"/>
                                        <p:tgtEl>
                                          <p:spTgt spid="38"/>
                                        </p:tgtEl>
                                        <p:attrNameLst>
                                          <p:attrName>ppt_y</p:attrName>
                                        </p:attrNameLst>
                                      </p:cBhvr>
                                      <p:tavLst>
                                        <p:tav tm="0">
                                          <p:val>
                                            <p:strVal val="#ppt_y"/>
                                          </p:val>
                                        </p:tav>
                                        <p:tav tm="100000">
                                          <p:val>
                                            <p:strVal val="#ppt_y"/>
                                          </p:val>
                                        </p:tav>
                                      </p:tavLst>
                                    </p:anim>
                                    <p:anim calcmode="lin" valueType="num">
                                      <p:cBhvr>
                                        <p:cTn id="40" dur="2000" fill="hold"/>
                                        <p:tgtEl>
                                          <p:spTgt spid="38"/>
                                        </p:tgtEl>
                                        <p:attrNameLst>
                                          <p:attrName>ppt_w</p:attrName>
                                        </p:attrNameLst>
                                      </p:cBhvr>
                                      <p:tavLst>
                                        <p:tav tm="0">
                                          <p:val>
                                            <p:fltVal val="0"/>
                                          </p:val>
                                        </p:tav>
                                        <p:tav tm="100000">
                                          <p:val>
                                            <p:strVal val="#ppt_w"/>
                                          </p:val>
                                        </p:tav>
                                      </p:tavLst>
                                    </p:anim>
                                    <p:anim calcmode="lin" valueType="num">
                                      <p:cBhvr>
                                        <p:cTn id="41" dur="2000" fill="hold"/>
                                        <p:tgtEl>
                                          <p:spTgt spid="38"/>
                                        </p:tgtEl>
                                        <p:attrNameLst>
                                          <p:attrName>ppt_h</p:attrName>
                                        </p:attrNameLst>
                                      </p:cBhvr>
                                      <p:tavLst>
                                        <p:tav tm="0">
                                          <p:val>
                                            <p:strVal val="#ppt_h"/>
                                          </p:val>
                                        </p:tav>
                                        <p:tav tm="100000">
                                          <p:val>
                                            <p:strVal val="#ppt_h"/>
                                          </p:val>
                                        </p:tav>
                                      </p:tavLst>
                                    </p:anim>
                                  </p:childTnLst>
                                </p:cTn>
                              </p:par>
                            </p:childTnLst>
                          </p:cTn>
                        </p:par>
                        <p:par>
                          <p:cTn id="42" fill="hold">
                            <p:stCondLst>
                              <p:cond delay="13000"/>
                            </p:stCondLst>
                            <p:childTnLst>
                              <p:par>
                                <p:cTn id="43" presetID="17" presetClass="entr" presetSubtype="2" fill="hold" grpId="0" nodeType="afterEffect">
                                  <p:stCondLst>
                                    <p:cond delay="0"/>
                                  </p:stCondLst>
                                  <p:childTnLst>
                                    <p:set>
                                      <p:cBhvr>
                                        <p:cTn id="44" dur="1" fill="hold">
                                          <p:stCondLst>
                                            <p:cond delay="0"/>
                                          </p:stCondLst>
                                        </p:cTn>
                                        <p:tgtEl>
                                          <p:spTgt spid="39"/>
                                        </p:tgtEl>
                                        <p:attrNameLst>
                                          <p:attrName>style.visibility</p:attrName>
                                        </p:attrNameLst>
                                      </p:cBhvr>
                                      <p:to>
                                        <p:strVal val="visible"/>
                                      </p:to>
                                    </p:set>
                                    <p:anim calcmode="lin" valueType="num">
                                      <p:cBhvr>
                                        <p:cTn id="45" dur="2000" fill="hold"/>
                                        <p:tgtEl>
                                          <p:spTgt spid="39"/>
                                        </p:tgtEl>
                                        <p:attrNameLst>
                                          <p:attrName>ppt_x</p:attrName>
                                        </p:attrNameLst>
                                      </p:cBhvr>
                                      <p:tavLst>
                                        <p:tav tm="0">
                                          <p:val>
                                            <p:strVal val="#ppt_x+#ppt_w/2"/>
                                          </p:val>
                                        </p:tav>
                                        <p:tav tm="100000">
                                          <p:val>
                                            <p:strVal val="#ppt_x"/>
                                          </p:val>
                                        </p:tav>
                                      </p:tavLst>
                                    </p:anim>
                                    <p:anim calcmode="lin" valueType="num">
                                      <p:cBhvr>
                                        <p:cTn id="46" dur="2000" fill="hold"/>
                                        <p:tgtEl>
                                          <p:spTgt spid="39"/>
                                        </p:tgtEl>
                                        <p:attrNameLst>
                                          <p:attrName>ppt_y</p:attrName>
                                        </p:attrNameLst>
                                      </p:cBhvr>
                                      <p:tavLst>
                                        <p:tav tm="0">
                                          <p:val>
                                            <p:strVal val="#ppt_y"/>
                                          </p:val>
                                        </p:tav>
                                        <p:tav tm="100000">
                                          <p:val>
                                            <p:strVal val="#ppt_y"/>
                                          </p:val>
                                        </p:tav>
                                      </p:tavLst>
                                    </p:anim>
                                    <p:anim calcmode="lin" valueType="num">
                                      <p:cBhvr>
                                        <p:cTn id="47" dur="2000" fill="hold"/>
                                        <p:tgtEl>
                                          <p:spTgt spid="39"/>
                                        </p:tgtEl>
                                        <p:attrNameLst>
                                          <p:attrName>ppt_w</p:attrName>
                                        </p:attrNameLst>
                                      </p:cBhvr>
                                      <p:tavLst>
                                        <p:tav tm="0">
                                          <p:val>
                                            <p:fltVal val="0"/>
                                          </p:val>
                                        </p:tav>
                                        <p:tav tm="100000">
                                          <p:val>
                                            <p:strVal val="#ppt_w"/>
                                          </p:val>
                                        </p:tav>
                                      </p:tavLst>
                                    </p:anim>
                                    <p:anim calcmode="lin" valueType="num">
                                      <p:cBhvr>
                                        <p:cTn id="48" dur="2000" fill="hold"/>
                                        <p:tgtEl>
                                          <p:spTgt spid="39"/>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p:cTn id="49" fill="hold" display="0">
                  <p:stCondLst>
                    <p:cond delay="indefinite"/>
                  </p:stCondLst>
                </p:cTn>
                <p:tgtEl>
                  <p:spTgt spid="3"/>
                </p:tgtEl>
              </p:cMediaNode>
            </p:video>
          </p:childTnLst>
        </p:cTn>
      </p:par>
    </p:tnLst>
    <p:bldLst>
      <p:bldP spid="32" grpId="0" animBg="1"/>
      <p:bldP spid="34" grpId="0" animBg="1"/>
      <p:bldP spid="35" grpId="0" animBg="1"/>
      <p:bldP spid="36" grpId="0" animBg="1"/>
      <p:bldP spid="37" grpId="0" animBg="1"/>
      <p:bldP spid="38" grpId="0" animBg="1"/>
      <p:bldP spid="3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1135E6FB-F56D-336A-238F-38FB341EFD5F}"/>
              </a:ext>
            </a:extLst>
          </p:cNvPr>
          <p:cNvSpPr/>
          <p:nvPr/>
        </p:nvSpPr>
        <p:spPr>
          <a:xfrm>
            <a:off x="4476752" y="60960"/>
            <a:ext cx="2664278" cy="6438677"/>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a:lnSpc>
                <a:spcPct val="96000"/>
              </a:lnSpc>
            </a:pPr>
            <a:r>
              <a:rPr lang="de-DE" dirty="0">
                <a:solidFill>
                  <a:schemeClr val="bg1"/>
                </a:solidFill>
                <a:latin typeface="Microsoft Sans Serif"/>
                <a:cs typeface="Microsoft Sans Serif" panose="020B0604020202020204" pitchFamily="34" charset="0"/>
              </a:rPr>
              <a:t>5G Content Provider UK</a:t>
            </a:r>
            <a:endParaRPr lang="en-US" dirty="0" err="1">
              <a:solidFill>
                <a:schemeClr val="bg1"/>
              </a:solidFill>
              <a:latin typeface="Microsoft Sans Serif"/>
              <a:cs typeface="Microsoft Sans Serif" panose="020B0604020202020204" pitchFamily="34" charset="0"/>
            </a:endParaRPr>
          </a:p>
        </p:txBody>
      </p:sp>
      <p:sp>
        <p:nvSpPr>
          <p:cNvPr id="30" name="Rectangle 29">
            <a:extLst>
              <a:ext uri="{FF2B5EF4-FFF2-40B4-BE49-F238E27FC236}">
                <a16:creationId xmlns:a16="http://schemas.microsoft.com/office/drawing/2014/main" id="{6E1CC291-6E16-55D3-0D5D-5D9425465322}"/>
              </a:ext>
            </a:extLst>
          </p:cNvPr>
          <p:cNvSpPr/>
          <p:nvPr/>
        </p:nvSpPr>
        <p:spPr>
          <a:xfrm>
            <a:off x="156754" y="10826"/>
            <a:ext cx="4035880" cy="6438677"/>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a:lnSpc>
                <a:spcPct val="96000"/>
              </a:lnSpc>
            </a:pPr>
            <a:r>
              <a:rPr lang="de-DE" dirty="0">
                <a:solidFill>
                  <a:schemeClr val="bg1"/>
                </a:solidFill>
                <a:latin typeface="Microsoft Sans Serif"/>
                <a:cs typeface="Microsoft Sans Serif" panose="020B0604020202020204" pitchFamily="34" charset="0"/>
              </a:rPr>
              <a:t>5G UE in China</a:t>
            </a:r>
            <a:endParaRPr lang="en-US" dirty="0" err="1">
              <a:solidFill>
                <a:schemeClr val="bg1"/>
              </a:solidFill>
              <a:latin typeface="Microsoft Sans Serif"/>
              <a:cs typeface="Microsoft Sans Serif" panose="020B0604020202020204" pitchFamily="34" charset="0"/>
            </a:endParaRPr>
          </a:p>
        </p:txBody>
      </p:sp>
      <p:sp>
        <p:nvSpPr>
          <p:cNvPr id="2" name="Footer Placeholder 1">
            <a:extLst>
              <a:ext uri="{FF2B5EF4-FFF2-40B4-BE49-F238E27FC236}">
                <a16:creationId xmlns:a16="http://schemas.microsoft.com/office/drawing/2014/main" id="{980B7A59-AF0D-4809-3FBD-F0F9A6D67666}"/>
              </a:ext>
            </a:extLst>
          </p:cNvPr>
          <p:cNvSpPr>
            <a:spLocks noGrp="1"/>
          </p:cNvSpPr>
          <p:nvPr>
            <p:ph type="ftr" sz="quarter" idx="3"/>
          </p:nvPr>
        </p:nvSpPr>
        <p:spPr/>
        <p:txBody>
          <a:bodyPr/>
          <a:lstStyle/>
          <a:p>
            <a:r>
              <a:rPr lang="en-US"/>
              <a:t>Media Web Symposium 2023</a:t>
            </a:r>
            <a:endParaRPr lang="en-US" dirty="0"/>
          </a:p>
        </p:txBody>
      </p:sp>
      <p:sp>
        <p:nvSpPr>
          <p:cNvPr id="15" name="Rectangle 14">
            <a:extLst>
              <a:ext uri="{FF2B5EF4-FFF2-40B4-BE49-F238E27FC236}">
                <a16:creationId xmlns:a16="http://schemas.microsoft.com/office/drawing/2014/main" id="{557C8431-4B5D-C26E-92C1-40E67257A7C7}"/>
              </a:ext>
            </a:extLst>
          </p:cNvPr>
          <p:cNvSpPr/>
          <p:nvPr/>
        </p:nvSpPr>
        <p:spPr>
          <a:xfrm>
            <a:off x="277585" y="574761"/>
            <a:ext cx="1220289" cy="77506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r>
              <a:rPr lang="de-DE" sz="1600" dirty="0">
                <a:solidFill>
                  <a:schemeClr val="bg1"/>
                </a:solidFill>
                <a:latin typeface="Microsoft Sans Serif"/>
                <a:cs typeface="Microsoft Sans Serif" panose="020B0604020202020204" pitchFamily="34" charset="0"/>
              </a:rPr>
              <a:t>5GMS-aware Application</a:t>
            </a:r>
            <a:endParaRPr lang="en-US" sz="1600" dirty="0" err="1">
              <a:solidFill>
                <a:schemeClr val="bg1"/>
              </a:solidFill>
              <a:latin typeface="Microsoft Sans Serif"/>
              <a:cs typeface="Microsoft Sans Serif" panose="020B0604020202020204" pitchFamily="34" charset="0"/>
            </a:endParaRPr>
          </a:p>
        </p:txBody>
      </p:sp>
      <p:sp>
        <p:nvSpPr>
          <p:cNvPr id="16" name="Rectangle 15">
            <a:extLst>
              <a:ext uri="{FF2B5EF4-FFF2-40B4-BE49-F238E27FC236}">
                <a16:creationId xmlns:a16="http://schemas.microsoft.com/office/drawing/2014/main" id="{0B737771-687A-A862-8D48-199A9EDA57E7}"/>
              </a:ext>
            </a:extLst>
          </p:cNvPr>
          <p:cNvSpPr/>
          <p:nvPr/>
        </p:nvSpPr>
        <p:spPr>
          <a:xfrm>
            <a:off x="1692729" y="583468"/>
            <a:ext cx="1033055" cy="775061"/>
          </a:xfrm>
          <a:prstGeom prst="rect">
            <a:avLst/>
          </a:prstGeom>
          <a:solidFill>
            <a:srgbClr val="FFFF00"/>
          </a:solidFill>
          <a:ln w="38100">
            <a:solidFill>
              <a:schemeClr val="bg2"/>
            </a:solid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r>
              <a:rPr lang="de-DE" sz="1600" dirty="0">
                <a:solidFill>
                  <a:schemeClr val="tx1"/>
                </a:solidFill>
                <a:latin typeface="Microsoft Sans Serif"/>
                <a:cs typeface="Microsoft Sans Serif" panose="020B0604020202020204" pitchFamily="34" charset="0"/>
              </a:rPr>
              <a:t>Media Session Handler</a:t>
            </a:r>
            <a:endParaRPr lang="en-US" sz="1600" dirty="0" err="1">
              <a:solidFill>
                <a:schemeClr val="tx1"/>
              </a:solidFill>
              <a:latin typeface="Microsoft Sans Serif"/>
              <a:cs typeface="Microsoft Sans Serif" panose="020B0604020202020204" pitchFamily="34" charset="0"/>
            </a:endParaRPr>
          </a:p>
        </p:txBody>
      </p:sp>
      <p:sp>
        <p:nvSpPr>
          <p:cNvPr id="17" name="Rectangle 16">
            <a:extLst>
              <a:ext uri="{FF2B5EF4-FFF2-40B4-BE49-F238E27FC236}">
                <a16:creationId xmlns:a16="http://schemas.microsoft.com/office/drawing/2014/main" id="{1BED46F9-09F8-A503-05CC-619964C9C021}"/>
              </a:ext>
            </a:extLst>
          </p:cNvPr>
          <p:cNvSpPr/>
          <p:nvPr/>
        </p:nvSpPr>
        <p:spPr>
          <a:xfrm>
            <a:off x="2920639" y="583468"/>
            <a:ext cx="1033055" cy="775061"/>
          </a:xfrm>
          <a:prstGeom prst="rect">
            <a:avLst/>
          </a:prstGeom>
          <a:solidFill>
            <a:srgbClr val="FFFF00"/>
          </a:solidFill>
          <a:ln w="38100">
            <a:solidFill>
              <a:schemeClr val="bg2"/>
            </a:solid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r>
              <a:rPr lang="de-DE" sz="1600" dirty="0">
                <a:solidFill>
                  <a:schemeClr val="tx1"/>
                </a:solidFill>
                <a:latin typeface="Microsoft Sans Serif"/>
                <a:cs typeface="Microsoft Sans Serif" panose="020B0604020202020204" pitchFamily="34" charset="0"/>
              </a:rPr>
              <a:t>Media Player</a:t>
            </a:r>
            <a:endParaRPr lang="en-US" sz="1600" dirty="0" err="1">
              <a:solidFill>
                <a:schemeClr val="tx1"/>
              </a:solidFill>
              <a:latin typeface="Microsoft Sans Serif"/>
              <a:cs typeface="Microsoft Sans Serif" panose="020B0604020202020204" pitchFamily="34" charset="0"/>
            </a:endParaRPr>
          </a:p>
        </p:txBody>
      </p:sp>
      <p:sp>
        <p:nvSpPr>
          <p:cNvPr id="18" name="Rectangle 17">
            <a:extLst>
              <a:ext uri="{FF2B5EF4-FFF2-40B4-BE49-F238E27FC236}">
                <a16:creationId xmlns:a16="http://schemas.microsoft.com/office/drawing/2014/main" id="{78A2ADF0-4C0E-2987-D733-A5F01B1AE9F4}"/>
              </a:ext>
            </a:extLst>
          </p:cNvPr>
          <p:cNvSpPr/>
          <p:nvPr/>
        </p:nvSpPr>
        <p:spPr>
          <a:xfrm>
            <a:off x="4802776" y="583468"/>
            <a:ext cx="1033055" cy="775061"/>
          </a:xfrm>
          <a:prstGeom prst="rect">
            <a:avLst/>
          </a:prstGeom>
          <a:solidFill>
            <a:srgbClr val="FFFF00"/>
          </a:solidFill>
          <a:ln w="38100">
            <a:solidFill>
              <a:schemeClr val="bg2"/>
            </a:solid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r>
              <a:rPr lang="de-DE" sz="1600" dirty="0">
                <a:solidFill>
                  <a:schemeClr val="tx1"/>
                </a:solidFill>
                <a:latin typeface="Microsoft Sans Serif"/>
                <a:cs typeface="Microsoft Sans Serif" panose="020B0604020202020204" pitchFamily="34" charset="0"/>
              </a:rPr>
              <a:t>5GMS</a:t>
            </a:r>
            <a:br>
              <a:rPr lang="de-DE" sz="1600" dirty="0">
                <a:solidFill>
                  <a:schemeClr val="tx1"/>
                </a:solidFill>
                <a:latin typeface="Microsoft Sans Serif"/>
                <a:cs typeface="Microsoft Sans Serif" panose="020B0604020202020204" pitchFamily="34" charset="0"/>
              </a:rPr>
            </a:br>
            <a:r>
              <a:rPr lang="de-DE" sz="1600" dirty="0">
                <a:solidFill>
                  <a:schemeClr val="tx1"/>
                </a:solidFill>
                <a:latin typeface="Microsoft Sans Serif"/>
                <a:cs typeface="Microsoft Sans Serif" panose="020B0604020202020204" pitchFamily="34" charset="0"/>
              </a:rPr>
              <a:t>AS</a:t>
            </a:r>
            <a:endParaRPr lang="en-US" sz="1600" dirty="0" err="1">
              <a:solidFill>
                <a:schemeClr val="tx1"/>
              </a:solidFill>
              <a:latin typeface="Microsoft Sans Serif"/>
              <a:cs typeface="Microsoft Sans Serif" panose="020B0604020202020204" pitchFamily="34" charset="0"/>
            </a:endParaRPr>
          </a:p>
        </p:txBody>
      </p:sp>
      <p:sp>
        <p:nvSpPr>
          <p:cNvPr id="19" name="Rectangle 18">
            <a:extLst>
              <a:ext uri="{FF2B5EF4-FFF2-40B4-BE49-F238E27FC236}">
                <a16:creationId xmlns:a16="http://schemas.microsoft.com/office/drawing/2014/main" id="{3517A28C-DA1F-1C96-876C-83B0065B803C}"/>
              </a:ext>
            </a:extLst>
          </p:cNvPr>
          <p:cNvSpPr/>
          <p:nvPr/>
        </p:nvSpPr>
        <p:spPr>
          <a:xfrm>
            <a:off x="6030686" y="583468"/>
            <a:ext cx="1033055" cy="775061"/>
          </a:xfrm>
          <a:prstGeom prst="rect">
            <a:avLst/>
          </a:prstGeom>
          <a:solidFill>
            <a:srgbClr val="FFFF00"/>
          </a:solidFill>
          <a:ln w="38100">
            <a:solidFill>
              <a:schemeClr val="bg2"/>
            </a:solidFill>
          </a:ln>
        </p:spPr>
        <p:style>
          <a:lnRef idx="0">
            <a:scrgbClr r="0" g="0" b="0"/>
          </a:lnRef>
          <a:fillRef idx="0">
            <a:scrgbClr r="0" g="0" b="0"/>
          </a:fillRef>
          <a:effectRef idx="0">
            <a:scrgbClr r="0" g="0" b="0"/>
          </a:effectRef>
          <a:fontRef idx="minor">
            <a:schemeClr val="lt1"/>
          </a:fontRef>
        </p:style>
        <p:txBody>
          <a:bodyPr rtlCol="0" anchor="ctr"/>
          <a:lstStyle/>
          <a:p>
            <a:pPr algn="ctr">
              <a:lnSpc>
                <a:spcPct val="96000"/>
              </a:lnSpc>
            </a:pPr>
            <a:r>
              <a:rPr lang="de-DE" sz="1600" dirty="0">
                <a:solidFill>
                  <a:schemeClr val="tx1"/>
                </a:solidFill>
                <a:latin typeface="Microsoft Sans Serif"/>
                <a:cs typeface="Microsoft Sans Serif" panose="020B0604020202020204" pitchFamily="34" charset="0"/>
              </a:rPr>
              <a:t>5GMS AF</a:t>
            </a:r>
            <a:endParaRPr lang="en-US" sz="1600" dirty="0" err="1">
              <a:solidFill>
                <a:schemeClr val="tx1"/>
              </a:solidFill>
              <a:latin typeface="Microsoft Sans Serif"/>
              <a:cs typeface="Microsoft Sans Serif" panose="020B0604020202020204" pitchFamily="34" charset="0"/>
            </a:endParaRPr>
          </a:p>
        </p:txBody>
      </p:sp>
      <p:cxnSp>
        <p:nvCxnSpPr>
          <p:cNvPr id="21" name="Straight Connector 20">
            <a:extLst>
              <a:ext uri="{FF2B5EF4-FFF2-40B4-BE49-F238E27FC236}">
                <a16:creationId xmlns:a16="http://schemas.microsoft.com/office/drawing/2014/main" id="{399C33C2-D1F6-0105-B83A-7564075763AF}"/>
              </a:ext>
            </a:extLst>
          </p:cNvPr>
          <p:cNvCxnSpPr>
            <a:cxnSpLocks/>
            <a:stCxn id="15" idx="2"/>
          </p:cNvCxnSpPr>
          <p:nvPr/>
        </p:nvCxnSpPr>
        <p:spPr>
          <a:xfrm>
            <a:off x="887730" y="1349823"/>
            <a:ext cx="0" cy="4946469"/>
          </a:xfrm>
          <a:prstGeom prst="line">
            <a:avLst/>
          </a:prstGeom>
          <a:ln w="28575">
            <a:prstDash val="dash"/>
            <a:headEnd type="none" w="med" len="sm"/>
            <a:tailEnd type="none" w="sm" len="sm"/>
          </a:ln>
        </p:spPr>
        <p:style>
          <a:lnRef idx="1">
            <a:schemeClr val="accent5"/>
          </a:lnRef>
          <a:fillRef idx="0">
            <a:schemeClr val="accent5"/>
          </a:fillRef>
          <a:effectRef idx="0">
            <a:schemeClr val="accent5"/>
          </a:effectRef>
          <a:fontRef idx="minor">
            <a:schemeClr val="tx1"/>
          </a:fontRef>
        </p:style>
      </p:cxnSp>
      <p:cxnSp>
        <p:nvCxnSpPr>
          <p:cNvPr id="23" name="Straight Connector 22">
            <a:extLst>
              <a:ext uri="{FF2B5EF4-FFF2-40B4-BE49-F238E27FC236}">
                <a16:creationId xmlns:a16="http://schemas.microsoft.com/office/drawing/2014/main" id="{6ECAB8CB-FEAF-8BEB-F3D9-0DD898B79E55}"/>
              </a:ext>
            </a:extLst>
          </p:cNvPr>
          <p:cNvCxnSpPr>
            <a:cxnSpLocks/>
          </p:cNvCxnSpPr>
          <p:nvPr/>
        </p:nvCxnSpPr>
        <p:spPr>
          <a:xfrm>
            <a:off x="2224495" y="1358529"/>
            <a:ext cx="0" cy="4946469"/>
          </a:xfrm>
          <a:prstGeom prst="line">
            <a:avLst/>
          </a:prstGeom>
          <a:ln w="28575">
            <a:prstDash val="dash"/>
            <a:headEnd type="none" w="med" len="sm"/>
            <a:tailEnd type="none" w="sm" len="sm"/>
          </a:ln>
        </p:spPr>
        <p:style>
          <a:lnRef idx="1">
            <a:schemeClr val="accent5"/>
          </a:lnRef>
          <a:fillRef idx="0">
            <a:schemeClr val="accent5"/>
          </a:fillRef>
          <a:effectRef idx="0">
            <a:schemeClr val="accent5"/>
          </a:effectRef>
          <a:fontRef idx="minor">
            <a:schemeClr val="tx1"/>
          </a:fontRef>
        </p:style>
      </p:cxnSp>
      <p:cxnSp>
        <p:nvCxnSpPr>
          <p:cNvPr id="24" name="Straight Connector 23">
            <a:extLst>
              <a:ext uri="{FF2B5EF4-FFF2-40B4-BE49-F238E27FC236}">
                <a16:creationId xmlns:a16="http://schemas.microsoft.com/office/drawing/2014/main" id="{36489752-3A35-B4C3-FE81-C820E6593970}"/>
              </a:ext>
            </a:extLst>
          </p:cNvPr>
          <p:cNvCxnSpPr>
            <a:cxnSpLocks/>
          </p:cNvCxnSpPr>
          <p:nvPr/>
        </p:nvCxnSpPr>
        <p:spPr>
          <a:xfrm>
            <a:off x="3443696" y="1358529"/>
            <a:ext cx="0" cy="4946469"/>
          </a:xfrm>
          <a:prstGeom prst="line">
            <a:avLst/>
          </a:prstGeom>
          <a:ln w="28575">
            <a:prstDash val="dash"/>
            <a:headEnd type="none" w="med" len="sm"/>
            <a:tailEnd type="none" w="sm" len="sm"/>
          </a:ln>
        </p:spPr>
        <p:style>
          <a:lnRef idx="1">
            <a:schemeClr val="accent5"/>
          </a:lnRef>
          <a:fillRef idx="0">
            <a:schemeClr val="accent5"/>
          </a:fillRef>
          <a:effectRef idx="0">
            <a:schemeClr val="accent5"/>
          </a:effectRef>
          <a:fontRef idx="minor">
            <a:schemeClr val="tx1"/>
          </a:fontRef>
        </p:style>
      </p:cxnSp>
      <p:cxnSp>
        <p:nvCxnSpPr>
          <p:cNvPr id="25" name="Straight Connector 24">
            <a:extLst>
              <a:ext uri="{FF2B5EF4-FFF2-40B4-BE49-F238E27FC236}">
                <a16:creationId xmlns:a16="http://schemas.microsoft.com/office/drawing/2014/main" id="{D34E8231-459C-26A0-AAD9-37DCFEB1F2A9}"/>
              </a:ext>
            </a:extLst>
          </p:cNvPr>
          <p:cNvCxnSpPr>
            <a:cxnSpLocks/>
          </p:cNvCxnSpPr>
          <p:nvPr/>
        </p:nvCxnSpPr>
        <p:spPr>
          <a:xfrm>
            <a:off x="5381354" y="1358529"/>
            <a:ext cx="0" cy="4946469"/>
          </a:xfrm>
          <a:prstGeom prst="line">
            <a:avLst/>
          </a:prstGeom>
          <a:ln w="28575">
            <a:prstDash val="dash"/>
            <a:headEnd type="none" w="med" len="sm"/>
            <a:tailEnd type="none" w="sm" len="sm"/>
          </a:ln>
        </p:spPr>
        <p:style>
          <a:lnRef idx="1">
            <a:schemeClr val="accent5"/>
          </a:lnRef>
          <a:fillRef idx="0">
            <a:schemeClr val="accent5"/>
          </a:fillRef>
          <a:effectRef idx="0">
            <a:schemeClr val="accent5"/>
          </a:effectRef>
          <a:fontRef idx="minor">
            <a:schemeClr val="tx1"/>
          </a:fontRef>
        </p:style>
      </p:cxnSp>
      <p:cxnSp>
        <p:nvCxnSpPr>
          <p:cNvPr id="26" name="Straight Connector 25">
            <a:extLst>
              <a:ext uri="{FF2B5EF4-FFF2-40B4-BE49-F238E27FC236}">
                <a16:creationId xmlns:a16="http://schemas.microsoft.com/office/drawing/2014/main" id="{89DB1910-BE80-15DE-E4A7-FC83FC2DC6AA}"/>
              </a:ext>
            </a:extLst>
          </p:cNvPr>
          <p:cNvCxnSpPr>
            <a:cxnSpLocks/>
          </p:cNvCxnSpPr>
          <p:nvPr/>
        </p:nvCxnSpPr>
        <p:spPr>
          <a:xfrm>
            <a:off x="6530886" y="1349823"/>
            <a:ext cx="0" cy="4946469"/>
          </a:xfrm>
          <a:prstGeom prst="line">
            <a:avLst/>
          </a:prstGeom>
          <a:ln w="28575">
            <a:prstDash val="dash"/>
            <a:headEnd type="none" w="med" len="sm"/>
            <a:tailEnd type="none" w="sm" len="sm"/>
          </a:ln>
        </p:spPr>
        <p:style>
          <a:lnRef idx="1">
            <a:schemeClr val="accent5"/>
          </a:lnRef>
          <a:fillRef idx="0">
            <a:schemeClr val="accent5"/>
          </a:fillRef>
          <a:effectRef idx="0">
            <a:schemeClr val="accent5"/>
          </a:effectRef>
          <a:fontRef idx="minor">
            <a:schemeClr val="tx1"/>
          </a:fontRef>
        </p:style>
      </p:cxnSp>
      <p:sp>
        <p:nvSpPr>
          <p:cNvPr id="39" name="Arrow: Right 38">
            <a:extLst>
              <a:ext uri="{FF2B5EF4-FFF2-40B4-BE49-F238E27FC236}">
                <a16:creationId xmlns:a16="http://schemas.microsoft.com/office/drawing/2014/main" id="{D280E9D4-8116-6665-5EAF-62ECA2EBBFB9}"/>
              </a:ext>
            </a:extLst>
          </p:cNvPr>
          <p:cNvSpPr/>
          <p:nvPr/>
        </p:nvSpPr>
        <p:spPr>
          <a:xfrm flipH="1">
            <a:off x="3443696" y="1603425"/>
            <a:ext cx="1906776" cy="555223"/>
          </a:xfrm>
          <a:prstGeom prst="rightArrow">
            <a:avLst>
              <a:gd name="adj1" fmla="val 73790"/>
              <a:gd name="adj2" fmla="val 42752"/>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lnSpc>
                <a:spcPct val="96000"/>
              </a:lnSpc>
            </a:pPr>
            <a:r>
              <a:rPr lang="de-DE" sz="1600" dirty="0">
                <a:solidFill>
                  <a:schemeClr val="bg1"/>
                </a:solidFill>
                <a:latin typeface="Courier New" panose="02070309020205020404" pitchFamily="49" charset="0"/>
                <a:cs typeface="Courier New" panose="02070309020205020404" pitchFamily="49" charset="0"/>
              </a:rPr>
              <a:t>MPD Response</a:t>
            </a:r>
          </a:p>
        </p:txBody>
      </p:sp>
      <p:pic>
        <p:nvPicPr>
          <p:cNvPr id="4" name="Screen Recording 1">
            <a:hlinkClick r:id="" action="ppaction://media"/>
            <a:extLst>
              <a:ext uri="{FF2B5EF4-FFF2-40B4-BE49-F238E27FC236}">
                <a16:creationId xmlns:a16="http://schemas.microsoft.com/office/drawing/2014/main" id="{91EA7B74-E62F-7A41-FB09-A8BC54FB6B17}"/>
              </a:ext>
            </a:extLst>
          </p:cNvPr>
          <p:cNvPicPr>
            <a:picLocks noChangeAspect="1"/>
          </p:cNvPicPr>
          <p:nvPr>
            <a:videoFile r:link="rId1"/>
            <p:extLst>
              <p:ext uri="{DAA4B4D4-6D71-4841-9C94-3DE7FCFB9230}">
                <p14:media xmlns:p14="http://schemas.microsoft.com/office/powerpoint/2010/main" r:embed="rId2">
                  <p14:trim st="5092" end="4581.2947"/>
                </p14:media>
              </p:ext>
            </p:extLst>
          </p:nvPr>
        </p:nvPicPr>
        <p:blipFill>
          <a:blip r:embed="rId7"/>
          <a:stretch>
            <a:fillRect/>
          </a:stretch>
        </p:blipFill>
        <p:spPr>
          <a:xfrm>
            <a:off x="7419161" y="67744"/>
            <a:ext cx="4708525" cy="6340475"/>
          </a:xfrm>
          <a:prstGeom prst="rect">
            <a:avLst/>
          </a:prstGeom>
        </p:spPr>
      </p:pic>
      <p:sp>
        <p:nvSpPr>
          <p:cNvPr id="5" name="Rectangle: Folded Corner 4">
            <a:extLst>
              <a:ext uri="{FF2B5EF4-FFF2-40B4-BE49-F238E27FC236}">
                <a16:creationId xmlns:a16="http://schemas.microsoft.com/office/drawing/2014/main" id="{93D84A3C-202B-DF22-9CE5-A4512872595A}"/>
              </a:ext>
            </a:extLst>
          </p:cNvPr>
          <p:cNvSpPr/>
          <p:nvPr/>
        </p:nvSpPr>
        <p:spPr>
          <a:xfrm>
            <a:off x="412025" y="2133590"/>
            <a:ext cx="6568441" cy="1914469"/>
          </a:xfrm>
          <a:prstGeom prst="foldedCorner">
            <a:avLst>
              <a:gd name="adj" fmla="val 507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r>
              <a:rPr lang="en-US" sz="600" dirty="0">
                <a:solidFill>
                  <a:srgbClr val="FF0000"/>
                </a:solidFill>
                <a:highlight>
                  <a:srgbClr val="FFFFFF"/>
                </a:highlight>
              </a:rPr>
              <a:t>&lt;?</a:t>
            </a:r>
            <a:r>
              <a:rPr lang="en-US" sz="600" dirty="0">
                <a:solidFill>
                  <a:srgbClr val="0000FF"/>
                </a:solidFill>
                <a:highlight>
                  <a:srgbClr val="FFFFFF"/>
                </a:highlight>
              </a:rPr>
              <a:t>xml</a:t>
            </a:r>
            <a:r>
              <a:rPr lang="en-US" sz="800" dirty="0">
                <a:solidFill>
                  <a:srgbClr val="000000"/>
                </a:solidFill>
                <a:highlight>
                  <a:srgbClr val="FFFFFF"/>
                </a:highlight>
              </a:rPr>
              <a:t> </a:t>
            </a:r>
            <a:r>
              <a:rPr lang="en-US" sz="600" dirty="0">
                <a:solidFill>
                  <a:srgbClr val="FF0000"/>
                </a:solidFill>
                <a:highlight>
                  <a:srgbClr val="FFFFFF"/>
                </a:highlight>
              </a:rPr>
              <a:t>version</a:t>
            </a:r>
            <a:r>
              <a:rPr lang="en-US" sz="800" dirty="0">
                <a:solidFill>
                  <a:srgbClr val="000000"/>
                </a:solidFill>
                <a:highlight>
                  <a:srgbClr val="FFFFFF"/>
                </a:highlight>
              </a:rPr>
              <a:t>=</a:t>
            </a:r>
            <a:r>
              <a:rPr lang="en-US" sz="600" dirty="0">
                <a:solidFill>
                  <a:srgbClr val="008000"/>
                </a:solidFill>
                <a:highlight>
                  <a:srgbClr val="FFFFFF"/>
                </a:highlight>
              </a:rPr>
              <a:t>"1.0"</a:t>
            </a:r>
            <a:r>
              <a:rPr lang="en-US" sz="800" dirty="0">
                <a:solidFill>
                  <a:srgbClr val="000000"/>
                </a:solidFill>
                <a:highlight>
                  <a:srgbClr val="FFFFFF"/>
                </a:highlight>
              </a:rPr>
              <a:t> </a:t>
            </a:r>
            <a:r>
              <a:rPr lang="en-US" sz="600" dirty="0">
                <a:solidFill>
                  <a:srgbClr val="FF0000"/>
                </a:solidFill>
                <a:highlight>
                  <a:srgbClr val="FFFFFF"/>
                </a:highlight>
              </a:rPr>
              <a:t>?&gt;</a:t>
            </a:r>
            <a:endParaRPr lang="en-US" sz="600" dirty="0">
              <a:solidFill>
                <a:srgbClr val="000000"/>
              </a:solidFill>
              <a:highlight>
                <a:srgbClr val="FFFFFF"/>
              </a:highlight>
            </a:endParaRPr>
          </a:p>
          <a:p>
            <a:r>
              <a:rPr lang="en-US" sz="600" dirty="0">
                <a:solidFill>
                  <a:srgbClr val="008000"/>
                </a:solidFill>
                <a:highlight>
                  <a:srgbClr val="FFFFFF"/>
                </a:highlight>
              </a:rPr>
              <a:t>&lt;!-- MPD file BBC Christmas Greetings --&gt;</a:t>
            </a:r>
            <a:endParaRPr lang="en-US" sz="600" dirty="0">
              <a:solidFill>
                <a:srgbClr val="000000"/>
              </a:solidFill>
              <a:highlight>
                <a:srgbClr val="FFFFFF"/>
              </a:highlight>
            </a:endParaRPr>
          </a:p>
          <a:p>
            <a:r>
              <a:rPr lang="en-US" sz="600" dirty="0">
                <a:solidFill>
                  <a:srgbClr val="0000FF"/>
                </a:solidFill>
                <a:highlight>
                  <a:srgbClr val="FFFFFF"/>
                </a:highlight>
              </a:rPr>
              <a:t>&lt;MPD</a:t>
            </a:r>
            <a:r>
              <a:rPr lang="en-US" sz="800" dirty="0">
                <a:solidFill>
                  <a:srgbClr val="000000"/>
                </a:solidFill>
                <a:highlight>
                  <a:srgbClr val="FFFFFF"/>
                </a:highlight>
              </a:rPr>
              <a:t> </a:t>
            </a:r>
            <a:r>
              <a:rPr lang="en-US" sz="600" dirty="0" err="1">
                <a:solidFill>
                  <a:srgbClr val="FF0000"/>
                </a:solidFill>
                <a:highlight>
                  <a:srgbClr val="FFFFFF"/>
                </a:highlight>
              </a:rPr>
              <a:t>xmlns</a:t>
            </a:r>
            <a:r>
              <a:rPr lang="en-US" sz="800" dirty="0">
                <a:solidFill>
                  <a:srgbClr val="000000"/>
                </a:solidFill>
                <a:highlight>
                  <a:srgbClr val="FFFFFF"/>
                </a:highlight>
              </a:rPr>
              <a:t>=</a:t>
            </a:r>
            <a:r>
              <a:rPr lang="en-US" sz="600" dirty="0">
                <a:solidFill>
                  <a:srgbClr val="008000"/>
                </a:solidFill>
                <a:highlight>
                  <a:srgbClr val="FFFFFF"/>
                </a:highlight>
              </a:rPr>
              <a:t>"urn:mpeg:dash:schema:mpd:2011"</a:t>
            </a:r>
            <a:r>
              <a:rPr lang="en-US" sz="800" dirty="0">
                <a:solidFill>
                  <a:srgbClr val="000000"/>
                </a:solidFill>
                <a:highlight>
                  <a:srgbClr val="FFFFFF"/>
                </a:highlight>
              </a:rPr>
              <a:t> </a:t>
            </a:r>
            <a:r>
              <a:rPr lang="en-US" sz="600" dirty="0" err="1">
                <a:solidFill>
                  <a:srgbClr val="FF0000"/>
                </a:solidFill>
                <a:highlight>
                  <a:srgbClr val="FFFFFF"/>
                </a:highlight>
              </a:rPr>
              <a:t>minBufferTime</a:t>
            </a:r>
            <a:r>
              <a:rPr lang="en-US" sz="800" dirty="0">
                <a:solidFill>
                  <a:srgbClr val="000000"/>
                </a:solidFill>
                <a:highlight>
                  <a:srgbClr val="FFFFFF"/>
                </a:highlight>
              </a:rPr>
              <a:t>=</a:t>
            </a:r>
            <a:r>
              <a:rPr lang="en-US" sz="600" dirty="0">
                <a:solidFill>
                  <a:srgbClr val="008000"/>
                </a:solidFill>
                <a:highlight>
                  <a:srgbClr val="FFFFFF"/>
                </a:highlight>
              </a:rPr>
              <a:t>"PT2S"</a:t>
            </a:r>
            <a:r>
              <a:rPr lang="en-US" sz="800" dirty="0">
                <a:solidFill>
                  <a:srgbClr val="000000"/>
                </a:solidFill>
                <a:highlight>
                  <a:srgbClr val="FFFFFF"/>
                </a:highlight>
              </a:rPr>
              <a:t> </a:t>
            </a:r>
            <a:r>
              <a:rPr lang="en-US" sz="600" dirty="0">
                <a:solidFill>
                  <a:srgbClr val="FF0000"/>
                </a:solidFill>
                <a:highlight>
                  <a:srgbClr val="FFFFFF"/>
                </a:highlight>
              </a:rPr>
              <a:t>type</a:t>
            </a:r>
            <a:r>
              <a:rPr lang="en-US" sz="800" dirty="0">
                <a:solidFill>
                  <a:srgbClr val="000000"/>
                </a:solidFill>
                <a:highlight>
                  <a:srgbClr val="FFFFFF"/>
                </a:highlight>
              </a:rPr>
              <a:t>=</a:t>
            </a:r>
            <a:r>
              <a:rPr lang="en-US" sz="600" dirty="0">
                <a:solidFill>
                  <a:srgbClr val="008000"/>
                </a:solidFill>
                <a:highlight>
                  <a:srgbClr val="FFFFFF"/>
                </a:highlight>
              </a:rPr>
              <a:t>"static"</a:t>
            </a:r>
            <a:r>
              <a:rPr lang="en-US" sz="800" dirty="0">
                <a:solidFill>
                  <a:srgbClr val="000000"/>
                </a:solidFill>
                <a:highlight>
                  <a:srgbClr val="FFFFFF"/>
                </a:highlight>
              </a:rPr>
              <a:t> </a:t>
            </a:r>
            <a:r>
              <a:rPr lang="en-US" sz="600" dirty="0" err="1">
                <a:solidFill>
                  <a:srgbClr val="FF0000"/>
                </a:solidFill>
                <a:highlight>
                  <a:srgbClr val="FFFFFF"/>
                </a:highlight>
              </a:rPr>
              <a:t>mediaPresentationDuration</a:t>
            </a:r>
            <a:r>
              <a:rPr lang="en-US" sz="800" dirty="0">
                <a:solidFill>
                  <a:srgbClr val="000000"/>
                </a:solidFill>
                <a:highlight>
                  <a:srgbClr val="FFFFFF"/>
                </a:highlight>
              </a:rPr>
              <a:t>=</a:t>
            </a:r>
            <a:r>
              <a:rPr lang="en-US" sz="600" dirty="0">
                <a:solidFill>
                  <a:srgbClr val="008000"/>
                </a:solidFill>
                <a:highlight>
                  <a:srgbClr val="FFFFFF"/>
                </a:highlight>
              </a:rPr>
              <a:t>"PT0H0M30S"</a:t>
            </a:r>
            <a:r>
              <a:rPr lang="en-US" sz="800" dirty="0">
                <a:solidFill>
                  <a:srgbClr val="000000"/>
                </a:solidFill>
                <a:highlight>
                  <a:srgbClr val="FFFFFF"/>
                </a:highlight>
              </a:rPr>
              <a:t> </a:t>
            </a:r>
            <a:r>
              <a:rPr lang="en-US" sz="600" dirty="0" err="1">
                <a:solidFill>
                  <a:srgbClr val="FF0000"/>
                </a:solidFill>
                <a:highlight>
                  <a:srgbClr val="FFFFFF"/>
                </a:highlight>
              </a:rPr>
              <a:t>maxSegmentDuration</a:t>
            </a:r>
            <a:r>
              <a:rPr lang="en-US" sz="800" dirty="0">
                <a:solidFill>
                  <a:srgbClr val="000000"/>
                </a:solidFill>
                <a:highlight>
                  <a:srgbClr val="FFFFFF"/>
                </a:highlight>
              </a:rPr>
              <a:t>=</a:t>
            </a:r>
            <a:r>
              <a:rPr lang="en-US" sz="600" dirty="0">
                <a:solidFill>
                  <a:srgbClr val="008000"/>
                </a:solidFill>
                <a:highlight>
                  <a:srgbClr val="FFFFFF"/>
                </a:highlight>
              </a:rPr>
              <a:t>"PT0H0M2S"</a:t>
            </a:r>
            <a:r>
              <a:rPr lang="en-US" sz="800" dirty="0">
                <a:solidFill>
                  <a:srgbClr val="000000"/>
                </a:solidFill>
                <a:highlight>
                  <a:srgbClr val="FFFFFF"/>
                </a:highlight>
              </a:rPr>
              <a:t> </a:t>
            </a:r>
            <a:r>
              <a:rPr lang="en-US" sz="600" dirty="0">
                <a:solidFill>
                  <a:srgbClr val="FF0000"/>
                </a:solidFill>
                <a:highlight>
                  <a:srgbClr val="FFFFFF"/>
                </a:highlight>
              </a:rPr>
              <a:t>profiles</a:t>
            </a:r>
            <a:r>
              <a:rPr lang="en-US" sz="800" dirty="0">
                <a:solidFill>
                  <a:srgbClr val="000000"/>
                </a:solidFill>
                <a:highlight>
                  <a:srgbClr val="FFFFFF"/>
                </a:highlight>
              </a:rPr>
              <a:t>=</a:t>
            </a:r>
            <a:r>
              <a:rPr lang="en-US" sz="600" dirty="0">
                <a:solidFill>
                  <a:srgbClr val="008000"/>
                </a:solidFill>
                <a:highlight>
                  <a:srgbClr val="FFFFFF"/>
                </a:highlight>
              </a:rPr>
              <a:t>"urn:mpeg:dash:profile:isoff-live:2011 "</a:t>
            </a:r>
            <a:r>
              <a:rPr lang="en-US" sz="600" dirty="0">
                <a:solidFill>
                  <a:srgbClr val="0000FF"/>
                </a:solidFill>
                <a:highlight>
                  <a:srgbClr val="FFFFFF"/>
                </a:highlight>
              </a:rPr>
              <a:t>&gt;</a:t>
            </a:r>
            <a:endParaRPr lang="en-US" sz="600" dirty="0">
              <a:solidFill>
                <a:srgbClr val="000000"/>
              </a:solidFill>
              <a:highlight>
                <a:srgbClr val="FFFFFF"/>
              </a:highlight>
            </a:endParaRPr>
          </a:p>
          <a:p>
            <a:r>
              <a:rPr lang="en-US" sz="600" dirty="0">
                <a:solidFill>
                  <a:srgbClr val="000000"/>
                </a:solidFill>
                <a:highlight>
                  <a:srgbClr val="FFFFFF"/>
                </a:highlight>
              </a:rPr>
              <a:t>  </a:t>
            </a:r>
            <a:r>
              <a:rPr lang="en-US" sz="600" dirty="0">
                <a:solidFill>
                  <a:srgbClr val="0000FF"/>
                </a:solidFill>
                <a:highlight>
                  <a:srgbClr val="FFFFFF"/>
                </a:highlight>
              </a:rPr>
              <a:t>&lt;Period</a:t>
            </a:r>
            <a:r>
              <a:rPr lang="en-US" sz="800" dirty="0">
                <a:solidFill>
                  <a:srgbClr val="000000"/>
                </a:solidFill>
                <a:highlight>
                  <a:srgbClr val="FFFFFF"/>
                </a:highlight>
              </a:rPr>
              <a:t> </a:t>
            </a:r>
            <a:r>
              <a:rPr lang="en-US" sz="600" dirty="0">
                <a:solidFill>
                  <a:srgbClr val="FF0000"/>
                </a:solidFill>
                <a:highlight>
                  <a:srgbClr val="FFFFFF"/>
                </a:highlight>
              </a:rPr>
              <a:t>duration</a:t>
            </a:r>
            <a:r>
              <a:rPr lang="en-US" sz="800" dirty="0">
                <a:solidFill>
                  <a:srgbClr val="000000"/>
                </a:solidFill>
                <a:highlight>
                  <a:srgbClr val="FFFFFF"/>
                </a:highlight>
              </a:rPr>
              <a:t>=</a:t>
            </a:r>
            <a:r>
              <a:rPr lang="en-US" sz="600" dirty="0">
                <a:solidFill>
                  <a:srgbClr val="008000"/>
                </a:solidFill>
                <a:highlight>
                  <a:srgbClr val="FFFFFF"/>
                </a:highlight>
              </a:rPr>
              <a:t>"PT0H0M30.000S"</a:t>
            </a:r>
            <a:r>
              <a:rPr lang="en-US" sz="600" dirty="0">
                <a:solidFill>
                  <a:srgbClr val="0000FF"/>
                </a:solidFill>
                <a:highlight>
                  <a:srgbClr val="FFFFFF"/>
                </a:highlight>
              </a:rPr>
              <a:t>&gt;</a:t>
            </a:r>
            <a:endParaRPr lang="en-US" sz="600" dirty="0">
              <a:solidFill>
                <a:srgbClr val="000000"/>
              </a:solidFill>
              <a:highlight>
                <a:srgbClr val="FFFFFF"/>
              </a:highlight>
            </a:endParaRPr>
          </a:p>
          <a:p>
            <a:r>
              <a:rPr lang="en-US" sz="600" dirty="0">
                <a:solidFill>
                  <a:srgbClr val="000000"/>
                </a:solidFill>
                <a:highlight>
                  <a:srgbClr val="FFFFFF"/>
                </a:highlight>
              </a:rPr>
              <a:t>    </a:t>
            </a:r>
            <a:r>
              <a:rPr lang="en-US" sz="600" dirty="0">
                <a:solidFill>
                  <a:srgbClr val="0000FF"/>
                </a:solidFill>
                <a:highlight>
                  <a:srgbClr val="FFFFFF"/>
                </a:highlight>
              </a:rPr>
              <a:t>&lt;</a:t>
            </a:r>
            <a:r>
              <a:rPr lang="en-US" sz="600" dirty="0" err="1">
                <a:solidFill>
                  <a:srgbClr val="0000FF"/>
                </a:solidFill>
                <a:highlight>
                  <a:srgbClr val="FFFFFF"/>
                </a:highlight>
              </a:rPr>
              <a:t>AdaptationSet</a:t>
            </a:r>
            <a:r>
              <a:rPr lang="en-US" sz="800" dirty="0">
                <a:solidFill>
                  <a:srgbClr val="000000"/>
                </a:solidFill>
                <a:highlight>
                  <a:srgbClr val="FFFFFF"/>
                </a:highlight>
              </a:rPr>
              <a:t> </a:t>
            </a:r>
            <a:r>
              <a:rPr lang="en-US" sz="600" dirty="0" err="1">
                <a:solidFill>
                  <a:srgbClr val="FF0000"/>
                </a:solidFill>
                <a:highlight>
                  <a:srgbClr val="FFFFFF"/>
                </a:highlight>
              </a:rPr>
              <a:t>segmentAlignment</a:t>
            </a:r>
            <a:r>
              <a:rPr lang="en-US" sz="800" dirty="0">
                <a:solidFill>
                  <a:srgbClr val="000000"/>
                </a:solidFill>
                <a:highlight>
                  <a:srgbClr val="FFFFFF"/>
                </a:highlight>
              </a:rPr>
              <a:t>=</a:t>
            </a:r>
            <a:r>
              <a:rPr lang="en-US" sz="600" dirty="0">
                <a:solidFill>
                  <a:srgbClr val="008000"/>
                </a:solidFill>
                <a:highlight>
                  <a:srgbClr val="FFFFFF"/>
                </a:highlight>
              </a:rPr>
              <a:t>"true"</a:t>
            </a:r>
            <a:r>
              <a:rPr lang="en-US" sz="800" dirty="0">
                <a:solidFill>
                  <a:srgbClr val="000000"/>
                </a:solidFill>
                <a:highlight>
                  <a:srgbClr val="FFFFFF"/>
                </a:highlight>
              </a:rPr>
              <a:t> </a:t>
            </a:r>
            <a:r>
              <a:rPr lang="en-US" sz="600" dirty="0" err="1">
                <a:solidFill>
                  <a:srgbClr val="FF0000"/>
                </a:solidFill>
                <a:highlight>
                  <a:srgbClr val="FFFFFF"/>
                </a:highlight>
              </a:rPr>
              <a:t>maxWidth</a:t>
            </a:r>
            <a:r>
              <a:rPr lang="en-US" sz="800" dirty="0">
                <a:solidFill>
                  <a:srgbClr val="000000"/>
                </a:solidFill>
                <a:highlight>
                  <a:srgbClr val="FFFFFF"/>
                </a:highlight>
              </a:rPr>
              <a:t>=</a:t>
            </a:r>
            <a:r>
              <a:rPr lang="en-US" sz="600" dirty="0">
                <a:solidFill>
                  <a:srgbClr val="008000"/>
                </a:solidFill>
                <a:highlight>
                  <a:srgbClr val="FFFFFF"/>
                </a:highlight>
              </a:rPr>
              <a:t>"1920"</a:t>
            </a:r>
            <a:r>
              <a:rPr lang="en-US" sz="800" dirty="0">
                <a:solidFill>
                  <a:srgbClr val="000000"/>
                </a:solidFill>
                <a:highlight>
                  <a:srgbClr val="FFFFFF"/>
                </a:highlight>
              </a:rPr>
              <a:t> </a:t>
            </a:r>
            <a:r>
              <a:rPr lang="en-US" sz="600" dirty="0" err="1">
                <a:solidFill>
                  <a:srgbClr val="FF0000"/>
                </a:solidFill>
                <a:highlight>
                  <a:srgbClr val="FFFFFF"/>
                </a:highlight>
              </a:rPr>
              <a:t>maxHeight</a:t>
            </a:r>
            <a:r>
              <a:rPr lang="en-US" sz="800" dirty="0">
                <a:solidFill>
                  <a:srgbClr val="000000"/>
                </a:solidFill>
                <a:highlight>
                  <a:srgbClr val="FFFFFF"/>
                </a:highlight>
              </a:rPr>
              <a:t>=</a:t>
            </a:r>
            <a:r>
              <a:rPr lang="en-US" sz="600" dirty="0">
                <a:solidFill>
                  <a:srgbClr val="008000"/>
                </a:solidFill>
                <a:highlight>
                  <a:srgbClr val="FFFFFF"/>
                </a:highlight>
              </a:rPr>
              <a:t>"1080"</a:t>
            </a:r>
            <a:r>
              <a:rPr lang="en-US" sz="800" dirty="0">
                <a:solidFill>
                  <a:srgbClr val="000000"/>
                </a:solidFill>
                <a:highlight>
                  <a:srgbClr val="FFFFFF"/>
                </a:highlight>
              </a:rPr>
              <a:t> </a:t>
            </a:r>
            <a:r>
              <a:rPr lang="en-US" sz="600" dirty="0" err="1">
                <a:solidFill>
                  <a:srgbClr val="FF0000"/>
                </a:solidFill>
                <a:highlight>
                  <a:srgbClr val="FFFFFF"/>
                </a:highlight>
              </a:rPr>
              <a:t>maxFrameRate</a:t>
            </a:r>
            <a:r>
              <a:rPr lang="en-US" sz="800" dirty="0">
                <a:solidFill>
                  <a:srgbClr val="000000"/>
                </a:solidFill>
                <a:highlight>
                  <a:srgbClr val="FFFFFF"/>
                </a:highlight>
              </a:rPr>
              <a:t>=</a:t>
            </a:r>
            <a:r>
              <a:rPr lang="en-US" sz="600" dirty="0">
                <a:solidFill>
                  <a:srgbClr val="008000"/>
                </a:solidFill>
                <a:highlight>
                  <a:srgbClr val="FFFFFF"/>
                </a:highlight>
              </a:rPr>
              <a:t>"25"</a:t>
            </a:r>
            <a:r>
              <a:rPr lang="en-US" sz="800" dirty="0">
                <a:solidFill>
                  <a:srgbClr val="000000"/>
                </a:solidFill>
                <a:highlight>
                  <a:srgbClr val="FFFFFF"/>
                </a:highlight>
              </a:rPr>
              <a:t> </a:t>
            </a:r>
            <a:r>
              <a:rPr lang="en-US" sz="600" dirty="0">
                <a:solidFill>
                  <a:srgbClr val="FF0000"/>
                </a:solidFill>
                <a:highlight>
                  <a:srgbClr val="FFFFFF"/>
                </a:highlight>
              </a:rPr>
              <a:t>par</a:t>
            </a:r>
            <a:r>
              <a:rPr lang="en-US" sz="800" dirty="0">
                <a:solidFill>
                  <a:srgbClr val="000000"/>
                </a:solidFill>
                <a:highlight>
                  <a:srgbClr val="FFFFFF"/>
                </a:highlight>
              </a:rPr>
              <a:t>=</a:t>
            </a:r>
            <a:r>
              <a:rPr lang="en-US" sz="600" dirty="0">
                <a:solidFill>
                  <a:srgbClr val="008000"/>
                </a:solidFill>
                <a:highlight>
                  <a:srgbClr val="FFFFFF"/>
                </a:highlight>
              </a:rPr>
              <a:t>"16:9"</a:t>
            </a:r>
            <a:r>
              <a:rPr lang="en-US" sz="800" dirty="0">
                <a:solidFill>
                  <a:srgbClr val="000000"/>
                </a:solidFill>
                <a:highlight>
                  <a:srgbClr val="FFFFFF"/>
                </a:highlight>
              </a:rPr>
              <a:t> </a:t>
            </a:r>
            <a:r>
              <a:rPr lang="en-US" sz="600" dirty="0">
                <a:solidFill>
                  <a:srgbClr val="FF0000"/>
                </a:solidFill>
                <a:highlight>
                  <a:srgbClr val="FFFFFF"/>
                </a:highlight>
              </a:rPr>
              <a:t>lang</a:t>
            </a:r>
            <a:r>
              <a:rPr lang="en-US" sz="800" dirty="0">
                <a:solidFill>
                  <a:srgbClr val="000000"/>
                </a:solidFill>
                <a:highlight>
                  <a:srgbClr val="FFFFFF"/>
                </a:highlight>
              </a:rPr>
              <a:t>=</a:t>
            </a:r>
            <a:r>
              <a:rPr lang="en-US" sz="600" dirty="0">
                <a:solidFill>
                  <a:srgbClr val="008000"/>
                </a:solidFill>
                <a:highlight>
                  <a:srgbClr val="FFFFFF"/>
                </a:highlight>
              </a:rPr>
              <a:t>"und"</a:t>
            </a:r>
            <a:r>
              <a:rPr lang="en-US" sz="800" dirty="0">
                <a:solidFill>
                  <a:srgbClr val="000000"/>
                </a:solidFill>
                <a:highlight>
                  <a:srgbClr val="FFFFFF"/>
                </a:highlight>
              </a:rPr>
              <a:t> </a:t>
            </a:r>
            <a:r>
              <a:rPr lang="en-US" sz="600" dirty="0" err="1">
                <a:solidFill>
                  <a:srgbClr val="FF0000"/>
                </a:solidFill>
                <a:highlight>
                  <a:srgbClr val="FFFFFF"/>
                </a:highlight>
              </a:rPr>
              <a:t>startWithSAP</a:t>
            </a:r>
            <a:r>
              <a:rPr lang="en-US" sz="800" dirty="0">
                <a:solidFill>
                  <a:srgbClr val="000000"/>
                </a:solidFill>
                <a:highlight>
                  <a:srgbClr val="FFFFFF"/>
                </a:highlight>
              </a:rPr>
              <a:t>=</a:t>
            </a:r>
            <a:r>
              <a:rPr lang="en-US" sz="600" dirty="0">
                <a:solidFill>
                  <a:srgbClr val="008000"/>
                </a:solidFill>
                <a:highlight>
                  <a:srgbClr val="FFFFFF"/>
                </a:highlight>
              </a:rPr>
              <a:t>"1"</a:t>
            </a:r>
            <a:r>
              <a:rPr lang="en-US" sz="800" dirty="0">
                <a:solidFill>
                  <a:srgbClr val="000000"/>
                </a:solidFill>
                <a:highlight>
                  <a:srgbClr val="FFFFFF"/>
                </a:highlight>
              </a:rPr>
              <a:t> </a:t>
            </a:r>
            <a:r>
              <a:rPr lang="en-US" sz="600" dirty="0" err="1">
                <a:solidFill>
                  <a:srgbClr val="FF0000"/>
                </a:solidFill>
                <a:highlight>
                  <a:srgbClr val="FFFFFF"/>
                </a:highlight>
              </a:rPr>
              <a:t>contentType</a:t>
            </a:r>
            <a:r>
              <a:rPr lang="en-US" sz="800" dirty="0">
                <a:solidFill>
                  <a:srgbClr val="000000"/>
                </a:solidFill>
                <a:highlight>
                  <a:srgbClr val="FFFFFF"/>
                </a:highlight>
              </a:rPr>
              <a:t>=</a:t>
            </a:r>
            <a:r>
              <a:rPr lang="en-US" sz="600" dirty="0">
                <a:solidFill>
                  <a:srgbClr val="008000"/>
                </a:solidFill>
                <a:highlight>
                  <a:srgbClr val="FFFFFF"/>
                </a:highlight>
              </a:rPr>
              <a:t>"video"</a:t>
            </a:r>
            <a:r>
              <a:rPr lang="en-US" sz="800" dirty="0">
                <a:solidFill>
                  <a:srgbClr val="000000"/>
                </a:solidFill>
                <a:highlight>
                  <a:srgbClr val="FFFFFF"/>
                </a:highlight>
              </a:rPr>
              <a:t> </a:t>
            </a:r>
            <a:r>
              <a:rPr lang="en-US" sz="600" dirty="0" err="1">
                <a:solidFill>
                  <a:srgbClr val="FF0000"/>
                </a:solidFill>
                <a:highlight>
                  <a:srgbClr val="FFFFFF"/>
                </a:highlight>
              </a:rPr>
              <a:t>containerProfiles</a:t>
            </a:r>
            <a:r>
              <a:rPr lang="en-US" sz="800" dirty="0">
                <a:solidFill>
                  <a:srgbClr val="000000"/>
                </a:solidFill>
                <a:highlight>
                  <a:srgbClr val="FFFFFF"/>
                </a:highlight>
              </a:rPr>
              <a:t>=</a:t>
            </a:r>
            <a:r>
              <a:rPr lang="en-US" sz="600" dirty="0">
                <a:solidFill>
                  <a:srgbClr val="008000"/>
                </a:solidFill>
                <a:highlight>
                  <a:srgbClr val="FFFFFF"/>
                </a:highlight>
              </a:rPr>
              <a:t>"'cmf2', '</a:t>
            </a:r>
            <a:r>
              <a:rPr lang="en-US" sz="600" dirty="0" err="1">
                <a:solidFill>
                  <a:srgbClr val="008000"/>
                </a:solidFill>
                <a:highlight>
                  <a:srgbClr val="FFFFFF"/>
                </a:highlight>
              </a:rPr>
              <a:t>cfhd</a:t>
            </a:r>
            <a:r>
              <a:rPr lang="en-US" sz="600" dirty="0">
                <a:solidFill>
                  <a:srgbClr val="008000"/>
                </a:solidFill>
                <a:highlight>
                  <a:srgbClr val="FFFFFF"/>
                </a:highlight>
              </a:rPr>
              <a:t>'"</a:t>
            </a:r>
            <a:r>
              <a:rPr lang="en-US" sz="600" dirty="0">
                <a:solidFill>
                  <a:srgbClr val="0000FF"/>
                </a:solidFill>
                <a:highlight>
                  <a:srgbClr val="FFFFFF"/>
                </a:highlight>
              </a:rPr>
              <a:t>&gt;</a:t>
            </a:r>
            <a:endParaRPr lang="en-US" sz="600" dirty="0">
              <a:solidFill>
                <a:srgbClr val="000000"/>
              </a:solidFill>
              <a:highlight>
                <a:srgbClr val="FFFFFF"/>
              </a:highlight>
            </a:endParaRPr>
          </a:p>
          <a:p>
            <a:r>
              <a:rPr lang="en-US" sz="600" dirty="0">
                <a:solidFill>
                  <a:srgbClr val="000000"/>
                </a:solidFill>
                <a:highlight>
                  <a:srgbClr val="FFFFFF"/>
                </a:highlight>
              </a:rPr>
              <a:t>      </a:t>
            </a:r>
            <a:r>
              <a:rPr lang="en-US" sz="600" dirty="0">
                <a:solidFill>
                  <a:srgbClr val="0000FF"/>
                </a:solidFill>
                <a:highlight>
                  <a:srgbClr val="FFFFFF"/>
                </a:highlight>
              </a:rPr>
              <a:t>&lt;</a:t>
            </a:r>
            <a:r>
              <a:rPr lang="en-US" sz="600" dirty="0" err="1">
                <a:solidFill>
                  <a:srgbClr val="0000FF"/>
                </a:solidFill>
                <a:highlight>
                  <a:srgbClr val="FFFFFF"/>
                </a:highlight>
              </a:rPr>
              <a:t>SegmentTemplate</a:t>
            </a:r>
            <a:r>
              <a:rPr lang="en-US" sz="800" dirty="0">
                <a:solidFill>
                  <a:srgbClr val="000000"/>
                </a:solidFill>
                <a:highlight>
                  <a:srgbClr val="FFFFFF"/>
                </a:highlight>
              </a:rPr>
              <a:t> </a:t>
            </a:r>
            <a:r>
              <a:rPr lang="en-US" sz="600" dirty="0">
                <a:solidFill>
                  <a:srgbClr val="FF0000"/>
                </a:solidFill>
                <a:highlight>
                  <a:srgbClr val="FFFFFF"/>
                </a:highlight>
              </a:rPr>
              <a:t>media</a:t>
            </a:r>
            <a:r>
              <a:rPr lang="en-US" sz="800" dirty="0">
                <a:solidFill>
                  <a:srgbClr val="000000"/>
                </a:solidFill>
                <a:highlight>
                  <a:srgbClr val="FFFFFF"/>
                </a:highlight>
              </a:rPr>
              <a:t>=</a:t>
            </a:r>
            <a:r>
              <a:rPr lang="en-US" sz="600" dirty="0">
                <a:solidFill>
                  <a:srgbClr val="008000"/>
                </a:solidFill>
                <a:highlight>
                  <a:srgbClr val="FFFFFF"/>
                </a:highlight>
              </a:rPr>
              <a:t>"1/$Time$.m4s"</a:t>
            </a:r>
            <a:r>
              <a:rPr lang="en-US" sz="800" dirty="0">
                <a:solidFill>
                  <a:srgbClr val="000000"/>
                </a:solidFill>
                <a:highlight>
                  <a:srgbClr val="FFFFFF"/>
                </a:highlight>
              </a:rPr>
              <a:t> </a:t>
            </a:r>
            <a:r>
              <a:rPr lang="en-US" sz="600" dirty="0">
                <a:solidFill>
                  <a:srgbClr val="FF0000"/>
                </a:solidFill>
                <a:highlight>
                  <a:srgbClr val="FFFFFF"/>
                </a:highlight>
              </a:rPr>
              <a:t>initialization</a:t>
            </a:r>
            <a:r>
              <a:rPr lang="en-US" sz="800" dirty="0">
                <a:solidFill>
                  <a:srgbClr val="000000"/>
                </a:solidFill>
                <a:highlight>
                  <a:srgbClr val="FFFFFF"/>
                </a:highlight>
              </a:rPr>
              <a:t>=</a:t>
            </a:r>
            <a:r>
              <a:rPr lang="en-US" sz="600" dirty="0">
                <a:solidFill>
                  <a:srgbClr val="008000"/>
                </a:solidFill>
                <a:highlight>
                  <a:srgbClr val="FFFFFF"/>
                </a:highlight>
              </a:rPr>
              <a:t>"1/init.mp4"</a:t>
            </a:r>
            <a:r>
              <a:rPr lang="en-US" sz="800" dirty="0">
                <a:solidFill>
                  <a:srgbClr val="000000"/>
                </a:solidFill>
                <a:highlight>
                  <a:srgbClr val="FFFFFF"/>
                </a:highlight>
              </a:rPr>
              <a:t> </a:t>
            </a:r>
            <a:r>
              <a:rPr lang="en-US" sz="600" dirty="0">
                <a:solidFill>
                  <a:srgbClr val="FF0000"/>
                </a:solidFill>
                <a:highlight>
                  <a:srgbClr val="FFFFFF"/>
                </a:highlight>
              </a:rPr>
              <a:t>timescale</a:t>
            </a:r>
            <a:r>
              <a:rPr lang="en-US" sz="800" dirty="0">
                <a:solidFill>
                  <a:srgbClr val="000000"/>
                </a:solidFill>
                <a:highlight>
                  <a:srgbClr val="FFFFFF"/>
                </a:highlight>
              </a:rPr>
              <a:t>=</a:t>
            </a:r>
            <a:r>
              <a:rPr lang="en-US" sz="600" dirty="0">
                <a:solidFill>
                  <a:srgbClr val="008000"/>
                </a:solidFill>
                <a:highlight>
                  <a:srgbClr val="FFFFFF"/>
                </a:highlight>
              </a:rPr>
              <a:t>"12800"</a:t>
            </a:r>
            <a:r>
              <a:rPr lang="en-US" sz="600" dirty="0">
                <a:solidFill>
                  <a:srgbClr val="0000FF"/>
                </a:solidFill>
                <a:highlight>
                  <a:srgbClr val="FFFFFF"/>
                </a:highlight>
              </a:rPr>
              <a:t>&gt;</a:t>
            </a:r>
            <a:endParaRPr lang="en-US" sz="600" dirty="0">
              <a:solidFill>
                <a:srgbClr val="000000"/>
              </a:solidFill>
              <a:highlight>
                <a:srgbClr val="FFFFFF"/>
              </a:highlight>
            </a:endParaRPr>
          </a:p>
          <a:p>
            <a:r>
              <a:rPr lang="en-US" sz="600" dirty="0">
                <a:solidFill>
                  <a:srgbClr val="000000"/>
                </a:solidFill>
                <a:highlight>
                  <a:srgbClr val="FFFFFF"/>
                </a:highlight>
              </a:rPr>
              <a:t>        </a:t>
            </a:r>
            <a:r>
              <a:rPr lang="en-US" sz="600" dirty="0">
                <a:solidFill>
                  <a:srgbClr val="0000FF"/>
                </a:solidFill>
                <a:highlight>
                  <a:srgbClr val="FFFFFF"/>
                </a:highlight>
              </a:rPr>
              <a:t>&lt;</a:t>
            </a:r>
            <a:r>
              <a:rPr lang="en-US" sz="600" dirty="0" err="1">
                <a:solidFill>
                  <a:srgbClr val="0000FF"/>
                </a:solidFill>
                <a:highlight>
                  <a:srgbClr val="FFFFFF"/>
                </a:highlight>
              </a:rPr>
              <a:t>SegmentTimeline</a:t>
            </a:r>
            <a:r>
              <a:rPr lang="en-US" sz="600" dirty="0">
                <a:solidFill>
                  <a:srgbClr val="0000FF"/>
                </a:solidFill>
                <a:highlight>
                  <a:srgbClr val="FFFFFF"/>
                </a:highlight>
              </a:rPr>
              <a:t>&gt;</a:t>
            </a:r>
            <a:endParaRPr lang="en-US" sz="600" dirty="0">
              <a:solidFill>
                <a:srgbClr val="000000"/>
              </a:solidFill>
              <a:highlight>
                <a:srgbClr val="FFFFFF"/>
              </a:highlight>
            </a:endParaRPr>
          </a:p>
          <a:p>
            <a:r>
              <a:rPr lang="pt-BR" sz="600" dirty="0">
                <a:solidFill>
                  <a:srgbClr val="000000"/>
                </a:solidFill>
                <a:highlight>
                  <a:srgbClr val="FFFFFF"/>
                </a:highlight>
              </a:rPr>
              <a:t>          </a:t>
            </a:r>
            <a:r>
              <a:rPr lang="pt-BR" sz="600" dirty="0">
                <a:solidFill>
                  <a:srgbClr val="0000FF"/>
                </a:solidFill>
                <a:highlight>
                  <a:srgbClr val="FFFFFF"/>
                </a:highlight>
              </a:rPr>
              <a:t>&lt;S</a:t>
            </a:r>
            <a:r>
              <a:rPr lang="pt-BR" sz="800" dirty="0">
                <a:solidFill>
                  <a:srgbClr val="000000"/>
                </a:solidFill>
                <a:highlight>
                  <a:srgbClr val="FFFFFF"/>
                </a:highlight>
              </a:rPr>
              <a:t> </a:t>
            </a:r>
            <a:r>
              <a:rPr lang="pt-BR" sz="600" dirty="0">
                <a:solidFill>
                  <a:srgbClr val="FF0000"/>
                </a:solidFill>
                <a:highlight>
                  <a:srgbClr val="FFFFFF"/>
                </a:highlight>
              </a:rPr>
              <a:t>t</a:t>
            </a:r>
            <a:r>
              <a:rPr lang="pt-BR" sz="800" dirty="0">
                <a:solidFill>
                  <a:srgbClr val="000000"/>
                </a:solidFill>
                <a:highlight>
                  <a:srgbClr val="FFFFFF"/>
                </a:highlight>
              </a:rPr>
              <a:t>=</a:t>
            </a:r>
            <a:r>
              <a:rPr lang="pt-BR" sz="600" dirty="0">
                <a:solidFill>
                  <a:srgbClr val="008000"/>
                </a:solidFill>
                <a:highlight>
                  <a:srgbClr val="FFFFFF"/>
                </a:highlight>
              </a:rPr>
              <a:t>"0"</a:t>
            </a:r>
            <a:r>
              <a:rPr lang="pt-BR" sz="800" dirty="0">
                <a:solidFill>
                  <a:srgbClr val="000000"/>
                </a:solidFill>
                <a:highlight>
                  <a:srgbClr val="FFFFFF"/>
                </a:highlight>
              </a:rPr>
              <a:t> </a:t>
            </a:r>
            <a:r>
              <a:rPr lang="pt-BR" sz="600" dirty="0">
                <a:solidFill>
                  <a:srgbClr val="FF0000"/>
                </a:solidFill>
                <a:highlight>
                  <a:srgbClr val="FFFFFF"/>
                </a:highlight>
              </a:rPr>
              <a:t>d</a:t>
            </a:r>
            <a:r>
              <a:rPr lang="pt-BR" sz="800" dirty="0">
                <a:solidFill>
                  <a:srgbClr val="000000"/>
                </a:solidFill>
                <a:highlight>
                  <a:srgbClr val="FFFFFF"/>
                </a:highlight>
              </a:rPr>
              <a:t>=</a:t>
            </a:r>
            <a:r>
              <a:rPr lang="pt-BR" sz="600" dirty="0">
                <a:solidFill>
                  <a:srgbClr val="008000"/>
                </a:solidFill>
                <a:highlight>
                  <a:srgbClr val="FFFFFF"/>
                </a:highlight>
              </a:rPr>
              <a:t>"25600"</a:t>
            </a:r>
            <a:r>
              <a:rPr lang="pt-BR" sz="800" dirty="0">
                <a:solidFill>
                  <a:srgbClr val="000000"/>
                </a:solidFill>
                <a:highlight>
                  <a:srgbClr val="FFFFFF"/>
                </a:highlight>
              </a:rPr>
              <a:t> </a:t>
            </a:r>
            <a:r>
              <a:rPr lang="pt-BR" sz="600" dirty="0">
                <a:solidFill>
                  <a:srgbClr val="FF0000"/>
                </a:solidFill>
                <a:highlight>
                  <a:srgbClr val="FFFFFF"/>
                </a:highlight>
              </a:rPr>
              <a:t>r</a:t>
            </a:r>
            <a:r>
              <a:rPr lang="pt-BR" sz="800" dirty="0">
                <a:solidFill>
                  <a:srgbClr val="000000"/>
                </a:solidFill>
                <a:highlight>
                  <a:srgbClr val="FFFFFF"/>
                </a:highlight>
              </a:rPr>
              <a:t>=</a:t>
            </a:r>
            <a:r>
              <a:rPr lang="pt-BR" sz="600" dirty="0">
                <a:solidFill>
                  <a:srgbClr val="008000"/>
                </a:solidFill>
                <a:highlight>
                  <a:srgbClr val="FFFFFF"/>
                </a:highlight>
              </a:rPr>
              <a:t>"14"</a:t>
            </a:r>
            <a:r>
              <a:rPr lang="pt-BR" sz="600" dirty="0">
                <a:solidFill>
                  <a:srgbClr val="0000FF"/>
                </a:solidFill>
                <a:highlight>
                  <a:srgbClr val="FFFFFF"/>
                </a:highlight>
              </a:rPr>
              <a:t>/&gt;</a:t>
            </a:r>
            <a:endParaRPr lang="pt-BR" sz="600" dirty="0">
              <a:solidFill>
                <a:srgbClr val="000000"/>
              </a:solidFill>
              <a:highlight>
                <a:srgbClr val="FFFFFF"/>
              </a:highlight>
            </a:endParaRPr>
          </a:p>
          <a:p>
            <a:r>
              <a:rPr lang="en-US" sz="600" dirty="0">
                <a:solidFill>
                  <a:srgbClr val="000000"/>
                </a:solidFill>
                <a:highlight>
                  <a:srgbClr val="FFFFFF"/>
                </a:highlight>
              </a:rPr>
              <a:t>        </a:t>
            </a:r>
            <a:r>
              <a:rPr lang="en-US" sz="600" dirty="0">
                <a:solidFill>
                  <a:srgbClr val="0000FF"/>
                </a:solidFill>
                <a:highlight>
                  <a:srgbClr val="FFFFFF"/>
                </a:highlight>
              </a:rPr>
              <a:t>&lt;/</a:t>
            </a:r>
            <a:r>
              <a:rPr lang="en-US" sz="600" dirty="0" err="1">
                <a:solidFill>
                  <a:srgbClr val="0000FF"/>
                </a:solidFill>
                <a:highlight>
                  <a:srgbClr val="FFFFFF"/>
                </a:highlight>
              </a:rPr>
              <a:t>SegmentTimeline</a:t>
            </a:r>
            <a:r>
              <a:rPr lang="en-US" sz="600" dirty="0">
                <a:solidFill>
                  <a:srgbClr val="0000FF"/>
                </a:solidFill>
                <a:highlight>
                  <a:srgbClr val="FFFFFF"/>
                </a:highlight>
              </a:rPr>
              <a:t>&gt;</a:t>
            </a:r>
            <a:endParaRPr lang="en-US" sz="600" dirty="0">
              <a:solidFill>
                <a:srgbClr val="000000"/>
              </a:solidFill>
              <a:highlight>
                <a:srgbClr val="FFFFFF"/>
              </a:highlight>
            </a:endParaRPr>
          </a:p>
          <a:p>
            <a:r>
              <a:rPr lang="en-US" sz="600" dirty="0">
                <a:solidFill>
                  <a:srgbClr val="000000"/>
                </a:solidFill>
                <a:highlight>
                  <a:srgbClr val="FFFFFF"/>
                </a:highlight>
              </a:rPr>
              <a:t>      </a:t>
            </a:r>
            <a:r>
              <a:rPr lang="en-US" sz="600" dirty="0">
                <a:solidFill>
                  <a:srgbClr val="0000FF"/>
                </a:solidFill>
                <a:highlight>
                  <a:srgbClr val="FFFFFF"/>
                </a:highlight>
              </a:rPr>
              <a:t>&lt;/</a:t>
            </a:r>
            <a:r>
              <a:rPr lang="en-US" sz="600" dirty="0" err="1">
                <a:solidFill>
                  <a:srgbClr val="0000FF"/>
                </a:solidFill>
                <a:highlight>
                  <a:srgbClr val="FFFFFF"/>
                </a:highlight>
              </a:rPr>
              <a:t>SegmentTemplate</a:t>
            </a:r>
            <a:r>
              <a:rPr lang="en-US" sz="600" dirty="0">
                <a:solidFill>
                  <a:srgbClr val="0000FF"/>
                </a:solidFill>
                <a:highlight>
                  <a:srgbClr val="FFFFFF"/>
                </a:highlight>
              </a:rPr>
              <a:t>&gt;</a:t>
            </a:r>
            <a:endParaRPr lang="en-US" sz="600" dirty="0">
              <a:solidFill>
                <a:srgbClr val="000000"/>
              </a:solidFill>
              <a:highlight>
                <a:srgbClr val="FFFFFF"/>
              </a:highlight>
            </a:endParaRPr>
          </a:p>
          <a:p>
            <a:r>
              <a:rPr lang="en-US" sz="600" dirty="0">
                <a:solidFill>
                  <a:srgbClr val="000000"/>
                </a:solidFill>
                <a:highlight>
                  <a:srgbClr val="FFFFFF"/>
                </a:highlight>
              </a:rPr>
              <a:t>      </a:t>
            </a:r>
            <a:r>
              <a:rPr lang="en-US" sz="600" dirty="0">
                <a:solidFill>
                  <a:srgbClr val="0000FF"/>
                </a:solidFill>
                <a:highlight>
                  <a:srgbClr val="FFFFFF"/>
                </a:highlight>
              </a:rPr>
              <a:t>&lt;Representation</a:t>
            </a:r>
            <a:r>
              <a:rPr lang="en-US" sz="800" dirty="0">
                <a:solidFill>
                  <a:srgbClr val="000000"/>
                </a:solidFill>
                <a:highlight>
                  <a:srgbClr val="FFFFFF"/>
                </a:highlight>
              </a:rPr>
              <a:t> </a:t>
            </a:r>
            <a:r>
              <a:rPr lang="en-US" sz="600" dirty="0">
                <a:solidFill>
                  <a:srgbClr val="FF0000"/>
                </a:solidFill>
                <a:highlight>
                  <a:srgbClr val="FFFFFF"/>
                </a:highlight>
              </a:rPr>
              <a:t>id</a:t>
            </a:r>
            <a:r>
              <a:rPr lang="en-US" sz="800" dirty="0">
                <a:solidFill>
                  <a:srgbClr val="000000"/>
                </a:solidFill>
                <a:highlight>
                  <a:srgbClr val="FFFFFF"/>
                </a:highlight>
              </a:rPr>
              <a:t>=</a:t>
            </a:r>
            <a:r>
              <a:rPr lang="en-US" sz="600" dirty="0">
                <a:solidFill>
                  <a:srgbClr val="008000"/>
                </a:solidFill>
                <a:highlight>
                  <a:srgbClr val="FFFFFF"/>
                </a:highlight>
              </a:rPr>
              <a:t>"1"</a:t>
            </a:r>
            <a:r>
              <a:rPr lang="en-US" sz="800" dirty="0">
                <a:solidFill>
                  <a:srgbClr val="000000"/>
                </a:solidFill>
                <a:highlight>
                  <a:srgbClr val="FFFFFF"/>
                </a:highlight>
              </a:rPr>
              <a:t> </a:t>
            </a:r>
            <a:r>
              <a:rPr lang="en-US" sz="600" dirty="0" err="1">
                <a:solidFill>
                  <a:srgbClr val="FF0000"/>
                </a:solidFill>
                <a:highlight>
                  <a:srgbClr val="FFFFFF"/>
                </a:highlight>
              </a:rPr>
              <a:t>mimeType</a:t>
            </a:r>
            <a:r>
              <a:rPr lang="en-US" sz="800" dirty="0">
                <a:solidFill>
                  <a:srgbClr val="000000"/>
                </a:solidFill>
                <a:highlight>
                  <a:srgbClr val="FFFFFF"/>
                </a:highlight>
              </a:rPr>
              <a:t>=</a:t>
            </a:r>
            <a:r>
              <a:rPr lang="en-US" sz="600" dirty="0">
                <a:solidFill>
                  <a:srgbClr val="008000"/>
                </a:solidFill>
                <a:highlight>
                  <a:srgbClr val="FFFFFF"/>
                </a:highlight>
              </a:rPr>
              <a:t>"video/mp4"</a:t>
            </a:r>
            <a:r>
              <a:rPr lang="en-US" sz="800" dirty="0">
                <a:solidFill>
                  <a:srgbClr val="000000"/>
                </a:solidFill>
                <a:highlight>
                  <a:srgbClr val="FFFFFF"/>
                </a:highlight>
              </a:rPr>
              <a:t> </a:t>
            </a:r>
            <a:r>
              <a:rPr lang="en-US" sz="600" dirty="0">
                <a:solidFill>
                  <a:srgbClr val="FF0000"/>
                </a:solidFill>
                <a:highlight>
                  <a:srgbClr val="FFFFFF"/>
                </a:highlight>
              </a:rPr>
              <a:t>codecs</a:t>
            </a:r>
            <a:r>
              <a:rPr lang="en-US" sz="800" dirty="0">
                <a:solidFill>
                  <a:srgbClr val="000000"/>
                </a:solidFill>
                <a:highlight>
                  <a:srgbClr val="FFFFFF"/>
                </a:highlight>
              </a:rPr>
              <a:t>=</a:t>
            </a:r>
            <a:r>
              <a:rPr lang="en-US" sz="600" dirty="0">
                <a:solidFill>
                  <a:srgbClr val="008000"/>
                </a:solidFill>
                <a:highlight>
                  <a:srgbClr val="FFFFFF"/>
                </a:highlight>
              </a:rPr>
              <a:t>"avc1.640028"</a:t>
            </a:r>
            <a:r>
              <a:rPr lang="en-US" sz="800" dirty="0">
                <a:solidFill>
                  <a:srgbClr val="000000"/>
                </a:solidFill>
                <a:highlight>
                  <a:srgbClr val="FFFFFF"/>
                </a:highlight>
              </a:rPr>
              <a:t> </a:t>
            </a:r>
            <a:r>
              <a:rPr lang="en-US" sz="600" dirty="0">
                <a:solidFill>
                  <a:srgbClr val="FF0000"/>
                </a:solidFill>
                <a:highlight>
                  <a:srgbClr val="FFFFFF"/>
                </a:highlight>
              </a:rPr>
              <a:t>width</a:t>
            </a:r>
            <a:r>
              <a:rPr lang="en-US" sz="800" dirty="0">
                <a:solidFill>
                  <a:srgbClr val="000000"/>
                </a:solidFill>
                <a:highlight>
                  <a:srgbClr val="FFFFFF"/>
                </a:highlight>
              </a:rPr>
              <a:t>=</a:t>
            </a:r>
            <a:r>
              <a:rPr lang="en-US" sz="600" dirty="0">
                <a:solidFill>
                  <a:srgbClr val="008000"/>
                </a:solidFill>
                <a:highlight>
                  <a:srgbClr val="FFFFFF"/>
                </a:highlight>
              </a:rPr>
              <a:t>"1920"</a:t>
            </a:r>
            <a:r>
              <a:rPr lang="en-US" sz="800" dirty="0">
                <a:solidFill>
                  <a:srgbClr val="000000"/>
                </a:solidFill>
                <a:highlight>
                  <a:srgbClr val="FFFFFF"/>
                </a:highlight>
              </a:rPr>
              <a:t> </a:t>
            </a:r>
            <a:r>
              <a:rPr lang="en-US" sz="600" dirty="0">
                <a:solidFill>
                  <a:srgbClr val="FF0000"/>
                </a:solidFill>
                <a:highlight>
                  <a:srgbClr val="FFFFFF"/>
                </a:highlight>
              </a:rPr>
              <a:t>height</a:t>
            </a:r>
            <a:r>
              <a:rPr lang="en-US" sz="800" dirty="0">
                <a:solidFill>
                  <a:srgbClr val="000000"/>
                </a:solidFill>
                <a:highlight>
                  <a:srgbClr val="FFFFFF"/>
                </a:highlight>
              </a:rPr>
              <a:t>=</a:t>
            </a:r>
            <a:r>
              <a:rPr lang="en-US" sz="600" dirty="0">
                <a:solidFill>
                  <a:srgbClr val="008000"/>
                </a:solidFill>
                <a:highlight>
                  <a:srgbClr val="FFFFFF"/>
                </a:highlight>
              </a:rPr>
              <a:t>"1080"</a:t>
            </a:r>
            <a:r>
              <a:rPr lang="en-US" sz="800" dirty="0">
                <a:solidFill>
                  <a:srgbClr val="000000"/>
                </a:solidFill>
                <a:highlight>
                  <a:srgbClr val="FFFFFF"/>
                </a:highlight>
              </a:rPr>
              <a:t> </a:t>
            </a:r>
            <a:r>
              <a:rPr lang="en-US" sz="600" dirty="0" err="1">
                <a:solidFill>
                  <a:srgbClr val="FF0000"/>
                </a:solidFill>
                <a:highlight>
                  <a:srgbClr val="FFFFFF"/>
                </a:highlight>
              </a:rPr>
              <a:t>frameRate</a:t>
            </a:r>
            <a:r>
              <a:rPr lang="en-US" sz="800" dirty="0">
                <a:solidFill>
                  <a:srgbClr val="000000"/>
                </a:solidFill>
                <a:highlight>
                  <a:srgbClr val="FFFFFF"/>
                </a:highlight>
              </a:rPr>
              <a:t>=</a:t>
            </a:r>
            <a:r>
              <a:rPr lang="en-US" sz="600" dirty="0">
                <a:solidFill>
                  <a:srgbClr val="008000"/>
                </a:solidFill>
                <a:highlight>
                  <a:srgbClr val="FFFFFF"/>
                </a:highlight>
              </a:rPr>
              <a:t>"25"</a:t>
            </a:r>
            <a:r>
              <a:rPr lang="en-US" sz="800" dirty="0">
                <a:solidFill>
                  <a:srgbClr val="000000"/>
                </a:solidFill>
                <a:highlight>
                  <a:srgbClr val="FFFFFF"/>
                </a:highlight>
              </a:rPr>
              <a:t> </a:t>
            </a:r>
            <a:r>
              <a:rPr lang="en-US" sz="600" dirty="0" err="1">
                <a:solidFill>
                  <a:srgbClr val="FF0000"/>
                </a:solidFill>
                <a:highlight>
                  <a:srgbClr val="FFFFFF"/>
                </a:highlight>
              </a:rPr>
              <a:t>sar</a:t>
            </a:r>
            <a:r>
              <a:rPr lang="en-US" sz="800" dirty="0">
                <a:solidFill>
                  <a:srgbClr val="000000"/>
                </a:solidFill>
                <a:highlight>
                  <a:srgbClr val="FFFFFF"/>
                </a:highlight>
              </a:rPr>
              <a:t>=</a:t>
            </a:r>
            <a:r>
              <a:rPr lang="en-US" sz="600" dirty="0">
                <a:solidFill>
                  <a:srgbClr val="008000"/>
                </a:solidFill>
                <a:highlight>
                  <a:srgbClr val="FFFFFF"/>
                </a:highlight>
              </a:rPr>
              <a:t>"1:1"</a:t>
            </a:r>
            <a:r>
              <a:rPr lang="en-US" sz="800" dirty="0">
                <a:solidFill>
                  <a:srgbClr val="000000"/>
                </a:solidFill>
                <a:highlight>
                  <a:srgbClr val="FFFFFF"/>
                </a:highlight>
              </a:rPr>
              <a:t> </a:t>
            </a:r>
            <a:r>
              <a:rPr lang="en-US" sz="600" dirty="0">
                <a:solidFill>
                  <a:srgbClr val="FF0000"/>
                </a:solidFill>
                <a:highlight>
                  <a:srgbClr val="FFFFFF"/>
                </a:highlight>
              </a:rPr>
              <a:t>bandwidth</a:t>
            </a:r>
            <a:r>
              <a:rPr lang="en-US" sz="800" dirty="0">
                <a:solidFill>
                  <a:srgbClr val="000000"/>
                </a:solidFill>
                <a:highlight>
                  <a:srgbClr val="FFFFFF"/>
                </a:highlight>
              </a:rPr>
              <a:t>=</a:t>
            </a:r>
            <a:r>
              <a:rPr lang="en-US" sz="600" dirty="0">
                <a:solidFill>
                  <a:srgbClr val="008000"/>
                </a:solidFill>
                <a:highlight>
                  <a:srgbClr val="FFFFFF"/>
                </a:highlight>
              </a:rPr>
              <a:t>"5100000"</a:t>
            </a:r>
            <a:r>
              <a:rPr lang="en-US" sz="600" dirty="0">
                <a:solidFill>
                  <a:srgbClr val="0000FF"/>
                </a:solidFill>
                <a:highlight>
                  <a:srgbClr val="FFFFFF"/>
                </a:highlight>
              </a:rPr>
              <a:t>&gt;</a:t>
            </a:r>
            <a:endParaRPr lang="en-US" sz="600" dirty="0">
              <a:solidFill>
                <a:srgbClr val="000000"/>
              </a:solidFill>
              <a:highlight>
                <a:srgbClr val="FFFFFF"/>
              </a:highlight>
            </a:endParaRPr>
          </a:p>
          <a:p>
            <a:r>
              <a:rPr lang="en-US" sz="600" dirty="0">
                <a:solidFill>
                  <a:srgbClr val="000000"/>
                </a:solidFill>
                <a:highlight>
                  <a:srgbClr val="FFFFFF"/>
                </a:highlight>
              </a:rPr>
              <a:t>   </a:t>
            </a:r>
            <a:r>
              <a:rPr lang="en-US" sz="600" dirty="0">
                <a:solidFill>
                  <a:srgbClr val="0000FF"/>
                </a:solidFill>
                <a:highlight>
                  <a:srgbClr val="FFFFFF"/>
                </a:highlight>
              </a:rPr>
              <a:t>&lt;/Representation&gt;</a:t>
            </a:r>
            <a:endParaRPr lang="en-US" sz="600" dirty="0">
              <a:solidFill>
                <a:srgbClr val="000000"/>
              </a:solidFill>
              <a:highlight>
                <a:srgbClr val="FFFFFF"/>
              </a:highlight>
            </a:endParaRPr>
          </a:p>
          <a:p>
            <a:r>
              <a:rPr lang="en-US" sz="600" dirty="0">
                <a:solidFill>
                  <a:srgbClr val="000000"/>
                </a:solidFill>
                <a:highlight>
                  <a:srgbClr val="FFFFFF"/>
                </a:highlight>
              </a:rPr>
              <a:t>    </a:t>
            </a:r>
            <a:r>
              <a:rPr lang="en-US" sz="600" dirty="0">
                <a:solidFill>
                  <a:srgbClr val="0000FF"/>
                </a:solidFill>
                <a:highlight>
                  <a:srgbClr val="FFFFFF"/>
                </a:highlight>
              </a:rPr>
              <a:t>&lt;/</a:t>
            </a:r>
            <a:r>
              <a:rPr lang="en-US" sz="600" dirty="0" err="1">
                <a:solidFill>
                  <a:srgbClr val="0000FF"/>
                </a:solidFill>
                <a:highlight>
                  <a:srgbClr val="FFFFFF"/>
                </a:highlight>
              </a:rPr>
              <a:t>AdaptationSet</a:t>
            </a:r>
            <a:r>
              <a:rPr lang="en-US" sz="600" dirty="0">
                <a:solidFill>
                  <a:srgbClr val="0000FF"/>
                </a:solidFill>
                <a:highlight>
                  <a:srgbClr val="FFFFFF"/>
                </a:highlight>
              </a:rPr>
              <a:t>&gt;</a:t>
            </a:r>
            <a:endParaRPr lang="en-US" sz="600" dirty="0">
              <a:solidFill>
                <a:srgbClr val="000000"/>
              </a:solidFill>
              <a:highlight>
                <a:srgbClr val="FFFFFF"/>
              </a:highlight>
            </a:endParaRPr>
          </a:p>
          <a:p>
            <a:r>
              <a:rPr lang="en-US" sz="600" dirty="0">
                <a:solidFill>
                  <a:srgbClr val="000000"/>
                </a:solidFill>
                <a:highlight>
                  <a:srgbClr val="FFFFFF"/>
                </a:highlight>
              </a:rPr>
              <a:t>  </a:t>
            </a:r>
            <a:r>
              <a:rPr lang="en-US" sz="600" dirty="0">
                <a:solidFill>
                  <a:srgbClr val="0000FF"/>
                </a:solidFill>
                <a:highlight>
                  <a:srgbClr val="FFFFFF"/>
                </a:highlight>
              </a:rPr>
              <a:t>&lt;/Period&gt;</a:t>
            </a:r>
            <a:endParaRPr lang="en-US" sz="600" dirty="0">
              <a:solidFill>
                <a:srgbClr val="000000"/>
              </a:solidFill>
              <a:highlight>
                <a:srgbClr val="FFFFFF"/>
              </a:highlight>
            </a:endParaRPr>
          </a:p>
          <a:p>
            <a:r>
              <a:rPr lang="en-US" sz="600" dirty="0">
                <a:solidFill>
                  <a:srgbClr val="0000FF"/>
                </a:solidFill>
                <a:highlight>
                  <a:srgbClr val="FFFFFF"/>
                </a:highlight>
              </a:rPr>
              <a:t>&lt;/MPD&gt;</a:t>
            </a:r>
            <a:endParaRPr lang="de-DE" sz="600" dirty="0">
              <a:solidFill>
                <a:schemeClr val="bg1"/>
              </a:solidFill>
              <a:latin typeface="Courier New" panose="02070309020205020404" pitchFamily="49" charset="0"/>
              <a:cs typeface="Courier New" panose="02070309020205020404" pitchFamily="49" charset="0"/>
            </a:endParaRPr>
          </a:p>
        </p:txBody>
      </p:sp>
      <p:sp>
        <p:nvSpPr>
          <p:cNvPr id="7" name="Arrow: Right 6">
            <a:extLst>
              <a:ext uri="{FF2B5EF4-FFF2-40B4-BE49-F238E27FC236}">
                <a16:creationId xmlns:a16="http://schemas.microsoft.com/office/drawing/2014/main" id="{2CB938FE-4FD8-9FD4-6FF0-808AAD014008}"/>
              </a:ext>
            </a:extLst>
          </p:cNvPr>
          <p:cNvSpPr/>
          <p:nvPr/>
        </p:nvSpPr>
        <p:spPr>
          <a:xfrm>
            <a:off x="3438463" y="4183803"/>
            <a:ext cx="1917241" cy="555223"/>
          </a:xfrm>
          <a:prstGeom prst="rightArrow">
            <a:avLst>
              <a:gd name="adj1" fmla="val 73790"/>
              <a:gd name="adj2" fmla="val 42752"/>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lnSpc>
                <a:spcPct val="96000"/>
              </a:lnSpc>
            </a:pPr>
            <a:r>
              <a:rPr lang="de-DE" sz="1600" dirty="0">
                <a:solidFill>
                  <a:schemeClr val="bg1"/>
                </a:solidFill>
                <a:latin typeface="Courier New" panose="02070309020205020404" pitchFamily="49" charset="0"/>
                <a:cs typeface="Courier New" panose="02070309020205020404" pitchFamily="49" charset="0"/>
              </a:rPr>
              <a:t>GET X-MAS Segments</a:t>
            </a:r>
          </a:p>
        </p:txBody>
      </p:sp>
      <p:sp>
        <p:nvSpPr>
          <p:cNvPr id="8" name="Arrow: Right 7">
            <a:extLst>
              <a:ext uri="{FF2B5EF4-FFF2-40B4-BE49-F238E27FC236}">
                <a16:creationId xmlns:a16="http://schemas.microsoft.com/office/drawing/2014/main" id="{0B6147D6-9B73-D1C5-4F60-27C1687D17DE}"/>
              </a:ext>
            </a:extLst>
          </p:cNvPr>
          <p:cNvSpPr/>
          <p:nvPr/>
        </p:nvSpPr>
        <p:spPr>
          <a:xfrm flipH="1">
            <a:off x="3459137" y="4859623"/>
            <a:ext cx="1906776" cy="555223"/>
          </a:xfrm>
          <a:prstGeom prst="rightArrow">
            <a:avLst>
              <a:gd name="adj1" fmla="val 73790"/>
              <a:gd name="adj2" fmla="val 42752"/>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lnSpc>
                <a:spcPct val="96000"/>
              </a:lnSpc>
            </a:pPr>
            <a:r>
              <a:rPr lang="de-DE" sz="1600" dirty="0">
                <a:solidFill>
                  <a:schemeClr val="bg1"/>
                </a:solidFill>
                <a:latin typeface="Courier New" panose="02070309020205020404" pitchFamily="49" charset="0"/>
                <a:cs typeface="Courier New" panose="02070309020205020404" pitchFamily="49" charset="0"/>
              </a:rPr>
              <a:t>Segment Response</a:t>
            </a:r>
          </a:p>
        </p:txBody>
      </p:sp>
      <p:sp>
        <p:nvSpPr>
          <p:cNvPr id="10" name="Arrow: Left-Right 9">
            <a:extLst>
              <a:ext uri="{FF2B5EF4-FFF2-40B4-BE49-F238E27FC236}">
                <a16:creationId xmlns:a16="http://schemas.microsoft.com/office/drawing/2014/main" id="{6817ADF4-9245-6265-85F8-B25F1E183A42}"/>
              </a:ext>
            </a:extLst>
          </p:cNvPr>
          <p:cNvSpPr/>
          <p:nvPr/>
        </p:nvSpPr>
        <p:spPr>
          <a:xfrm>
            <a:off x="2240823" y="5550590"/>
            <a:ext cx="4306390" cy="427656"/>
          </a:xfrm>
          <a:prstGeom prst="leftRightArrow">
            <a:avLst>
              <a:gd name="adj1" fmla="val 69386"/>
              <a:gd name="adj2" fmla="val 50000"/>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lnSpc>
                <a:spcPct val="96000"/>
              </a:lnSpc>
            </a:pPr>
            <a:r>
              <a:rPr lang="de-DE" sz="1600" dirty="0">
                <a:solidFill>
                  <a:schemeClr val="bg1"/>
                </a:solidFill>
                <a:latin typeface="Courier New" panose="02070309020205020404" pitchFamily="49" charset="0"/>
                <a:cs typeface="Courier New" panose="02070309020205020404" pitchFamily="49" charset="0"/>
              </a:rPr>
              <a:t>Monitor and Support</a:t>
            </a:r>
            <a:endParaRPr lang="en-US" sz="1600" dirty="0" err="1">
              <a:solidFill>
                <a:schemeClr val="bg1"/>
              </a:solidFill>
              <a:latin typeface="Courier New" panose="02070309020205020404" pitchFamily="49" charset="0"/>
              <a:cs typeface="Courier New" panose="02070309020205020404" pitchFamily="49" charset="0"/>
            </a:endParaRPr>
          </a:p>
        </p:txBody>
      </p:sp>
      <p:pic>
        <p:nvPicPr>
          <p:cNvPr id="11" name="Christmas BBC">
            <a:hlinkClick r:id="" action="ppaction://media"/>
            <a:extLst>
              <a:ext uri="{FF2B5EF4-FFF2-40B4-BE49-F238E27FC236}">
                <a16:creationId xmlns:a16="http://schemas.microsoft.com/office/drawing/2014/main" id="{03B10381-8D57-45D6-CB33-E6F3DE098AC5}"/>
              </a:ext>
            </a:extLst>
          </p:cNvPr>
          <p:cNvPicPr>
            <a:picLocks noChangeAspect="1"/>
          </p:cNvPicPr>
          <p:nvPr>
            <a:videoFile r:link="rId4"/>
            <p:extLst>
              <p:ext uri="{DAA4B4D4-6D71-4841-9C94-3DE7FCFB9230}">
                <p14:media xmlns:p14="http://schemas.microsoft.com/office/powerpoint/2010/main" r:embed="rId3"/>
              </p:ext>
            </p:extLst>
          </p:nvPr>
        </p:nvPicPr>
        <p:blipFill>
          <a:blip r:embed="rId8"/>
          <a:stretch>
            <a:fillRect/>
          </a:stretch>
        </p:blipFill>
        <p:spPr>
          <a:xfrm>
            <a:off x="8395607" y="2246024"/>
            <a:ext cx="2803616" cy="1577034"/>
          </a:xfrm>
          <a:prstGeom prst="rect">
            <a:avLst/>
          </a:prstGeom>
        </p:spPr>
      </p:pic>
    </p:spTree>
    <p:extLst>
      <p:ext uri="{BB962C8B-B14F-4D97-AF65-F5344CB8AC3E}">
        <p14:creationId xmlns:p14="http://schemas.microsoft.com/office/powerpoint/2010/main" val="49589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anim calcmode="lin" valueType="num">
                                      <p:cBhvr>
                                        <p:cTn id="8" dur="2000" fill="hold"/>
                                        <p:tgtEl>
                                          <p:spTgt spid="5"/>
                                        </p:tgtEl>
                                        <p:attrNameLst>
                                          <p:attrName>ppt_x</p:attrName>
                                        </p:attrNameLst>
                                      </p:cBhvr>
                                      <p:tavLst>
                                        <p:tav tm="0">
                                          <p:val>
                                            <p:strVal val="#ppt_x"/>
                                          </p:val>
                                        </p:tav>
                                        <p:tav tm="100000">
                                          <p:val>
                                            <p:strVal val="#ppt_x"/>
                                          </p:val>
                                        </p:tav>
                                      </p:tavLst>
                                    </p:anim>
                                    <p:anim calcmode="lin" valueType="num">
                                      <p:cBhvr>
                                        <p:cTn id="9" dur="2000" fill="hold"/>
                                        <p:tgtEl>
                                          <p:spTgt spid="5"/>
                                        </p:tgtEl>
                                        <p:attrNameLst>
                                          <p:attrName>ppt_y</p:attrName>
                                        </p:attrNameLst>
                                      </p:cBhvr>
                                      <p:tavLst>
                                        <p:tav tm="0">
                                          <p:val>
                                            <p:strVal val="#ppt_y-.1"/>
                                          </p:val>
                                        </p:tav>
                                        <p:tav tm="100000">
                                          <p:val>
                                            <p:strVal val="#ppt_y"/>
                                          </p:val>
                                        </p:tav>
                                      </p:tavLst>
                                    </p:anim>
                                  </p:childTnLst>
                                </p:cTn>
                              </p:par>
                              <p:par>
                                <p:cTn id="10" presetID="17" presetClass="entr" presetSubtype="8" fill="hold" grpId="0" nodeType="withEffect">
                                  <p:stCondLst>
                                    <p:cond delay="2000"/>
                                  </p:stCondLst>
                                  <p:childTnLst>
                                    <p:set>
                                      <p:cBhvr>
                                        <p:cTn id="11" dur="1" fill="hold">
                                          <p:stCondLst>
                                            <p:cond delay="0"/>
                                          </p:stCondLst>
                                        </p:cTn>
                                        <p:tgtEl>
                                          <p:spTgt spid="7"/>
                                        </p:tgtEl>
                                        <p:attrNameLst>
                                          <p:attrName>style.visibility</p:attrName>
                                        </p:attrNameLst>
                                      </p:cBhvr>
                                      <p:to>
                                        <p:strVal val="visible"/>
                                      </p:to>
                                    </p:set>
                                    <p:anim calcmode="lin" valueType="num">
                                      <p:cBhvr>
                                        <p:cTn id="12" dur="2000" fill="hold"/>
                                        <p:tgtEl>
                                          <p:spTgt spid="7"/>
                                        </p:tgtEl>
                                        <p:attrNameLst>
                                          <p:attrName>ppt_x</p:attrName>
                                        </p:attrNameLst>
                                      </p:cBhvr>
                                      <p:tavLst>
                                        <p:tav tm="0">
                                          <p:val>
                                            <p:strVal val="#ppt_x-#ppt_w/2"/>
                                          </p:val>
                                        </p:tav>
                                        <p:tav tm="100000">
                                          <p:val>
                                            <p:strVal val="#ppt_x"/>
                                          </p:val>
                                        </p:tav>
                                      </p:tavLst>
                                    </p:anim>
                                    <p:anim calcmode="lin" valueType="num">
                                      <p:cBhvr>
                                        <p:cTn id="13" dur="2000" fill="hold"/>
                                        <p:tgtEl>
                                          <p:spTgt spid="7"/>
                                        </p:tgtEl>
                                        <p:attrNameLst>
                                          <p:attrName>ppt_y</p:attrName>
                                        </p:attrNameLst>
                                      </p:cBhvr>
                                      <p:tavLst>
                                        <p:tav tm="0">
                                          <p:val>
                                            <p:strVal val="#ppt_y"/>
                                          </p:val>
                                        </p:tav>
                                        <p:tav tm="100000">
                                          <p:val>
                                            <p:strVal val="#ppt_y"/>
                                          </p:val>
                                        </p:tav>
                                      </p:tavLst>
                                    </p:anim>
                                    <p:anim calcmode="lin" valueType="num">
                                      <p:cBhvr>
                                        <p:cTn id="14" dur="2000" fill="hold"/>
                                        <p:tgtEl>
                                          <p:spTgt spid="7"/>
                                        </p:tgtEl>
                                        <p:attrNameLst>
                                          <p:attrName>ppt_w</p:attrName>
                                        </p:attrNameLst>
                                      </p:cBhvr>
                                      <p:tavLst>
                                        <p:tav tm="0">
                                          <p:val>
                                            <p:fltVal val="0"/>
                                          </p:val>
                                        </p:tav>
                                        <p:tav tm="100000">
                                          <p:val>
                                            <p:strVal val="#ppt_w"/>
                                          </p:val>
                                        </p:tav>
                                      </p:tavLst>
                                    </p:anim>
                                    <p:anim calcmode="lin" valueType="num">
                                      <p:cBhvr>
                                        <p:cTn id="15" dur="2000" fill="hold"/>
                                        <p:tgtEl>
                                          <p:spTgt spid="7"/>
                                        </p:tgtEl>
                                        <p:attrNameLst>
                                          <p:attrName>ppt_h</p:attrName>
                                        </p:attrNameLst>
                                      </p:cBhvr>
                                      <p:tavLst>
                                        <p:tav tm="0">
                                          <p:val>
                                            <p:strVal val="#ppt_h"/>
                                          </p:val>
                                        </p:tav>
                                        <p:tav tm="100000">
                                          <p:val>
                                            <p:strVal val="#ppt_h"/>
                                          </p:val>
                                        </p:tav>
                                      </p:tavLst>
                                    </p:anim>
                                  </p:childTnLst>
                                </p:cTn>
                              </p:par>
                            </p:childTnLst>
                          </p:cTn>
                        </p:par>
                        <p:par>
                          <p:cTn id="16" fill="hold">
                            <p:stCondLst>
                              <p:cond delay="4000"/>
                            </p:stCondLst>
                            <p:childTnLst>
                              <p:par>
                                <p:cTn id="17" presetID="17" presetClass="entr" presetSubtype="2"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p:cTn id="19" dur="2000" fill="hold"/>
                                        <p:tgtEl>
                                          <p:spTgt spid="8"/>
                                        </p:tgtEl>
                                        <p:attrNameLst>
                                          <p:attrName>ppt_x</p:attrName>
                                        </p:attrNameLst>
                                      </p:cBhvr>
                                      <p:tavLst>
                                        <p:tav tm="0">
                                          <p:val>
                                            <p:strVal val="#ppt_x+#ppt_w/2"/>
                                          </p:val>
                                        </p:tav>
                                        <p:tav tm="100000">
                                          <p:val>
                                            <p:strVal val="#ppt_x"/>
                                          </p:val>
                                        </p:tav>
                                      </p:tavLst>
                                    </p:anim>
                                    <p:anim calcmode="lin" valueType="num">
                                      <p:cBhvr>
                                        <p:cTn id="20" dur="2000" fill="hold"/>
                                        <p:tgtEl>
                                          <p:spTgt spid="8"/>
                                        </p:tgtEl>
                                        <p:attrNameLst>
                                          <p:attrName>ppt_y</p:attrName>
                                        </p:attrNameLst>
                                      </p:cBhvr>
                                      <p:tavLst>
                                        <p:tav tm="0">
                                          <p:val>
                                            <p:strVal val="#ppt_y"/>
                                          </p:val>
                                        </p:tav>
                                        <p:tav tm="100000">
                                          <p:val>
                                            <p:strVal val="#ppt_y"/>
                                          </p:val>
                                        </p:tav>
                                      </p:tavLst>
                                    </p:anim>
                                    <p:anim calcmode="lin" valueType="num">
                                      <p:cBhvr>
                                        <p:cTn id="21" dur="2000" fill="hold"/>
                                        <p:tgtEl>
                                          <p:spTgt spid="8"/>
                                        </p:tgtEl>
                                        <p:attrNameLst>
                                          <p:attrName>ppt_w</p:attrName>
                                        </p:attrNameLst>
                                      </p:cBhvr>
                                      <p:tavLst>
                                        <p:tav tm="0">
                                          <p:val>
                                            <p:fltVal val="0"/>
                                          </p:val>
                                        </p:tav>
                                        <p:tav tm="100000">
                                          <p:val>
                                            <p:strVal val="#ppt_w"/>
                                          </p:val>
                                        </p:tav>
                                      </p:tavLst>
                                    </p:anim>
                                    <p:anim calcmode="lin" valueType="num">
                                      <p:cBhvr>
                                        <p:cTn id="22" dur="2000" fill="hold"/>
                                        <p:tgtEl>
                                          <p:spTgt spid="8"/>
                                        </p:tgtEl>
                                        <p:attrNameLst>
                                          <p:attrName>ppt_h</p:attrName>
                                        </p:attrNameLst>
                                      </p:cBhvr>
                                      <p:tavLst>
                                        <p:tav tm="0">
                                          <p:val>
                                            <p:strVal val="#ppt_h"/>
                                          </p:val>
                                        </p:tav>
                                        <p:tav tm="100000">
                                          <p:val>
                                            <p:strVal val="#ppt_h"/>
                                          </p:val>
                                        </p:tav>
                                      </p:tavLst>
                                    </p:anim>
                                  </p:childTnLst>
                                </p:cTn>
                              </p:par>
                            </p:childTnLst>
                          </p:cTn>
                        </p:par>
                        <p:par>
                          <p:cTn id="23" fill="hold">
                            <p:stCondLst>
                              <p:cond delay="6000"/>
                            </p:stCondLst>
                            <p:childTnLst>
                              <p:par>
                                <p:cTn id="24" presetID="17" presetClass="entr" presetSubtype="10" fill="hold" grpId="0" nodeType="afterEffect">
                                  <p:stCondLst>
                                    <p:cond delay="0"/>
                                  </p:stCondLst>
                                  <p:childTnLst>
                                    <p:set>
                                      <p:cBhvr>
                                        <p:cTn id="25" dur="1" fill="hold">
                                          <p:stCondLst>
                                            <p:cond delay="0"/>
                                          </p:stCondLst>
                                        </p:cTn>
                                        <p:tgtEl>
                                          <p:spTgt spid="10"/>
                                        </p:tgtEl>
                                        <p:attrNameLst>
                                          <p:attrName>style.visibility</p:attrName>
                                        </p:attrNameLst>
                                      </p:cBhvr>
                                      <p:to>
                                        <p:strVal val="visible"/>
                                      </p:to>
                                    </p:set>
                                    <p:anim calcmode="lin" valueType="num">
                                      <p:cBhvr>
                                        <p:cTn id="26" dur="2500" fill="hold"/>
                                        <p:tgtEl>
                                          <p:spTgt spid="10"/>
                                        </p:tgtEl>
                                        <p:attrNameLst>
                                          <p:attrName>ppt_w</p:attrName>
                                        </p:attrNameLst>
                                      </p:cBhvr>
                                      <p:tavLst>
                                        <p:tav tm="0">
                                          <p:val>
                                            <p:fltVal val="0"/>
                                          </p:val>
                                        </p:tav>
                                        <p:tav tm="100000">
                                          <p:val>
                                            <p:strVal val="#ppt_w"/>
                                          </p:val>
                                        </p:tav>
                                      </p:tavLst>
                                    </p:anim>
                                    <p:anim calcmode="lin" valueType="num">
                                      <p:cBhvr>
                                        <p:cTn id="27" dur="2500" fill="hold"/>
                                        <p:tgtEl>
                                          <p:spTgt spid="10"/>
                                        </p:tgtEl>
                                        <p:attrNameLst>
                                          <p:attrName>ppt_h</p:attrName>
                                        </p:attrNameLst>
                                      </p:cBhvr>
                                      <p:tavLst>
                                        <p:tav tm="0">
                                          <p:val>
                                            <p:strVal val="#ppt_h"/>
                                          </p:val>
                                        </p:tav>
                                        <p:tav tm="100000">
                                          <p:val>
                                            <p:strVal val="#ppt_h"/>
                                          </p:val>
                                        </p:tav>
                                      </p:tavLst>
                                    </p:anim>
                                  </p:childTnLst>
                                </p:cTn>
                              </p:par>
                            </p:childTnLst>
                          </p:cTn>
                        </p:par>
                        <p:par>
                          <p:cTn id="28" fill="hold">
                            <p:stCondLst>
                              <p:cond delay="8500"/>
                            </p:stCondLst>
                            <p:childTnLst>
                              <p:par>
                                <p:cTn id="29" presetID="1" presetClass="mediacall" presetSubtype="0" fill="hold" nodeType="afterEffect">
                                  <p:stCondLst>
                                    <p:cond delay="0"/>
                                  </p:stCondLst>
                                  <p:childTnLst>
                                    <p:cmd type="call" cmd="playFrom(0.0)">
                                      <p:cBhvr>
                                        <p:cTn id="30" dur="5549"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100000">
                <p:cTn id="31" fill="hold" display="0">
                  <p:stCondLst>
                    <p:cond delay="indefinite"/>
                  </p:stCondLst>
                </p:cTn>
                <p:tgtEl>
                  <p:spTgt spid="4"/>
                </p:tgtEl>
              </p:cMediaNode>
            </p:video>
            <p:video>
              <p:cMediaNode vol="80000">
                <p:cTn id="32" fill="hold" display="0">
                  <p:stCondLst>
                    <p:cond delay="indefinite"/>
                  </p:stCondLst>
                </p:cTn>
                <p:tgtEl>
                  <p:spTgt spid="11"/>
                </p:tgtEl>
              </p:cMediaNode>
            </p:video>
          </p:childTnLst>
        </p:cTn>
      </p:par>
    </p:tnLst>
    <p:bldLst>
      <p:bldP spid="5" grpId="0" animBg="1"/>
      <p:bldP spid="7" grpId="0" animBg="1"/>
      <p:bldP spid="8" grpId="0" animBg="1"/>
      <p:bldP spid="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C66C22E-784F-8179-3432-E47261E2AB53}"/>
              </a:ext>
            </a:extLst>
          </p:cNvPr>
          <p:cNvSpPr>
            <a:spLocks noGrp="1"/>
          </p:cNvSpPr>
          <p:nvPr>
            <p:ph type="ftr" sz="quarter" idx="10"/>
          </p:nvPr>
        </p:nvSpPr>
        <p:spPr/>
        <p:txBody>
          <a:bodyPr/>
          <a:lstStyle/>
          <a:p>
            <a:r>
              <a:rPr lang="en-US"/>
              <a:t>Media Web Symposium 2023</a:t>
            </a:r>
            <a:endParaRPr lang="en-US" dirty="0"/>
          </a:p>
        </p:txBody>
      </p:sp>
      <p:sp>
        <p:nvSpPr>
          <p:cNvPr id="3" name="Title 2">
            <a:extLst>
              <a:ext uri="{FF2B5EF4-FFF2-40B4-BE49-F238E27FC236}">
                <a16:creationId xmlns:a16="http://schemas.microsoft.com/office/drawing/2014/main" id="{7BCDAF2B-5032-2777-9C51-AFBF07D76CFD}"/>
              </a:ext>
            </a:extLst>
          </p:cNvPr>
          <p:cNvSpPr>
            <a:spLocks noGrp="1"/>
          </p:cNvSpPr>
          <p:nvPr>
            <p:ph type="title"/>
          </p:nvPr>
        </p:nvSpPr>
        <p:spPr>
          <a:xfrm>
            <a:off x="495300" y="642644"/>
            <a:ext cx="11187112" cy="361959"/>
          </a:xfrm>
        </p:spPr>
        <p:txBody>
          <a:bodyPr/>
          <a:lstStyle/>
          <a:p>
            <a:r>
              <a:rPr lang="de-DE" dirty="0"/>
              <a:t>5G Media Streaming Features for Rel-16</a:t>
            </a:r>
            <a:endParaRPr lang="en-US" dirty="0"/>
          </a:p>
        </p:txBody>
      </p:sp>
      <p:sp>
        <p:nvSpPr>
          <p:cNvPr id="4" name="Subtitle 3">
            <a:extLst>
              <a:ext uri="{FF2B5EF4-FFF2-40B4-BE49-F238E27FC236}">
                <a16:creationId xmlns:a16="http://schemas.microsoft.com/office/drawing/2014/main" id="{62CF07AA-70B6-AEFD-BBDB-B850B01855FB}"/>
              </a:ext>
            </a:extLst>
          </p:cNvPr>
          <p:cNvSpPr>
            <a:spLocks noGrp="1"/>
          </p:cNvSpPr>
          <p:nvPr>
            <p:ph type="subTitle" idx="1"/>
          </p:nvPr>
        </p:nvSpPr>
        <p:spPr/>
        <p:txBody>
          <a:bodyPr/>
          <a:lstStyle/>
          <a:p>
            <a:r>
              <a:rPr lang="de-DE" dirty="0"/>
              <a:t>Only downlink features</a:t>
            </a:r>
            <a:endParaRPr lang="en-US" dirty="0"/>
          </a:p>
        </p:txBody>
      </p:sp>
      <p:graphicFrame>
        <p:nvGraphicFramePr>
          <p:cNvPr id="6" name="Object 5">
            <a:extLst>
              <a:ext uri="{FF2B5EF4-FFF2-40B4-BE49-F238E27FC236}">
                <a16:creationId xmlns:a16="http://schemas.microsoft.com/office/drawing/2014/main" id="{2C0E4957-BA99-006E-A3FD-E6DBCB639CF0}"/>
              </a:ext>
            </a:extLst>
          </p:cNvPr>
          <p:cNvGraphicFramePr>
            <a:graphicFrameLocks noChangeAspect="1"/>
          </p:cNvGraphicFramePr>
          <p:nvPr/>
        </p:nvGraphicFramePr>
        <p:xfrm>
          <a:off x="0" y="1628775"/>
          <a:ext cx="5562600" cy="1800225"/>
        </p:xfrm>
        <a:graphic>
          <a:graphicData uri="http://schemas.openxmlformats.org/presentationml/2006/ole">
            <mc:AlternateContent xmlns:mc="http://schemas.openxmlformats.org/markup-compatibility/2006">
              <mc:Choice xmlns:v="urn:schemas-microsoft-com:vml" Requires="v">
                <p:oleObj name="Visio" r:id="rId2" imgW="11192044" imgH="3629025" progId="Visio.Drawing.15">
                  <p:embed/>
                </p:oleObj>
              </mc:Choice>
              <mc:Fallback>
                <p:oleObj name="Visio" r:id="rId2" imgW="11192044" imgH="3629025" progId="Visio.Drawing.15">
                  <p:embed/>
                  <p:pic>
                    <p:nvPicPr>
                      <p:cNvPr id="6" name="Object 5">
                        <a:extLst>
                          <a:ext uri="{FF2B5EF4-FFF2-40B4-BE49-F238E27FC236}">
                            <a16:creationId xmlns:a16="http://schemas.microsoft.com/office/drawing/2014/main" id="{2C0E4957-BA99-006E-A3FD-E6DBCB639C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628775"/>
                        <a:ext cx="5562600" cy="1800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0" name="Object 9">
            <a:extLst>
              <a:ext uri="{FF2B5EF4-FFF2-40B4-BE49-F238E27FC236}">
                <a16:creationId xmlns:a16="http://schemas.microsoft.com/office/drawing/2014/main" id="{1A3FE254-1FC6-EA8D-49B1-559BFB5A9A93}"/>
              </a:ext>
            </a:extLst>
          </p:cNvPr>
          <p:cNvGraphicFramePr>
            <a:graphicFrameLocks noChangeAspect="1"/>
          </p:cNvGraphicFramePr>
          <p:nvPr/>
        </p:nvGraphicFramePr>
        <p:xfrm>
          <a:off x="0" y="4014787"/>
          <a:ext cx="5562600" cy="2428875"/>
        </p:xfrm>
        <a:graphic>
          <a:graphicData uri="http://schemas.openxmlformats.org/presentationml/2006/ole">
            <mc:AlternateContent xmlns:mc="http://schemas.openxmlformats.org/markup-compatibility/2006">
              <mc:Choice xmlns:v="urn:schemas-microsoft-com:vml" Requires="v">
                <p:oleObj name="Visio" r:id="rId4" imgW="11192044" imgH="4895850" progId="Visio.Drawing.15">
                  <p:embed/>
                </p:oleObj>
              </mc:Choice>
              <mc:Fallback>
                <p:oleObj name="Visio" r:id="rId4" imgW="11192044" imgH="4895850" progId="Visio.Drawing.15">
                  <p:embed/>
                  <p:pic>
                    <p:nvPicPr>
                      <p:cNvPr id="10" name="Object 9">
                        <a:extLst>
                          <a:ext uri="{FF2B5EF4-FFF2-40B4-BE49-F238E27FC236}">
                            <a16:creationId xmlns:a16="http://schemas.microsoft.com/office/drawing/2014/main" id="{1A3FE254-1FC6-EA8D-49B1-559BFB5A9A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4014787"/>
                        <a:ext cx="5562600" cy="24288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2" name="Object 11">
            <a:extLst>
              <a:ext uri="{FF2B5EF4-FFF2-40B4-BE49-F238E27FC236}">
                <a16:creationId xmlns:a16="http://schemas.microsoft.com/office/drawing/2014/main" id="{E58BE7C5-1BB1-A7B2-51FB-465D88A57860}"/>
              </a:ext>
            </a:extLst>
          </p:cNvPr>
          <p:cNvGraphicFramePr>
            <a:graphicFrameLocks noChangeAspect="1"/>
          </p:cNvGraphicFramePr>
          <p:nvPr/>
        </p:nvGraphicFramePr>
        <p:xfrm>
          <a:off x="6143625" y="466775"/>
          <a:ext cx="5553075" cy="1800225"/>
        </p:xfrm>
        <a:graphic>
          <a:graphicData uri="http://schemas.openxmlformats.org/presentationml/2006/ole">
            <mc:AlternateContent xmlns:mc="http://schemas.openxmlformats.org/markup-compatibility/2006">
              <mc:Choice xmlns:v="urn:schemas-microsoft-com:vml" Requires="v">
                <p:oleObj name="Visio" r:id="rId6" imgW="11192044" imgH="3629025" progId="Visio.Drawing.15">
                  <p:embed/>
                </p:oleObj>
              </mc:Choice>
              <mc:Fallback>
                <p:oleObj name="Visio" r:id="rId6" imgW="11192044" imgH="3629025" progId="Visio.Drawing.15">
                  <p:embed/>
                  <p:pic>
                    <p:nvPicPr>
                      <p:cNvPr id="12" name="Object 11">
                        <a:extLst>
                          <a:ext uri="{FF2B5EF4-FFF2-40B4-BE49-F238E27FC236}">
                            <a16:creationId xmlns:a16="http://schemas.microsoft.com/office/drawing/2014/main" id="{E58BE7C5-1BB1-A7B2-51FB-465D88A5786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43625" y="466775"/>
                        <a:ext cx="5553075" cy="1800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4" name="Object 13">
            <a:extLst>
              <a:ext uri="{FF2B5EF4-FFF2-40B4-BE49-F238E27FC236}">
                <a16:creationId xmlns:a16="http://schemas.microsoft.com/office/drawing/2014/main" id="{791765E9-0C62-7F5E-CADA-7C09966CF347}"/>
              </a:ext>
            </a:extLst>
          </p:cNvPr>
          <p:cNvGraphicFramePr>
            <a:graphicFrameLocks noChangeAspect="1"/>
          </p:cNvGraphicFramePr>
          <p:nvPr/>
        </p:nvGraphicFramePr>
        <p:xfrm>
          <a:off x="6096000" y="2598443"/>
          <a:ext cx="5553075" cy="1266825"/>
        </p:xfrm>
        <a:graphic>
          <a:graphicData uri="http://schemas.openxmlformats.org/presentationml/2006/ole">
            <mc:AlternateContent xmlns:mc="http://schemas.openxmlformats.org/markup-compatibility/2006">
              <mc:Choice xmlns:v="urn:schemas-microsoft-com:vml" Requires="v">
                <p:oleObj name="Visio" r:id="rId8" imgW="11192044" imgH="2552700" progId="Visio.Drawing.15">
                  <p:embed/>
                </p:oleObj>
              </mc:Choice>
              <mc:Fallback>
                <p:oleObj name="Visio" r:id="rId8" imgW="11192044" imgH="2552700" progId="Visio.Drawing.15">
                  <p:embed/>
                  <p:pic>
                    <p:nvPicPr>
                      <p:cNvPr id="14" name="Object 13">
                        <a:extLst>
                          <a:ext uri="{FF2B5EF4-FFF2-40B4-BE49-F238E27FC236}">
                            <a16:creationId xmlns:a16="http://schemas.microsoft.com/office/drawing/2014/main" id="{791765E9-0C62-7F5E-CADA-7C09966CF34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96000" y="2598443"/>
                        <a:ext cx="5553075" cy="12668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6" name="Object 15">
            <a:extLst>
              <a:ext uri="{FF2B5EF4-FFF2-40B4-BE49-F238E27FC236}">
                <a16:creationId xmlns:a16="http://schemas.microsoft.com/office/drawing/2014/main" id="{676AF1A3-7D66-88D3-45E4-95724D4AF73A}"/>
              </a:ext>
            </a:extLst>
          </p:cNvPr>
          <p:cNvGraphicFramePr>
            <a:graphicFrameLocks noChangeAspect="1"/>
          </p:cNvGraphicFramePr>
          <p:nvPr/>
        </p:nvGraphicFramePr>
        <p:xfrm>
          <a:off x="6110288" y="4235995"/>
          <a:ext cx="5438775" cy="1857375"/>
        </p:xfrm>
        <a:graphic>
          <a:graphicData uri="http://schemas.openxmlformats.org/presentationml/2006/ole">
            <mc:AlternateContent xmlns:mc="http://schemas.openxmlformats.org/markup-compatibility/2006">
              <mc:Choice xmlns:v="urn:schemas-microsoft-com:vml" Requires="v">
                <p:oleObj name="Visio" r:id="rId10" imgW="11195002" imgH="3816373" progId="Visio.Drawing.15">
                  <p:embed/>
                </p:oleObj>
              </mc:Choice>
              <mc:Fallback>
                <p:oleObj name="Visio" r:id="rId10" imgW="11195002" imgH="3816373" progId="Visio.Drawing.15">
                  <p:embed/>
                  <p:pic>
                    <p:nvPicPr>
                      <p:cNvPr id="16" name="Object 15">
                        <a:extLst>
                          <a:ext uri="{FF2B5EF4-FFF2-40B4-BE49-F238E27FC236}">
                            <a16:creationId xmlns:a16="http://schemas.microsoft.com/office/drawing/2014/main" id="{676AF1A3-7D66-88D3-45E4-95724D4AF73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110288" y="4235995"/>
                        <a:ext cx="5438775" cy="18573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Rectangle 16">
            <a:extLst>
              <a:ext uri="{FF2B5EF4-FFF2-40B4-BE49-F238E27FC236}">
                <a16:creationId xmlns:a16="http://schemas.microsoft.com/office/drawing/2014/main" id="{BDBF7338-C212-89F4-A813-D54C5D9428CE}"/>
              </a:ext>
            </a:extLst>
          </p:cNvPr>
          <p:cNvSpPr/>
          <p:nvPr/>
        </p:nvSpPr>
        <p:spPr>
          <a:xfrm>
            <a:off x="2037861" y="3130554"/>
            <a:ext cx="2858475" cy="523220"/>
          </a:xfrm>
          <a:prstGeom prst="rect">
            <a:avLst/>
          </a:prstGeom>
          <a:noFill/>
        </p:spPr>
        <p:txBody>
          <a:bodyPr wrap="none" lIns="91440" tIns="45720" rIns="91440" bIns="45720">
            <a:spAutoFit/>
          </a:bodyPr>
          <a:lstStyle/>
          <a:p>
            <a:pPr algn="ctr"/>
            <a:r>
              <a:rPr lang="en-US" sz="2800" b="1" cap="none" spc="50" dirty="0">
                <a:ln w="0"/>
                <a:solidFill>
                  <a:schemeClr val="bg2"/>
                </a:solidFill>
                <a:effectLst>
                  <a:innerShdw blurRad="63500" dist="50800" dir="13500000">
                    <a:srgbClr val="000000">
                      <a:alpha val="50000"/>
                    </a:srgbClr>
                  </a:innerShdw>
                </a:effectLst>
              </a:rPr>
              <a:t>Content Hosting</a:t>
            </a:r>
          </a:p>
        </p:txBody>
      </p:sp>
      <p:sp>
        <p:nvSpPr>
          <p:cNvPr id="18" name="Rectangle 17">
            <a:extLst>
              <a:ext uri="{FF2B5EF4-FFF2-40B4-BE49-F238E27FC236}">
                <a16:creationId xmlns:a16="http://schemas.microsoft.com/office/drawing/2014/main" id="{B4683E18-AFE0-32FB-E602-635D9B5E8350}"/>
              </a:ext>
            </a:extLst>
          </p:cNvPr>
          <p:cNvSpPr/>
          <p:nvPr/>
        </p:nvSpPr>
        <p:spPr>
          <a:xfrm>
            <a:off x="2482342" y="6112480"/>
            <a:ext cx="3456395" cy="523220"/>
          </a:xfrm>
          <a:prstGeom prst="rect">
            <a:avLst/>
          </a:prstGeom>
          <a:noFill/>
        </p:spPr>
        <p:txBody>
          <a:bodyPr wrap="none" lIns="91440" tIns="45720" rIns="91440" bIns="45720">
            <a:spAutoFit/>
          </a:bodyPr>
          <a:lstStyle/>
          <a:p>
            <a:pPr algn="ctr"/>
            <a:r>
              <a:rPr lang="en-US" sz="2800" b="1" cap="none" spc="50" dirty="0">
                <a:ln w="0"/>
                <a:solidFill>
                  <a:schemeClr val="bg2"/>
                </a:solidFill>
                <a:effectLst>
                  <a:innerShdw blurRad="63500" dist="50800" dir="13500000">
                    <a:srgbClr val="000000">
                      <a:alpha val="50000"/>
                    </a:srgbClr>
                  </a:innerShdw>
                </a:effectLst>
              </a:rPr>
              <a:t>Network Assistance</a:t>
            </a:r>
          </a:p>
        </p:txBody>
      </p:sp>
      <p:sp>
        <p:nvSpPr>
          <p:cNvPr id="19" name="Rectangle 18">
            <a:extLst>
              <a:ext uri="{FF2B5EF4-FFF2-40B4-BE49-F238E27FC236}">
                <a16:creationId xmlns:a16="http://schemas.microsoft.com/office/drawing/2014/main" id="{D1DEEBA1-D500-D705-5FB1-1890EE22935A}"/>
              </a:ext>
            </a:extLst>
          </p:cNvPr>
          <p:cNvSpPr/>
          <p:nvPr/>
        </p:nvSpPr>
        <p:spPr>
          <a:xfrm>
            <a:off x="8168089" y="1968091"/>
            <a:ext cx="3029997" cy="523220"/>
          </a:xfrm>
          <a:prstGeom prst="rect">
            <a:avLst/>
          </a:prstGeom>
          <a:noFill/>
        </p:spPr>
        <p:txBody>
          <a:bodyPr wrap="none" lIns="91440" tIns="45720" rIns="91440" bIns="45720">
            <a:spAutoFit/>
          </a:bodyPr>
          <a:lstStyle/>
          <a:p>
            <a:pPr algn="ctr"/>
            <a:r>
              <a:rPr lang="en-US" sz="2800" b="1" cap="none" spc="50" dirty="0">
                <a:ln w="0"/>
                <a:solidFill>
                  <a:schemeClr val="bg2"/>
                </a:solidFill>
                <a:effectLst>
                  <a:innerShdw blurRad="63500" dist="50800" dir="13500000">
                    <a:srgbClr val="000000">
                      <a:alpha val="50000"/>
                    </a:srgbClr>
                  </a:innerShdw>
                </a:effectLst>
              </a:rPr>
              <a:t>Dynamic Policies</a:t>
            </a:r>
          </a:p>
        </p:txBody>
      </p:sp>
      <p:sp>
        <p:nvSpPr>
          <p:cNvPr id="20" name="Rectangle 19">
            <a:extLst>
              <a:ext uri="{FF2B5EF4-FFF2-40B4-BE49-F238E27FC236}">
                <a16:creationId xmlns:a16="http://schemas.microsoft.com/office/drawing/2014/main" id="{5A408C2A-3D3E-DEA7-AAC2-322B54510150}"/>
              </a:ext>
            </a:extLst>
          </p:cNvPr>
          <p:cNvSpPr/>
          <p:nvPr/>
        </p:nvSpPr>
        <p:spPr>
          <a:xfrm>
            <a:off x="7983668" y="3573229"/>
            <a:ext cx="4100803" cy="523220"/>
          </a:xfrm>
          <a:prstGeom prst="rect">
            <a:avLst/>
          </a:prstGeom>
          <a:noFill/>
        </p:spPr>
        <p:txBody>
          <a:bodyPr wrap="none" lIns="91440" tIns="45720" rIns="91440" bIns="45720">
            <a:spAutoFit/>
          </a:bodyPr>
          <a:lstStyle/>
          <a:p>
            <a:pPr algn="ctr"/>
            <a:r>
              <a:rPr lang="en-US" sz="2800" b="1" cap="none" spc="50" dirty="0">
                <a:ln w="0"/>
                <a:solidFill>
                  <a:schemeClr val="bg2"/>
                </a:solidFill>
                <a:effectLst>
                  <a:innerShdw blurRad="63500" dist="50800" dir="13500000">
                    <a:srgbClr val="000000">
                      <a:alpha val="50000"/>
                    </a:srgbClr>
                  </a:innerShdw>
                </a:effectLst>
              </a:rPr>
              <a:t>Consumption Reporting</a:t>
            </a:r>
          </a:p>
        </p:txBody>
      </p:sp>
      <p:sp>
        <p:nvSpPr>
          <p:cNvPr id="21" name="Rectangle 20">
            <a:extLst>
              <a:ext uri="{FF2B5EF4-FFF2-40B4-BE49-F238E27FC236}">
                <a16:creationId xmlns:a16="http://schemas.microsoft.com/office/drawing/2014/main" id="{B884E16C-65EC-DE6F-92B4-A535070BCE8E}"/>
              </a:ext>
            </a:extLst>
          </p:cNvPr>
          <p:cNvSpPr/>
          <p:nvPr/>
        </p:nvSpPr>
        <p:spPr>
          <a:xfrm>
            <a:off x="8471902" y="5773798"/>
            <a:ext cx="3113353" cy="523220"/>
          </a:xfrm>
          <a:prstGeom prst="rect">
            <a:avLst/>
          </a:prstGeom>
          <a:noFill/>
        </p:spPr>
        <p:txBody>
          <a:bodyPr wrap="none" lIns="91440" tIns="45720" rIns="91440" bIns="45720">
            <a:spAutoFit/>
          </a:bodyPr>
          <a:lstStyle/>
          <a:p>
            <a:pPr algn="ctr"/>
            <a:r>
              <a:rPr lang="en-US" sz="2800" b="1" cap="none" spc="50" dirty="0">
                <a:ln w="0"/>
                <a:solidFill>
                  <a:schemeClr val="bg2"/>
                </a:solidFill>
                <a:effectLst>
                  <a:innerShdw blurRad="63500" dist="50800" dir="13500000">
                    <a:srgbClr val="000000">
                      <a:alpha val="50000"/>
                    </a:srgbClr>
                  </a:innerShdw>
                </a:effectLst>
              </a:rPr>
              <a:t>Metrics Reporting</a:t>
            </a:r>
          </a:p>
        </p:txBody>
      </p:sp>
    </p:spTree>
    <p:extLst>
      <p:ext uri="{BB962C8B-B14F-4D97-AF65-F5344CB8AC3E}">
        <p14:creationId xmlns:p14="http://schemas.microsoft.com/office/powerpoint/2010/main" val="1333467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P spid="2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EAFA429-C441-3786-EB67-B467CDCB2FE0}"/>
              </a:ext>
            </a:extLst>
          </p:cNvPr>
          <p:cNvSpPr>
            <a:spLocks noGrp="1"/>
          </p:cNvSpPr>
          <p:nvPr>
            <p:ph type="ftr" sz="quarter" idx="10"/>
          </p:nvPr>
        </p:nvSpPr>
        <p:spPr/>
        <p:txBody>
          <a:bodyPr/>
          <a:lstStyle/>
          <a:p>
            <a:r>
              <a:rPr lang="en-US"/>
              <a:t>Media Web Symposium 2023</a:t>
            </a:r>
            <a:endParaRPr lang="en-US" dirty="0"/>
          </a:p>
        </p:txBody>
      </p:sp>
      <p:sp>
        <p:nvSpPr>
          <p:cNvPr id="3" name="Title 2">
            <a:extLst>
              <a:ext uri="{FF2B5EF4-FFF2-40B4-BE49-F238E27FC236}">
                <a16:creationId xmlns:a16="http://schemas.microsoft.com/office/drawing/2014/main" id="{3D47F71F-C2CA-5991-5CD9-AF0C1BF482BD}"/>
              </a:ext>
            </a:extLst>
          </p:cNvPr>
          <p:cNvSpPr>
            <a:spLocks noGrp="1"/>
          </p:cNvSpPr>
          <p:nvPr>
            <p:ph type="title"/>
          </p:nvPr>
        </p:nvSpPr>
        <p:spPr>
          <a:xfrm>
            <a:off x="495300" y="642644"/>
            <a:ext cx="11187112" cy="361959"/>
          </a:xfrm>
        </p:spPr>
        <p:txBody>
          <a:bodyPr/>
          <a:lstStyle/>
          <a:p>
            <a:r>
              <a:rPr lang="de-DE" dirty="0"/>
              <a:t>Timelines for Rel-17 and Rel-18</a:t>
            </a:r>
            <a:endParaRPr lang="en-US" dirty="0"/>
          </a:p>
        </p:txBody>
      </p:sp>
      <p:sp>
        <p:nvSpPr>
          <p:cNvPr id="4" name="Subtitle 3">
            <a:extLst>
              <a:ext uri="{FF2B5EF4-FFF2-40B4-BE49-F238E27FC236}">
                <a16:creationId xmlns:a16="http://schemas.microsoft.com/office/drawing/2014/main" id="{0DD1FB1F-97BA-7008-2EB7-5E0CA2B05362}"/>
              </a:ext>
            </a:extLst>
          </p:cNvPr>
          <p:cNvSpPr>
            <a:spLocks noGrp="1"/>
          </p:cNvSpPr>
          <p:nvPr>
            <p:ph type="subTitle" idx="1"/>
          </p:nvPr>
        </p:nvSpPr>
        <p:spPr/>
        <p:txBody>
          <a:bodyPr/>
          <a:lstStyle/>
          <a:p>
            <a:endParaRPr lang="en-US"/>
          </a:p>
        </p:txBody>
      </p:sp>
      <p:pic>
        <p:nvPicPr>
          <p:cNvPr id="6" name="Picture 2" descr="Diagram, timeline&#10;&#10;Description automatically generated">
            <a:extLst>
              <a:ext uri="{FF2B5EF4-FFF2-40B4-BE49-F238E27FC236}">
                <a16:creationId xmlns:a16="http://schemas.microsoft.com/office/drawing/2014/main" id="{1602DA96-384E-8307-2115-E197C2B841D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0419" y="1709292"/>
            <a:ext cx="10515599" cy="4232528"/>
          </a:xfrm>
          <a:prstGeom prst="rect">
            <a:avLst/>
          </a:prstGeom>
          <a:noFill/>
          <a:extLst>
            <a:ext uri="{909E8E84-426E-40DD-AFC4-6F175D3DCCD1}">
              <a14:hiddenFill xmlns:a14="http://schemas.microsoft.com/office/drawing/2010/main">
                <a:solidFill>
                  <a:srgbClr val="FFFFFF"/>
                </a:solidFill>
              </a14:hiddenFill>
            </a:ext>
          </a:extLst>
        </p:spPr>
      </p:pic>
      <p:sp>
        <p:nvSpPr>
          <p:cNvPr id="7" name="Arrow: Right 6">
            <a:extLst>
              <a:ext uri="{FF2B5EF4-FFF2-40B4-BE49-F238E27FC236}">
                <a16:creationId xmlns:a16="http://schemas.microsoft.com/office/drawing/2014/main" id="{EF329200-9643-763F-5155-6929B2424EEA}"/>
              </a:ext>
            </a:extLst>
          </p:cNvPr>
          <p:cNvSpPr/>
          <p:nvPr/>
        </p:nvSpPr>
        <p:spPr>
          <a:xfrm>
            <a:off x="7325591" y="5257247"/>
            <a:ext cx="4127501" cy="50800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de-DE" dirty="0">
                <a:solidFill>
                  <a:schemeClr val="bg1"/>
                </a:solidFill>
                <a:latin typeface="Microsoft Sans Serif"/>
                <a:cs typeface="Microsoft Sans Serif" panose="020B0604020202020204" pitchFamily="34" charset="0"/>
              </a:rPr>
              <a:t>Shifted by three months</a:t>
            </a:r>
            <a:endParaRPr lang="en-US" dirty="0" err="1">
              <a:solidFill>
                <a:schemeClr val="bg1"/>
              </a:solidFill>
              <a:latin typeface="Microsoft Sans Serif"/>
              <a:cs typeface="Microsoft Sans Serif" panose="020B0604020202020204" pitchFamily="34" charset="0"/>
            </a:endParaRPr>
          </a:p>
        </p:txBody>
      </p:sp>
    </p:spTree>
    <p:extLst>
      <p:ext uri="{BB962C8B-B14F-4D97-AF65-F5344CB8AC3E}">
        <p14:creationId xmlns:p14="http://schemas.microsoft.com/office/powerpoint/2010/main" val="393666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_External_Template_12.13.2017_D.pptx" id="{4CC383AF-9C1E-4258-AF22-EB5EECC8D6DB}" vid="{B83B365D-47B1-4B29-B06C-D091944C9870}"/>
    </a:ext>
  </a:extLst>
</a:theme>
</file>

<file path=ppt/theme/theme10.xml><?xml version="1.0" encoding="utf-8"?>
<a:theme xmlns:a="http://schemas.openxmlformats.org/drawingml/2006/main" name="2_Qualcomm Corporat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3" id="{1B5A7F5E-1054-4FAF-9A1E-513063606D04}" vid="{B2AD1865-2F03-485F-8372-4FE4ABCE9C1E}"/>
    </a:ext>
  </a:extLst>
</a:theme>
</file>

<file path=ppt/theme/theme11.xml><?xml version="1.0" encoding="utf-8"?>
<a:theme xmlns:a="http://schemas.openxmlformats.org/drawingml/2006/main" name="12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QC_16x9_Public_Template_Nov2019" id="{901E9F88-CC1D-CD45-8BC6-A2C2CE7A9AF8}" vid="{2D62E465-8D86-A648-A219-742F0A440BC4}"/>
    </a:ext>
  </a:extLst>
</a:theme>
</file>

<file path=ppt/theme/theme12.xml><?xml version="1.0" encoding="utf-8"?>
<a:theme xmlns:a="http://schemas.openxmlformats.org/drawingml/2006/main" name="3_Qualcomm Corporate 16X9 Simplified">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1" id="{4C22F2E4-C790-46B9-BC12-8047252F9C90}" vid="{80F76977-2754-43F7-BADD-C7B9047CB281}"/>
    </a:ext>
  </a:extLst>
</a:theme>
</file>

<file path=ppt/theme/theme13.xml><?xml version="1.0" encoding="utf-8"?>
<a:theme xmlns:a="http://schemas.openxmlformats.org/drawingml/2006/main" name="Qualcomm Corporate Confidential Template - May2022">
  <a:themeElements>
    <a:clrScheme name="Qualcomm 2022">
      <a:dk1>
        <a:srgbClr val="13161E"/>
      </a:dk1>
      <a:lt1>
        <a:srgbClr val="F7F8FA"/>
      </a:lt1>
      <a:dk2>
        <a:srgbClr val="0B2742"/>
      </a:dk2>
      <a:lt2>
        <a:srgbClr val="E71324"/>
      </a:lt2>
      <a:accent1>
        <a:srgbClr val="2853DC"/>
      </a:accent1>
      <a:accent2>
        <a:srgbClr val="7BA0FF"/>
      </a:accent2>
      <a:accent3>
        <a:srgbClr val="39A3B5"/>
      </a:accent3>
      <a:accent4>
        <a:srgbClr val="82CBD7"/>
      </a:accent4>
      <a:accent5>
        <a:srgbClr val="4A5A75"/>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solidFill>
          <a:round/>
          <a:headEnd type="none" w="med"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SIMPLIFIED_Qualcomm_Corporate_Confidential_Template-May2022_v05.pptx" id="{EF405156-F952-4019-A835-55916C45E21F}" vid="{513AEE75-FBD9-4D23-BE5F-D0C023114B7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000" b="0" i="0" u="none" strike="noStrike" cap="none" normalizeH="0" baseline="0" smtClean="0">
            <a:ln>
              <a:noFill/>
            </a:ln>
            <a:solidFill>
              <a:schemeClr val="tx1"/>
            </a:solidFill>
            <a:effectLst/>
            <a:latin typeface="Arial" charset="0"/>
          </a:defRPr>
        </a:defPPr>
      </a:lstStyle>
    </a:lnDef>
  </a:objectDefaults>
  <a:extraClrSchemeLst>
    <a:extraClrScheme>
      <a:clrScheme name="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1" id="{E634FF34-9700-45D6-B72A-74CEED7A3875}" vid="{07B1864F-EB64-4766-8D93-9CD94F27A63E}"/>
    </a:ext>
  </a:extLst>
</a:theme>
</file>

<file path=ppt/theme/theme3.xml><?xml version="1.0" encoding="utf-8"?>
<a:theme xmlns:a="http://schemas.openxmlformats.org/drawingml/2006/main" name="Qualcomm Corporat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3" id="{1B5A7F5E-1054-4FAF-9A1E-513063606D04}" vid="{B2AD1865-2F03-485F-8372-4FE4ABCE9C1E}"/>
    </a:ext>
  </a:extLst>
</a:theme>
</file>

<file path=ppt/theme/theme4.xml><?xml version="1.0" encoding="utf-8"?>
<a:theme xmlns:a="http://schemas.openxmlformats.org/drawingml/2006/main" name="15_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none" lIns="0" tIns="0" rIns="0" bIns="0" rtlCol="0">
        <a:spAutoFit/>
      </a:bodyPr>
      <a:lstStyle>
        <a:defPPr algn="l">
          <a:lnSpc>
            <a:spcPct val="95000"/>
          </a:lnSpc>
          <a:spcBef>
            <a:spcPts val="1200"/>
          </a:spcBef>
          <a:defRPr sz="1600" dirty="0"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Qualcomm_16x9_Corporate_External_Template_06.04.2018_D" id="{A634B24F-C7ED-423C-844E-1859CC2AB32E}" vid="{66E6A5C8-91A6-4DD3-9BD9-B21A51D27381}"/>
    </a:ext>
  </a:extLst>
</a:theme>
</file>

<file path=ppt/theme/theme5.xml><?xml version="1.0" encoding="utf-8"?>
<a:theme xmlns:a="http://schemas.openxmlformats.org/drawingml/2006/main" name="2_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6.xml><?xml version="1.0" encoding="utf-8"?>
<a:theme xmlns:a="http://schemas.openxmlformats.org/drawingml/2006/main" name="8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5" id="{4AD6EDE2-E9C0-3847-9F6E-063E3DB4D081}" vid="{873D8D08-C910-E349-A8D8-4F9BC24DC922}"/>
    </a:ext>
  </a:extLst>
</a:theme>
</file>

<file path=ppt/theme/theme7.xml><?xml version="1.0" encoding="utf-8"?>
<a:theme xmlns:a="http://schemas.openxmlformats.org/drawingml/2006/main" name="10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5" id="{4AD6EDE2-E9C0-3847-9F6E-063E3DB4D081}" vid="{873D8D08-C910-E349-A8D8-4F9BC24DC922}"/>
    </a:ext>
  </a:extLst>
</a:theme>
</file>

<file path=ppt/theme/theme8.xml><?xml version="1.0" encoding="utf-8"?>
<a:theme xmlns:a="http://schemas.openxmlformats.org/drawingml/2006/main" name="11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NEXT">
      <a:majorFont>
        <a:latin typeface="Qualcomm Next"/>
        <a:ea typeface=""/>
        <a:cs typeface=""/>
      </a:majorFont>
      <a:minorFont>
        <a:latin typeface="Qualcomm Nex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1" id="{CF476125-C098-4B7A-B0D4-6ED0876C1CEA}" vid="{D65BB01D-0084-4EB7-91BF-6C50C1726CDC}"/>
    </a:ext>
  </a:extLst>
</a:theme>
</file>

<file path=ppt/theme/theme9.xml><?xml version="1.0" encoding="utf-8"?>
<a:theme xmlns:a="http://schemas.openxmlformats.org/drawingml/2006/main" name="3_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_External_Template_12.13.2017_D.pptx" id="{4CC383AF-9C1E-4258-AF22-EB5EECC8D6DB}" vid="{B83B365D-47B1-4B29-B06C-D091944C987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EF5FCF2245C4144B9B4E6B5975E9E34" ma:contentTypeVersion="4" ma:contentTypeDescription="Create a new document." ma:contentTypeScope="" ma:versionID="d1936f5fd540597a806d589b52933c8c">
  <xsd:schema xmlns:xsd="http://www.w3.org/2001/XMLSchema" xmlns:xs="http://www.w3.org/2001/XMLSchema" xmlns:p="http://schemas.microsoft.com/office/2006/metadata/properties" xmlns:ns2="de6192d4-9d7c-49d0-8d0c-faa44d7cefac" xmlns:ns3="f390f8ff-3d97-4fb8-9cd7-3c888a5a1fcd" targetNamespace="http://schemas.microsoft.com/office/2006/metadata/properties" ma:root="true" ma:fieldsID="fe489d971c789053b1654ada0eb53d17" ns2:_="" ns3:_="">
    <xsd:import namespace="de6192d4-9d7c-49d0-8d0c-faa44d7cefac"/>
    <xsd:import namespace="f390f8ff-3d97-4fb8-9cd7-3c888a5a1fc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6192d4-9d7c-49d0-8d0c-faa44d7cef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390f8ff-3d97-4fb8-9cd7-3c888a5a1fc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B11EB98-7DBE-4D18-9685-48EAA2FE244E}">
  <ds:schemaRefs>
    <ds:schemaRef ds:uri="http://schemas.microsoft.com/sharepoint/v3/contenttype/forms"/>
  </ds:schemaRefs>
</ds:datastoreItem>
</file>

<file path=customXml/itemProps2.xml><?xml version="1.0" encoding="utf-8"?>
<ds:datastoreItem xmlns:ds="http://schemas.openxmlformats.org/officeDocument/2006/customXml" ds:itemID="{66F31115-B322-4FC5-BFB4-4465C2A3E05A}">
  <ds:schemaRefs>
    <ds:schemaRef ds:uri="de6192d4-9d7c-49d0-8d0c-faa44d7cefac"/>
    <ds:schemaRef ds:uri="f390f8ff-3d97-4fb8-9cd7-3c888a5a1fc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01B6FF4-83B8-4F8E-87C3-6B49573D2A4F}">
  <ds:schemaRefs>
    <ds:schemaRef ds:uri="http://purl.org/dc/elements/1.1/"/>
    <ds:schemaRef ds:uri="http://schemas.microsoft.com/office/2006/metadata/properties"/>
    <ds:schemaRef ds:uri="http://purl.org/dc/terms/"/>
    <ds:schemaRef ds:uri="http://schemas.openxmlformats.org/package/2006/metadata/core-properties"/>
    <ds:schemaRef ds:uri="de6192d4-9d7c-49d0-8d0c-faa44d7cefac"/>
    <ds:schemaRef ds:uri="http://schemas.microsoft.com/office/2006/documentManagement/types"/>
    <ds:schemaRef ds:uri="http://schemas.microsoft.com/office/infopath/2007/PartnerControls"/>
    <ds:schemaRef ds:uri="f390f8ff-3d97-4fb8-9cd7-3c888a5a1fcd"/>
    <ds:schemaRef ds:uri="http://www.w3.org/XML/1998/namespace"/>
    <ds:schemaRef ds:uri="http://purl.org/dc/dcmitype/"/>
  </ds:schemaRefs>
</ds:datastoreItem>
</file>

<file path=docMetadata/LabelInfo.xml><?xml version="1.0" encoding="utf-8"?>
<clbl:labelList xmlns:clbl="http://schemas.microsoft.com/office/2020/mipLabelMetadata">
  <clbl:label id="{98e9ba89-e1a1-4e38-9007-8bdabc25de1d}" enabled="0" method="" siteId="{98e9ba89-e1a1-4e38-9007-8bdabc25de1d}" removed="1"/>
</clbl:labelList>
</file>

<file path=docProps/app.xml><?xml version="1.0" encoding="utf-8"?>
<Properties xmlns="http://schemas.openxmlformats.org/officeDocument/2006/extended-properties" xmlns:vt="http://schemas.openxmlformats.org/officeDocument/2006/docPropsVTypes">
  <TotalTime>290</TotalTime>
  <Words>3285</Words>
  <Application>Microsoft Office PowerPoint</Application>
  <PresentationFormat>Widescreen</PresentationFormat>
  <Paragraphs>404</Paragraphs>
  <Slides>31</Slides>
  <Notes>8</Notes>
  <HiddenSlides>0</HiddenSlides>
  <MMClips>3</MMClips>
  <ScaleCrop>false</ScaleCrop>
  <HeadingPairs>
    <vt:vector size="8" baseType="variant">
      <vt:variant>
        <vt:lpstr>Fonts Used</vt:lpstr>
      </vt:variant>
      <vt:variant>
        <vt:i4>20</vt:i4>
      </vt:variant>
      <vt:variant>
        <vt:lpstr>Theme</vt:lpstr>
      </vt:variant>
      <vt:variant>
        <vt:i4>14</vt:i4>
      </vt:variant>
      <vt:variant>
        <vt:lpstr>Embedded OLE Servers</vt:lpstr>
      </vt:variant>
      <vt:variant>
        <vt:i4>2</vt:i4>
      </vt:variant>
      <vt:variant>
        <vt:lpstr>Slide Titles</vt:lpstr>
      </vt:variant>
      <vt:variant>
        <vt:i4>31</vt:i4>
      </vt:variant>
    </vt:vector>
  </HeadingPairs>
  <TitlesOfParts>
    <vt:vector size="67" baseType="lpstr">
      <vt:lpstr>Arial</vt:lpstr>
      <vt:lpstr>Arial </vt:lpstr>
      <vt:lpstr>ArialMT</vt:lpstr>
      <vt:lpstr>Calibri</vt:lpstr>
      <vt:lpstr>Century Gothic</vt:lpstr>
      <vt:lpstr>Consolas</vt:lpstr>
      <vt:lpstr>Courier New</vt:lpstr>
      <vt:lpstr>Microsoft Sans Serif</vt:lpstr>
      <vt:lpstr>Montserrat</vt:lpstr>
      <vt:lpstr>Poppins ExtraLight</vt:lpstr>
      <vt:lpstr>Poppins Light</vt:lpstr>
      <vt:lpstr>Poppins SemiBold</vt:lpstr>
      <vt:lpstr>Qualcomm Next</vt:lpstr>
      <vt:lpstr>Qualcomm Next Medium</vt:lpstr>
      <vt:lpstr>Qualcomm Next Thin</vt:lpstr>
      <vt:lpstr>Qualcomm Office Regular</vt:lpstr>
      <vt:lpstr>Qualcomm Regular</vt:lpstr>
      <vt:lpstr>Tahoma</vt:lpstr>
      <vt:lpstr>Trebuchet MS</vt:lpstr>
      <vt:lpstr>Wingdings</vt:lpstr>
      <vt:lpstr>Qualcomm</vt:lpstr>
      <vt:lpstr>2_Qualcomm Executive External</vt:lpstr>
      <vt:lpstr>Qualcomm Corporate External</vt:lpstr>
      <vt:lpstr>15_Qualcomm</vt:lpstr>
      <vt:lpstr>2_Qualcomm</vt:lpstr>
      <vt:lpstr>8_Qualcomm Executive External</vt:lpstr>
      <vt:lpstr>10_Qualcomm Executive External</vt:lpstr>
      <vt:lpstr>11_Qualcomm Executive External</vt:lpstr>
      <vt:lpstr>3_Qualcomm</vt:lpstr>
      <vt:lpstr>2_Qualcomm Corporate External</vt:lpstr>
      <vt:lpstr>12_Qualcomm Executive External</vt:lpstr>
      <vt:lpstr>3_Qualcomm Corporate 16X9 Simplified</vt:lpstr>
      <vt:lpstr>Qualcomm Corporate Confidential Template - May2022</vt:lpstr>
      <vt:lpstr>Office Theme</vt:lpstr>
      <vt:lpstr>Visio</vt:lpstr>
      <vt:lpstr>Signalling Chart</vt:lpstr>
      <vt:lpstr>5G Media Streaming Advances:   towards a universal Media Distribution Platform</vt:lpstr>
      <vt:lpstr>PowerPoint Presentation</vt:lpstr>
      <vt:lpstr>Trends &amp; News</vt:lpstr>
      <vt:lpstr>Rel-16 5G Media Streaming – The Idea</vt:lpstr>
      <vt:lpstr>PowerPoint Presentation</vt:lpstr>
      <vt:lpstr>PowerPoint Presentation</vt:lpstr>
      <vt:lpstr>PowerPoint Presentation</vt:lpstr>
      <vt:lpstr>5G Media Streaming Features for Rel-16</vt:lpstr>
      <vt:lpstr>Timelines for Rel-17 and Rel-18</vt:lpstr>
      <vt:lpstr>3GPP Specifications for Edge Enablers</vt:lpstr>
      <vt:lpstr>Rel-17 5GMS and Edge</vt:lpstr>
      <vt:lpstr>Rel-17 EVEX – Event Exposure</vt:lpstr>
      <vt:lpstr>5G Media Streaming and EVEX</vt:lpstr>
      <vt:lpstr>3GPP Specifications for Data Analysis and EVEX </vt:lpstr>
      <vt:lpstr>5GMS via 5G Broadcast and Hybrid Unicast Broadcast</vt:lpstr>
      <vt:lpstr>PowerPoint Presentation</vt:lpstr>
      <vt:lpstr>5G defines two modes of broadcast communication</vt:lpstr>
      <vt:lpstr>Timelines for Rel-17 and Rel-18</vt:lpstr>
      <vt:lpstr>Rel-18 5GMS feature overview</vt:lpstr>
      <vt:lpstr>Multicast–Broadcast Services system architecture</vt:lpstr>
      <vt:lpstr>Multicast–Broadcast Services system architecture</vt:lpstr>
      <vt:lpstr>MBS User Service Architecture</vt:lpstr>
      <vt:lpstr>5GMS via MBS</vt:lpstr>
      <vt:lpstr>Launching a dedicated 5G System function on device</vt:lpstr>
      <vt:lpstr>Service URL Handling</vt:lpstr>
      <vt:lpstr>Specific case: MBMS-ROM Service + CMAS-based launch of service</vt:lpstr>
      <vt:lpstr>Tools in action …</vt:lpstr>
      <vt:lpstr>Rel-19 Timeline</vt:lpstr>
      <vt:lpstr>WG Input to Rel-19 Workshop - 2</vt:lpstr>
      <vt:lpstr>Summary &amp; Next Ste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V Services over 5G Verticals benefitting from global 5G Technologies</dc:title>
  <dc:creator>Thomas</dc:creator>
  <cp:lastModifiedBy>Thomas Stockhammer</cp:lastModifiedBy>
  <cp:revision>2</cp:revision>
  <dcterms:created xsi:type="dcterms:W3CDTF">2020-09-15T22:37:34Z</dcterms:created>
  <dcterms:modified xsi:type="dcterms:W3CDTF">2023-06-13T13:1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5FCF2245C4144B9B4E6B5975E9E34</vt:lpwstr>
  </property>
</Properties>
</file>